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ags/tag2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theme/theme7.xml" ContentType="application/vnd.openxmlformats-officedocument.theme+xml"/>
  <Override PartName="/ppt/tags/tag8.xml" ContentType="application/vnd.openxmlformats-officedocument.presentationml.tags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theme/theme8.xml" ContentType="application/vnd.openxmlformats-officedocument.theme+xml"/>
  <Override PartName="/ppt/tags/tag9.xml" ContentType="application/vnd.openxmlformats-officedocument.presentationml.tags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theme/theme9.xml" ContentType="application/vnd.openxmlformats-officedocument.theme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theme/theme10.xml" ContentType="application/vnd.openxmlformats-officedocument.theme+xml"/>
  <Override PartName="/ppt/tags/tag10.xml" ContentType="application/vnd.openxmlformats-officedocument.presentationml.tags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09" r:id="rId5"/>
    <p:sldMasterId id="2147483741" r:id="rId6"/>
    <p:sldMasterId id="2147483748" r:id="rId7"/>
    <p:sldMasterId id="2147483858" r:id="rId8"/>
    <p:sldMasterId id="2147483890" r:id="rId9"/>
    <p:sldMasterId id="2147483922" r:id="rId10"/>
    <p:sldMasterId id="2147483958" r:id="rId11"/>
    <p:sldMasterId id="2147484009" r:id="rId12"/>
    <p:sldMasterId id="2147484044" r:id="rId13"/>
  </p:sldMasterIdLst>
  <p:notesMasterIdLst>
    <p:notesMasterId r:id="rId18"/>
  </p:notesMasterIdLst>
  <p:sldIdLst>
    <p:sldId id="2147473464" r:id="rId14"/>
    <p:sldId id="2050096480" r:id="rId15"/>
    <p:sldId id="2147473476" r:id="rId16"/>
    <p:sldId id="2147473468" r:id="rId17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03A8002-580E-3587-94BC-107516647EC7}" name="Sean Nyquist" initials="SN" userId="S::s.nyquist@fsc.org::400532e0-c4a1-4107-90d6-c740caf1f8ba" providerId="AD"/>
  <p188:author id="{6D305903-C196-7A42-56A3-A79330C71EC6}" name="Steve Ball" initials="SB" userId="S::s.ball@fsc.org::2965ea53-2dc9-4c7e-b36e-a79896037fb2" providerId="AD"/>
  <p188:author id="{2F66EE10-3B3E-95DE-BFF5-92EF8E5B6B4C}" name="Joanna Nowakowska" initials="JN" userId="S::j.nowakowska@fsc.org::92951b99-d716-48a6-abf9-1cd7c1df7dab" providerId="AD"/>
  <p188:author id="{85B5BE1B-E689-2C8D-7EA0-B98104F76415}" name="Ngọc Võ" initials="NV" userId="S::n.vo@fsc.org::b3ab77e2-ae69-4473-a4d1-50f08cc0790d" providerId="AD"/>
  <p188:author id="{61E7692A-751E-AF73-B1F4-AFDB3C913DA3}" name="Estelle Mankan" initials="EM" userId="S::e.mankan@fsc.org::30ba2850-63a2-4cd2-8ce2-39a43edd45ec" providerId="AD"/>
  <p188:author id="{48539544-5357-D818-DB4C-E6F657357155}" name="Yan Li" initials="YL" userId="S::y.li@fsc.org::d68a2805-1129-492d-a2bd-121cf9366838" providerId="AD"/>
  <p188:author id="{50988F62-D363-D701-63DA-31C2E836AB34}" name="Ewa Hermanowicz" initials="EH" userId="S::e.hermanowicz@fsc.org::e938a4bd-ddce-4bf2-965d-cd960a0524a1" providerId="AD"/>
  <p188:author id="{C996D865-194C-D3F7-EB20-984DE1A955D5}" name="Ana-Maria Băban" initials="AB" userId="S::a.baban@fsc.org::3582d32f-ac11-4edb-89a6-ccc5120a0647" providerId="AD"/>
  <p188:author id="{B45ACB76-E636-EBF3-0460-EE09F944027B}" name="Vera Santos" initials="VS" userId="S::v.santos@fsc.org::527ecc2d-ad36-4181-a594-3c3548f6639d" providerId="AD"/>
  <p188:author id="{0AEEFB79-49E3-C6F8-D970-8DA3E6AEB47D}" name="Michal Knaflewski" initials="MK" userId="S::m.knaflewski@fsc.org::feedf6d9-11f1-48f4-a256-4c6252a98fb1" providerId="AD"/>
  <p188:author id="{904D549E-8B6C-0303-945A-FC60C56B2FD2}" name="Trevor Armel" initials="TA" userId="S::t.armel@fsc.org::aa3f62d2-f8aa-4278-b8bb-a70011b61dea" providerId="AD"/>
  <p188:author id="{17E52AAD-BC22-A79E-1558-571DFF0B9BE3}" name="Jannicka Murphy" initials="JM" userId="S::j.murphy@fsc.org::a204d96c-78ff-477c-9d70-82e9f8afad76" providerId="AD"/>
  <p188:author id="{59AF70B2-A2C8-C993-C563-EE9EE1E853C9}" name="Aurélien Sautière" initials="AS" userId="S::a.sautiere@fr.fsc.org::bf6d84b6-4d82-482f-9793-0d60c231931d" providerId="AD"/>
  <p188:author id="{C387A2C8-BDCE-5B2C-BEFE-687BC61448B8}" name="Steve Ball" initials="SB" userId="S::S.Ball@fsc.org::2965ea53-2dc9-4c7e-b36e-a79896037fb2" providerId="AD"/>
  <p188:author id="{00B208E3-E103-E37F-0F2F-DCC3FAAE40FA}" name="Monika Patel" initials="MP" userId="S::m.patel@ca.fsc.org::1a147bad-7ac3-4595-ac80-ac76d4a9fa2d" providerId="AD"/>
  <p188:author id="{49D8C1F0-219E-9663-8891-A4855E727C02}" name="Matteo Francesco Mascolo" initials="MM" userId="S::m.mascolo@fsc.org::b64f95a2-7849-44e6-9ec8-046938aaf121" providerId="AD"/>
  <p188:author id="{6F3487FE-D283-405C-AE6D-049B80E74F6A}" name="Adél Strydom" initials="AS" userId="S::a.strydom@fsc.org::94c3df3d-cd1b-4fad-bd9b-38c456694a1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1F8E8"/>
    <a:srgbClr val="020202"/>
    <a:srgbClr val="DAB94D"/>
    <a:srgbClr val="F2CFAC"/>
    <a:srgbClr val="EAD7F1"/>
    <a:srgbClr val="7030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Style moyen 4 - Accentuation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850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4.xml"/><Relationship Id="rId2" Type="http://schemas.openxmlformats.org/officeDocument/2006/relationships/customXml" Target="../customXml/item2.xml"/><Relationship Id="rId16" Type="http://schemas.openxmlformats.org/officeDocument/2006/relationships/slide" Target="slides/slide3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2.xml"/><Relationship Id="rId23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1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3EFC21-C680-4D56-9786-BB599771BBAE}" type="datetimeFigureOut">
              <a:rPr lang="en-US" smtClean="0"/>
              <a:t>5/27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DE8423-34DB-471E-9FD2-E97113B84C72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92845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B6DF8C-BD27-CE43-8A6D-02C0C447825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17686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en-CA" sz="1800" kern="100" dirty="0">
              <a:effectLst/>
              <a:latin typeface="Greycliff CF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DE8423-34DB-471E-9FD2-E97113B84C7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37957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8" Type="http://schemas.openxmlformats.org/officeDocument/2006/relationships/hyperlink" Target="http://www.facebook.com/pages/FSC-Canada/183332455018035" TargetMode="External"/><Relationship Id="rId3" Type="http://schemas.openxmlformats.org/officeDocument/2006/relationships/image" Target="../media/image8.svg"/><Relationship Id="rId7" Type="http://schemas.openxmlformats.org/officeDocument/2006/relationships/hyperlink" Target="https://www.instagram.com/fsc_canada/?hl=en" TargetMode="External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6" Type="http://schemas.openxmlformats.org/officeDocument/2006/relationships/hyperlink" Target="https://www.linkedin.com/company/fsccanada/" TargetMode="External"/><Relationship Id="rId5" Type="http://schemas.openxmlformats.org/officeDocument/2006/relationships/hyperlink" Target="https://twitter.com/fsc_canada" TargetMode="External"/><Relationship Id="rId4" Type="http://schemas.openxmlformats.org/officeDocument/2006/relationships/hyperlink" Target="http://www.youtube.com/user/fsccanada?feature=results_main" TargetMode="Externa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hyperlink" Target="http://www.facebook.com/pages/FSC-Canada/183332455018035" TargetMode="External"/><Relationship Id="rId3" Type="http://schemas.openxmlformats.org/officeDocument/2006/relationships/image" Target="../media/image8.svg"/><Relationship Id="rId7" Type="http://schemas.openxmlformats.org/officeDocument/2006/relationships/hyperlink" Target="https://www.instagram.com/fsc_canada/?hl=en" TargetMode="External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www.linkedin.com/company/fsccanada/" TargetMode="External"/><Relationship Id="rId5" Type="http://schemas.openxmlformats.org/officeDocument/2006/relationships/hyperlink" Target="https://twitter.com/fsc_canada" TargetMode="External"/><Relationship Id="rId4" Type="http://schemas.openxmlformats.org/officeDocument/2006/relationships/hyperlink" Target="http://www.youtube.com/user/fsccanada?feature=results_main" TargetMode="Externa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77.xml.rels><?xml version="1.0" encoding="UTF-8" standalone="yes"?>
<Relationships xmlns="http://schemas.openxmlformats.org/package/2006/relationships"><Relationship Id="rId8" Type="http://schemas.openxmlformats.org/officeDocument/2006/relationships/hyperlink" Target="http://www.facebook.com/pages/FSC-Canada/183332455018035" TargetMode="External"/><Relationship Id="rId3" Type="http://schemas.openxmlformats.org/officeDocument/2006/relationships/image" Target="../media/image8.svg"/><Relationship Id="rId7" Type="http://schemas.openxmlformats.org/officeDocument/2006/relationships/hyperlink" Target="https://www.instagram.com/fsc_canada/?hl=en" TargetMode="External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Relationship Id="rId6" Type="http://schemas.openxmlformats.org/officeDocument/2006/relationships/hyperlink" Target="https://www.linkedin.com/company/fsccanada/" TargetMode="External"/><Relationship Id="rId5" Type="http://schemas.openxmlformats.org/officeDocument/2006/relationships/hyperlink" Target="https://twitter.com/fsc_canada" TargetMode="External"/><Relationship Id="rId4" Type="http://schemas.openxmlformats.org/officeDocument/2006/relationships/hyperlink" Target="http://www.youtube.com/user/fsccanada?feature=results_main" TargetMode="External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0.png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3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3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3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3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3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3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3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3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3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3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3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3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3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3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3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3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3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3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3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3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3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ing slide-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E9670259-4695-428B-A004-7FC80D7094B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19400" y="1"/>
            <a:ext cx="107532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342000" tIns="342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C3F7B8-0B35-40FF-8CB7-4337CBF123A9}"/>
              </a:ext>
            </a:extLst>
          </p:cNvPr>
          <p:cNvSpPr/>
          <p:nvPr userDrawn="1"/>
        </p:nvSpPr>
        <p:spPr>
          <a:xfrm>
            <a:off x="0" y="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CCB27E3-026E-4103-AE04-0346F7EF5C2F}"/>
              </a:ext>
            </a:extLst>
          </p:cNvPr>
          <p:cNvSpPr/>
          <p:nvPr userDrawn="1"/>
        </p:nvSpPr>
        <p:spPr>
          <a:xfrm>
            <a:off x="11472000" y="-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B9FB5A10-E3E1-D366-94FA-D002F96178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6266" y="2271713"/>
            <a:ext cx="4319467" cy="1923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70672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880315"/>
            <a:ext cx="4680000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06AFE3-EE64-4522-825B-815C6A28E9F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CCCCDE7-B8EA-4773-A164-304D34F89D0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C4FDAA8-8585-4D16-87AD-3485D164648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9FAA2598-9FF1-4FD4-A0B9-1D5412ADF05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734962" y="1880315"/>
            <a:ext cx="4680000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463940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C60C8A8-1B70-4653-94B4-DE00B5C785B3}"/>
              </a:ext>
            </a:extLst>
          </p:cNvPr>
          <p:cNvSpPr/>
          <p:nvPr userDrawn="1"/>
        </p:nvSpPr>
        <p:spPr>
          <a:xfrm>
            <a:off x="0" y="0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10801351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5EE857-4C7E-47C5-A433-5F303A10690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964" y="1413375"/>
            <a:ext cx="10801350" cy="72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D1ECE4F1-33EB-4137-BED8-59885BB39C47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334963" y="2243442"/>
            <a:ext cx="10801350" cy="3599999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778F5DE-1344-42BD-82D0-6611DD7B1FC6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D0D518F-1062-474E-BA48-10EA56B2C55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2C63567-251B-4660-ADF6-37AB6DCF01D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E1A2CF36-775E-4392-BEA9-87C8C3FA9B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849886" y="333375"/>
            <a:ext cx="1006304" cy="448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309876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76849F14-4971-4208-82A8-1F0513897926}"/>
              </a:ext>
            </a:extLst>
          </p:cNvPr>
          <p:cNvSpPr/>
          <p:nvPr userDrawn="1"/>
        </p:nvSpPr>
        <p:spPr>
          <a:xfrm>
            <a:off x="719400" y="-2"/>
            <a:ext cx="107532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096AA35B-6D3E-4809-9D78-9CF31081E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9400" y="-2"/>
            <a:ext cx="4680000" cy="4068000"/>
          </a:xfrm>
          <a:solidFill>
            <a:schemeClr val="tx2"/>
          </a:solidFill>
        </p:spPr>
        <p:txBody>
          <a:bodyPr lIns="342000" tIns="342000" rIns="0" bIns="504000" anchor="b" anchorCtr="0"/>
          <a:lstStyle>
            <a:lvl1pPr>
              <a:defRPr sz="4500">
                <a:solidFill>
                  <a:schemeClr val="accent1"/>
                </a:solidFill>
              </a:defRPr>
            </a:lvl1pPr>
          </a:lstStyle>
          <a:p>
            <a:r>
              <a:rPr lang="en-US"/>
              <a:t>Thank you</a:t>
            </a:r>
            <a:endParaRPr lang="en-AU"/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C26E00FB-CED1-4B46-93A1-739D22FD51A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787692" y="2529091"/>
            <a:ext cx="2017653" cy="899814"/>
          </a:xfrm>
          <a:prstGeom prst="rect">
            <a:avLst/>
          </a:prstGeom>
        </p:spPr>
      </p:pic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FD95F930-CD55-469B-9FD0-1150DA73B39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-2"/>
            <a:ext cx="12192000" cy="6876000"/>
          </a:xfrm>
          <a:custGeom>
            <a:avLst/>
            <a:gdLst>
              <a:gd name="connsiteX0" fmla="*/ 114726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472600 w 12192000"/>
              <a:gd name="connsiteY3" fmla="*/ 6858000 h 6858000"/>
              <a:gd name="connsiteX4" fmla="*/ 0 w 12192000"/>
              <a:gd name="connsiteY4" fmla="*/ 0 h 6858000"/>
              <a:gd name="connsiteX5" fmla="*/ 719400 w 12192000"/>
              <a:gd name="connsiteY5" fmla="*/ 0 h 6858000"/>
              <a:gd name="connsiteX6" fmla="*/ 7194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14726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472600" y="6858000"/>
                </a:lnTo>
                <a:close/>
                <a:moveTo>
                  <a:pt x="0" y="0"/>
                </a:moveTo>
                <a:lnTo>
                  <a:pt x="719400" y="0"/>
                </a:lnTo>
                <a:lnTo>
                  <a:pt x="7194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08000" tIns="108000" rIns="115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4417D20-4CB7-471C-A5C4-50706D404792}"/>
              </a:ext>
            </a:extLst>
          </p:cNvPr>
          <p:cNvSpPr txBox="1"/>
          <p:nvPr userDrawn="1"/>
        </p:nvSpPr>
        <p:spPr>
          <a:xfrm>
            <a:off x="7916652" y="3928056"/>
            <a:ext cx="3321238" cy="25564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 cap="none" baseline="0">
                <a:solidFill>
                  <a:schemeClr val="bg1"/>
                </a:solidFill>
              </a:defRPr>
            </a:lvl1pPr>
            <a:lvl2pPr marL="0" lvl="1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b="1" cap="all" baseline="0">
                <a:solidFill>
                  <a:schemeClr val="bg1"/>
                </a:solidFill>
              </a:defRPr>
            </a:lvl2pPr>
            <a:lvl3pPr marL="0" lvl="2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3pPr>
            <a:lvl4pPr marL="0" lvl="3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4pPr>
            <a:lvl5pPr marL="0" lvl="4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5pPr>
            <a:lvl6pPr marL="0" lvl="5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6pPr>
            <a:lvl7pPr marL="0" lvl="6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7pPr>
            <a:lvl8pPr marL="0" lvl="7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8pPr>
            <a:lvl9pPr marL="0" lvl="8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9pPr>
          </a:lstStyle>
          <a:p>
            <a:pPr lvl="0">
              <a:spcBef>
                <a:spcPts val="400"/>
              </a:spcBef>
            </a:pPr>
            <a:r>
              <a:rPr lang="en-US" altLang="en-US" sz="1600" b="0">
                <a:solidFill>
                  <a:schemeClr val="bg2"/>
                </a:solidFill>
                <a:latin typeface="+mj-lt"/>
              </a:rPr>
              <a:t>Forest Stewardship Council</a:t>
            </a:r>
            <a:r>
              <a:rPr lang="en-US" altLang="en-US" sz="1600" b="0" baseline="30000">
                <a:solidFill>
                  <a:schemeClr val="bg2"/>
                </a:solidFill>
                <a:latin typeface="+mj-lt"/>
              </a:rPr>
              <a:t>®</a:t>
            </a:r>
            <a:r>
              <a:rPr lang="en-US" altLang="en-US" sz="1600" b="0">
                <a:solidFill>
                  <a:schemeClr val="bg2"/>
                </a:solidFill>
                <a:latin typeface="+mj-lt"/>
              </a:rPr>
              <a:t> </a:t>
            </a:r>
            <a:br>
              <a:rPr lang="en-US" altLang="en-US" sz="1600" b="0">
                <a:solidFill>
                  <a:schemeClr val="bg2"/>
                </a:solidFill>
                <a:latin typeface="+mj-lt"/>
              </a:rPr>
            </a:br>
            <a:r>
              <a:rPr lang="en-US" altLang="en-US" sz="1600" b="0">
                <a:solidFill>
                  <a:schemeClr val="bg2"/>
                </a:solidFill>
                <a:latin typeface="+mj-lt"/>
              </a:rPr>
              <a:t>FSC</a:t>
            </a:r>
            <a:r>
              <a:rPr lang="en-US" altLang="en-US" sz="1600" b="0" baseline="30000">
                <a:solidFill>
                  <a:schemeClr val="bg2"/>
                </a:solidFill>
                <a:latin typeface="+mj-lt"/>
              </a:rPr>
              <a:t> ®</a:t>
            </a:r>
            <a:r>
              <a:rPr lang="en-US" altLang="en-US" sz="1600" b="0">
                <a:solidFill>
                  <a:schemeClr val="bg2"/>
                </a:solidFill>
                <a:latin typeface="+mj-lt"/>
              </a:rPr>
              <a:t> International</a:t>
            </a:r>
          </a:p>
          <a:p>
            <a:pPr lvl="0"/>
            <a:endParaRPr lang="en-US" altLang="en-US" sz="1600" b="0"/>
          </a:p>
          <a:p>
            <a:pPr lvl="0"/>
            <a:endParaRPr lang="en-US" altLang="en-US" sz="1600" b="0"/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FSC® F001000</a:t>
            </a:r>
          </a:p>
          <a:p>
            <a:pPr lvl="0"/>
            <a:r>
              <a:rPr lang="en-US" altLang="en-US" sz="1400" b="0">
                <a:solidFill>
                  <a:schemeClr val="bg1"/>
                </a:solidFill>
                <a:latin typeface="+mj-lt"/>
              </a:rPr>
              <a:t>www.fsc.org</a:t>
            </a:r>
            <a:endParaRPr lang="en-US" altLang="en-US" sz="1600" b="0">
              <a:solidFill>
                <a:schemeClr val="bg1"/>
              </a:solidFill>
            </a:endParaRPr>
          </a:p>
        </p:txBody>
      </p:sp>
      <p:sp>
        <p:nvSpPr>
          <p:cNvPr id="8" name="Freeform: Shape 7">
            <a:hlinkClick r:id="rId4"/>
            <a:extLst>
              <a:ext uri="{FF2B5EF4-FFF2-40B4-BE49-F238E27FC236}">
                <a16:creationId xmlns:a16="http://schemas.microsoft.com/office/drawing/2014/main" id="{F8BC909C-567D-4F9C-A0DF-D05DE8F82075}"/>
              </a:ext>
            </a:extLst>
          </p:cNvPr>
          <p:cNvSpPr>
            <a:spLocks noChangeAspect="1"/>
          </p:cNvSpPr>
          <p:nvPr/>
        </p:nvSpPr>
        <p:spPr>
          <a:xfrm>
            <a:off x="7916652" y="4591756"/>
            <a:ext cx="242382" cy="242382"/>
          </a:xfrm>
          <a:custGeom>
            <a:avLst/>
            <a:gdLst>
              <a:gd name="connsiteX0" fmla="*/ 357950 w 809625"/>
              <a:gd name="connsiteY0" fmla="*/ 333375 h 809625"/>
              <a:gd name="connsiteX1" fmla="*/ 480537 w 809625"/>
              <a:gd name="connsiteY1" fmla="*/ 397002 h 809625"/>
              <a:gd name="connsiteX2" fmla="*/ 357950 w 809625"/>
              <a:gd name="connsiteY2" fmla="*/ 460439 h 809625"/>
              <a:gd name="connsiteX3" fmla="*/ 242887 w 809625"/>
              <a:gd name="connsiteY3" fmla="*/ 249555 h 809625"/>
              <a:gd name="connsiteX4" fmla="*/ 178117 w 809625"/>
              <a:gd name="connsiteY4" fmla="*/ 314325 h 809625"/>
              <a:gd name="connsiteX5" fmla="*/ 178117 w 809625"/>
              <a:gd name="connsiteY5" fmla="*/ 495300 h 809625"/>
              <a:gd name="connsiteX6" fmla="*/ 242887 w 809625"/>
              <a:gd name="connsiteY6" fmla="*/ 560070 h 809625"/>
              <a:gd name="connsiteX7" fmla="*/ 566737 w 809625"/>
              <a:gd name="connsiteY7" fmla="*/ 560070 h 809625"/>
              <a:gd name="connsiteX8" fmla="*/ 631507 w 809625"/>
              <a:gd name="connsiteY8" fmla="*/ 495300 h 809625"/>
              <a:gd name="connsiteX9" fmla="*/ 631507 w 809625"/>
              <a:gd name="connsiteY9" fmla="*/ 314325 h 809625"/>
              <a:gd name="connsiteX10" fmla="*/ 566737 w 809625"/>
              <a:gd name="connsiteY10" fmla="*/ 249555 h 809625"/>
              <a:gd name="connsiteX11" fmla="*/ 404813 w 809625"/>
              <a:gd name="connsiteY11" fmla="*/ 0 h 809625"/>
              <a:gd name="connsiteX12" fmla="*/ 809625 w 809625"/>
              <a:gd name="connsiteY12" fmla="*/ 404813 h 809625"/>
              <a:gd name="connsiteX13" fmla="*/ 404813 w 809625"/>
              <a:gd name="connsiteY13" fmla="*/ 809625 h 809625"/>
              <a:gd name="connsiteX14" fmla="*/ 0 w 809625"/>
              <a:gd name="connsiteY14" fmla="*/ 404813 h 809625"/>
              <a:gd name="connsiteX15" fmla="*/ 404813 w 809625"/>
              <a:gd name="connsiteY15" fmla="*/ 0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809625" h="809625">
                <a:moveTo>
                  <a:pt x="357950" y="333375"/>
                </a:moveTo>
                <a:lnTo>
                  <a:pt x="480537" y="397002"/>
                </a:lnTo>
                <a:lnTo>
                  <a:pt x="357950" y="460439"/>
                </a:lnTo>
                <a:close/>
                <a:moveTo>
                  <a:pt x="242887" y="249555"/>
                </a:moveTo>
                <a:cubicBezTo>
                  <a:pt x="207159" y="249660"/>
                  <a:pt x="178222" y="278597"/>
                  <a:pt x="178117" y="314325"/>
                </a:cubicBezTo>
                <a:lnTo>
                  <a:pt x="178117" y="495300"/>
                </a:lnTo>
                <a:cubicBezTo>
                  <a:pt x="178222" y="531028"/>
                  <a:pt x="207159" y="559965"/>
                  <a:pt x="242887" y="560070"/>
                </a:cubicBezTo>
                <a:lnTo>
                  <a:pt x="566737" y="560070"/>
                </a:lnTo>
                <a:cubicBezTo>
                  <a:pt x="602465" y="559965"/>
                  <a:pt x="631402" y="531028"/>
                  <a:pt x="631507" y="495300"/>
                </a:cubicBezTo>
                <a:lnTo>
                  <a:pt x="631507" y="314325"/>
                </a:lnTo>
                <a:cubicBezTo>
                  <a:pt x="631402" y="278597"/>
                  <a:pt x="602465" y="249660"/>
                  <a:pt x="566737" y="249555"/>
                </a:cubicBezTo>
                <a:close/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9" name="Freeform: Shape 8">
            <a:hlinkClick r:id="rId5"/>
            <a:extLst>
              <a:ext uri="{FF2B5EF4-FFF2-40B4-BE49-F238E27FC236}">
                <a16:creationId xmlns:a16="http://schemas.microsoft.com/office/drawing/2014/main" id="{2487C176-18A9-4BB0-BD80-DEC34233A800}"/>
              </a:ext>
            </a:extLst>
          </p:cNvPr>
          <p:cNvSpPr>
            <a:spLocks noChangeAspect="1"/>
          </p:cNvSpPr>
          <p:nvPr/>
        </p:nvSpPr>
        <p:spPr>
          <a:xfrm>
            <a:off x="8298996" y="4591756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495146 w 809625"/>
              <a:gd name="connsiteY5" fmla="*/ 220645 h 809625"/>
              <a:gd name="connsiteX6" fmla="*/ 428527 w 809625"/>
              <a:gd name="connsiteY6" fmla="*/ 245841 h 809625"/>
              <a:gd name="connsiteX7" fmla="*/ 399192 w 809625"/>
              <a:gd name="connsiteY7" fmla="*/ 313563 h 809625"/>
              <a:gd name="connsiteX8" fmla="*/ 401573 w 809625"/>
              <a:gd name="connsiteY8" fmla="*/ 334803 h 809625"/>
              <a:gd name="connsiteX9" fmla="*/ 209549 w 809625"/>
              <a:gd name="connsiteY9" fmla="*/ 238125 h 809625"/>
              <a:gd name="connsiteX10" fmla="*/ 238124 w 809625"/>
              <a:gd name="connsiteY10" fmla="*/ 361950 h 809625"/>
              <a:gd name="connsiteX11" fmla="*/ 195928 w 809625"/>
              <a:gd name="connsiteY11" fmla="*/ 350329 h 809625"/>
              <a:gd name="connsiteX12" fmla="*/ 195929 w 809625"/>
              <a:gd name="connsiteY12" fmla="*/ 351567 h 809625"/>
              <a:gd name="connsiteX13" fmla="*/ 270605 w 809625"/>
              <a:gd name="connsiteY13" fmla="*/ 442722 h 809625"/>
              <a:gd name="connsiteX14" fmla="*/ 228599 w 809625"/>
              <a:gd name="connsiteY14" fmla="*/ 444341 h 809625"/>
              <a:gd name="connsiteX15" fmla="*/ 315467 w 809625"/>
              <a:gd name="connsiteY15" fmla="*/ 508920 h 809625"/>
              <a:gd name="connsiteX16" fmla="*/ 200024 w 809625"/>
              <a:gd name="connsiteY16" fmla="*/ 548544 h 809625"/>
              <a:gd name="connsiteX17" fmla="*/ 177831 w 809625"/>
              <a:gd name="connsiteY17" fmla="*/ 547211 h 809625"/>
              <a:gd name="connsiteX18" fmla="*/ 320706 w 809625"/>
              <a:gd name="connsiteY18" fmla="*/ 589026 h 809625"/>
              <a:gd name="connsiteX19" fmla="*/ 585406 w 809625"/>
              <a:gd name="connsiteY19" fmla="*/ 324421 h 809625"/>
              <a:gd name="connsiteX20" fmla="*/ 585406 w 809625"/>
              <a:gd name="connsiteY20" fmla="*/ 312324 h 809625"/>
              <a:gd name="connsiteX21" fmla="*/ 631507 w 809625"/>
              <a:gd name="connsiteY21" fmla="*/ 264223 h 809625"/>
              <a:gd name="connsiteX22" fmla="*/ 578072 w 809625"/>
              <a:gd name="connsiteY22" fmla="*/ 278892 h 809625"/>
              <a:gd name="connsiteX23" fmla="*/ 619124 w 809625"/>
              <a:gd name="connsiteY23" fmla="*/ 227361 h 809625"/>
              <a:gd name="connsiteX24" fmla="*/ 560069 w 809625"/>
              <a:gd name="connsiteY24" fmla="*/ 249936 h 809625"/>
              <a:gd name="connsiteX25" fmla="*/ 495146 w 809625"/>
              <a:gd name="connsiteY25" fmla="*/ 220645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495146" y="220645"/>
                </a:moveTo>
                <a:cubicBezTo>
                  <a:pt x="471342" y="219904"/>
                  <a:pt x="447255" y="228245"/>
                  <a:pt x="428527" y="245841"/>
                </a:cubicBezTo>
                <a:cubicBezTo>
                  <a:pt x="409833" y="263407"/>
                  <a:pt x="399219" y="287911"/>
                  <a:pt x="399192" y="313563"/>
                </a:cubicBezTo>
                <a:cubicBezTo>
                  <a:pt x="399204" y="320709"/>
                  <a:pt x="400003" y="327832"/>
                  <a:pt x="401573" y="334803"/>
                </a:cubicBezTo>
                <a:cubicBezTo>
                  <a:pt x="326768" y="331204"/>
                  <a:pt x="256991" y="296073"/>
                  <a:pt x="209549" y="238125"/>
                </a:cubicBezTo>
                <a:cubicBezTo>
                  <a:pt x="185023" y="280491"/>
                  <a:pt x="197513" y="334615"/>
                  <a:pt x="238124" y="361950"/>
                </a:cubicBezTo>
                <a:cubicBezTo>
                  <a:pt x="223336" y="361482"/>
                  <a:pt x="208871" y="357499"/>
                  <a:pt x="195928" y="350329"/>
                </a:cubicBezTo>
                <a:lnTo>
                  <a:pt x="195929" y="351567"/>
                </a:lnTo>
                <a:cubicBezTo>
                  <a:pt x="195962" y="395849"/>
                  <a:pt x="227195" y="433974"/>
                  <a:pt x="270605" y="442722"/>
                </a:cubicBezTo>
                <a:cubicBezTo>
                  <a:pt x="256901" y="446399"/>
                  <a:pt x="242546" y="446952"/>
                  <a:pt x="228599" y="444341"/>
                </a:cubicBezTo>
                <a:cubicBezTo>
                  <a:pt x="240745" y="482243"/>
                  <a:pt x="275672" y="508209"/>
                  <a:pt x="315467" y="508920"/>
                </a:cubicBezTo>
                <a:cubicBezTo>
                  <a:pt x="282513" y="534690"/>
                  <a:pt x="241858" y="548644"/>
                  <a:pt x="200024" y="548544"/>
                </a:cubicBezTo>
                <a:cubicBezTo>
                  <a:pt x="192607" y="548536"/>
                  <a:pt x="185196" y="548091"/>
                  <a:pt x="177831" y="547211"/>
                </a:cubicBezTo>
                <a:cubicBezTo>
                  <a:pt x="220421" y="574649"/>
                  <a:pt x="270043" y="589172"/>
                  <a:pt x="320706" y="589026"/>
                </a:cubicBezTo>
                <a:cubicBezTo>
                  <a:pt x="492156" y="589026"/>
                  <a:pt x="585406" y="447294"/>
                  <a:pt x="585406" y="324421"/>
                </a:cubicBezTo>
                <a:cubicBezTo>
                  <a:pt x="585406" y="320325"/>
                  <a:pt x="585406" y="316325"/>
                  <a:pt x="585406" y="312324"/>
                </a:cubicBezTo>
                <a:cubicBezTo>
                  <a:pt x="603503" y="299151"/>
                  <a:pt x="619113" y="282863"/>
                  <a:pt x="631507" y="264223"/>
                </a:cubicBezTo>
                <a:cubicBezTo>
                  <a:pt x="614513" y="271713"/>
                  <a:pt x="596508" y="276656"/>
                  <a:pt x="578072" y="278892"/>
                </a:cubicBezTo>
                <a:cubicBezTo>
                  <a:pt x="597588" y="267302"/>
                  <a:pt x="612190" y="248974"/>
                  <a:pt x="619124" y="227361"/>
                </a:cubicBezTo>
                <a:cubicBezTo>
                  <a:pt x="600877" y="238213"/>
                  <a:pt x="580902" y="245848"/>
                  <a:pt x="560069" y="249936"/>
                </a:cubicBezTo>
                <a:cubicBezTo>
                  <a:pt x="542473" y="231209"/>
                  <a:pt x="518951" y="221387"/>
                  <a:pt x="495146" y="22064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0" name="Freeform: Shape 9">
            <a:hlinkClick r:id="rId6"/>
            <a:extLst>
              <a:ext uri="{FF2B5EF4-FFF2-40B4-BE49-F238E27FC236}">
                <a16:creationId xmlns:a16="http://schemas.microsoft.com/office/drawing/2014/main" id="{41393088-2A2D-4F19-A536-4C5B46718A69}"/>
              </a:ext>
            </a:extLst>
          </p:cNvPr>
          <p:cNvSpPr>
            <a:spLocks noChangeAspect="1"/>
          </p:cNvSpPr>
          <p:nvPr/>
        </p:nvSpPr>
        <p:spPr>
          <a:xfrm>
            <a:off x="8681340" y="4591756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230981 w 809625"/>
              <a:gd name="connsiteY5" fmla="*/ 177069 h 809625"/>
              <a:gd name="connsiteX6" fmla="*/ 176498 w 809625"/>
              <a:gd name="connsiteY6" fmla="*/ 231552 h 809625"/>
              <a:gd name="connsiteX7" fmla="*/ 230981 w 809625"/>
              <a:gd name="connsiteY7" fmla="*/ 286035 h 809625"/>
              <a:gd name="connsiteX8" fmla="*/ 285464 w 809625"/>
              <a:gd name="connsiteY8" fmla="*/ 231552 h 809625"/>
              <a:gd name="connsiteX9" fmla="*/ 230981 w 809625"/>
              <a:gd name="connsiteY9" fmla="*/ 177069 h 809625"/>
              <a:gd name="connsiteX10" fmla="*/ 517493 w 809625"/>
              <a:gd name="connsiteY10" fmla="*/ 319849 h 809625"/>
              <a:gd name="connsiteX11" fmla="*/ 428625 w 809625"/>
              <a:gd name="connsiteY11" fmla="*/ 368617 h 809625"/>
              <a:gd name="connsiteX12" fmla="*/ 426910 w 809625"/>
              <a:gd name="connsiteY12" fmla="*/ 368617 h 809625"/>
              <a:gd name="connsiteX13" fmla="*/ 426910 w 809625"/>
              <a:gd name="connsiteY13" fmla="*/ 327278 h 809625"/>
              <a:gd name="connsiteX14" fmla="*/ 336899 w 809625"/>
              <a:gd name="connsiteY14" fmla="*/ 327278 h 809625"/>
              <a:gd name="connsiteX15" fmla="*/ 336899 w 809625"/>
              <a:gd name="connsiteY15" fmla="*/ 629602 h 809625"/>
              <a:gd name="connsiteX16" fmla="*/ 430720 w 809625"/>
              <a:gd name="connsiteY16" fmla="*/ 629602 h 809625"/>
              <a:gd name="connsiteX17" fmla="*/ 430720 w 809625"/>
              <a:gd name="connsiteY17" fmla="*/ 480059 h 809625"/>
              <a:gd name="connsiteX18" fmla="*/ 487108 w 809625"/>
              <a:gd name="connsiteY18" fmla="*/ 402430 h 809625"/>
              <a:gd name="connsiteX19" fmla="*/ 535876 w 809625"/>
              <a:gd name="connsiteY19" fmla="*/ 482631 h 809625"/>
              <a:gd name="connsiteX20" fmla="*/ 535876 w 809625"/>
              <a:gd name="connsiteY20" fmla="*/ 629602 h 809625"/>
              <a:gd name="connsiteX21" fmla="*/ 630174 w 809625"/>
              <a:gd name="connsiteY21" fmla="*/ 629602 h 809625"/>
              <a:gd name="connsiteX22" fmla="*/ 630174 w 809625"/>
              <a:gd name="connsiteY22" fmla="*/ 463771 h 809625"/>
              <a:gd name="connsiteX23" fmla="*/ 517493 w 809625"/>
              <a:gd name="connsiteY23" fmla="*/ 319849 h 809625"/>
              <a:gd name="connsiteX24" fmla="*/ 183927 w 809625"/>
              <a:gd name="connsiteY24" fmla="*/ 327278 h 809625"/>
              <a:gd name="connsiteX25" fmla="*/ 183927 w 809625"/>
              <a:gd name="connsiteY25" fmla="*/ 629602 h 809625"/>
              <a:gd name="connsiteX26" fmla="*/ 277939 w 809625"/>
              <a:gd name="connsiteY26" fmla="*/ 629602 h 809625"/>
              <a:gd name="connsiteX27" fmla="*/ 277939 w 809625"/>
              <a:gd name="connsiteY27" fmla="*/ 327278 h 809625"/>
              <a:gd name="connsiteX28" fmla="*/ 183927 w 809625"/>
              <a:gd name="connsiteY28" fmla="*/ 327278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230981" y="177069"/>
                </a:moveTo>
                <a:cubicBezTo>
                  <a:pt x="200891" y="177069"/>
                  <a:pt x="176498" y="201462"/>
                  <a:pt x="176498" y="231552"/>
                </a:cubicBezTo>
                <a:cubicBezTo>
                  <a:pt x="176498" y="261642"/>
                  <a:pt x="200891" y="286035"/>
                  <a:pt x="230981" y="286035"/>
                </a:cubicBezTo>
                <a:cubicBezTo>
                  <a:pt x="261071" y="286035"/>
                  <a:pt x="285464" y="261642"/>
                  <a:pt x="285464" y="231552"/>
                </a:cubicBezTo>
                <a:cubicBezTo>
                  <a:pt x="285464" y="201462"/>
                  <a:pt x="261071" y="177069"/>
                  <a:pt x="230981" y="177069"/>
                </a:cubicBezTo>
                <a:close/>
                <a:moveTo>
                  <a:pt x="517493" y="319849"/>
                </a:moveTo>
                <a:cubicBezTo>
                  <a:pt x="481146" y="318484"/>
                  <a:pt x="446996" y="337225"/>
                  <a:pt x="428625" y="368617"/>
                </a:cubicBezTo>
                <a:lnTo>
                  <a:pt x="426910" y="368617"/>
                </a:lnTo>
                <a:lnTo>
                  <a:pt x="426910" y="327278"/>
                </a:lnTo>
                <a:lnTo>
                  <a:pt x="336899" y="327278"/>
                </a:lnTo>
                <a:lnTo>
                  <a:pt x="336899" y="629602"/>
                </a:lnTo>
                <a:lnTo>
                  <a:pt x="430720" y="629602"/>
                </a:lnTo>
                <a:lnTo>
                  <a:pt x="430720" y="480059"/>
                </a:lnTo>
                <a:cubicBezTo>
                  <a:pt x="430720" y="440530"/>
                  <a:pt x="438912" y="402430"/>
                  <a:pt x="487108" y="402430"/>
                </a:cubicBezTo>
                <a:cubicBezTo>
                  <a:pt x="535305" y="402430"/>
                  <a:pt x="535876" y="447579"/>
                  <a:pt x="535876" y="482631"/>
                </a:cubicBezTo>
                <a:lnTo>
                  <a:pt x="535876" y="629602"/>
                </a:lnTo>
                <a:lnTo>
                  <a:pt x="630174" y="629602"/>
                </a:lnTo>
                <a:lnTo>
                  <a:pt x="630174" y="463771"/>
                </a:lnTo>
                <a:cubicBezTo>
                  <a:pt x="630174" y="382428"/>
                  <a:pt x="612743" y="319849"/>
                  <a:pt x="517493" y="319849"/>
                </a:cubicBezTo>
                <a:close/>
                <a:moveTo>
                  <a:pt x="183927" y="327278"/>
                </a:moveTo>
                <a:lnTo>
                  <a:pt x="183927" y="629602"/>
                </a:lnTo>
                <a:lnTo>
                  <a:pt x="277939" y="629602"/>
                </a:lnTo>
                <a:lnTo>
                  <a:pt x="277939" y="327278"/>
                </a:lnTo>
                <a:lnTo>
                  <a:pt x="183927" y="32727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1" name="Freeform: Shape 10">
            <a:hlinkClick r:id="rId7"/>
            <a:extLst>
              <a:ext uri="{FF2B5EF4-FFF2-40B4-BE49-F238E27FC236}">
                <a16:creationId xmlns:a16="http://schemas.microsoft.com/office/drawing/2014/main" id="{F1F78FC3-536A-4C34-B2A3-95085DF38A8D}"/>
              </a:ext>
            </a:extLst>
          </p:cNvPr>
          <p:cNvSpPr>
            <a:spLocks noChangeAspect="1"/>
          </p:cNvSpPr>
          <p:nvPr/>
        </p:nvSpPr>
        <p:spPr>
          <a:xfrm>
            <a:off x="9063685" y="4591756"/>
            <a:ext cx="242382" cy="242382"/>
          </a:xfrm>
          <a:custGeom>
            <a:avLst/>
            <a:gdLst>
              <a:gd name="connsiteX0" fmla="*/ 404812 w 809625"/>
              <a:gd name="connsiteY0" fmla="*/ 288417 h 809625"/>
              <a:gd name="connsiteX1" fmla="*/ 288417 w 809625"/>
              <a:gd name="connsiteY1" fmla="*/ 404812 h 809625"/>
              <a:gd name="connsiteX2" fmla="*/ 404812 w 809625"/>
              <a:gd name="connsiteY2" fmla="*/ 521208 h 809625"/>
              <a:gd name="connsiteX3" fmla="*/ 521208 w 809625"/>
              <a:gd name="connsiteY3" fmla="*/ 404812 h 809625"/>
              <a:gd name="connsiteX4" fmla="*/ 404812 w 809625"/>
              <a:gd name="connsiteY4" fmla="*/ 288417 h 809625"/>
              <a:gd name="connsiteX5" fmla="*/ 525780 w 809625"/>
              <a:gd name="connsiteY5" fmla="*/ 256603 h 809625"/>
              <a:gd name="connsiteX6" fmla="*/ 498538 w 809625"/>
              <a:gd name="connsiteY6" fmla="*/ 283844 h 809625"/>
              <a:gd name="connsiteX7" fmla="*/ 525780 w 809625"/>
              <a:gd name="connsiteY7" fmla="*/ 311086 h 809625"/>
              <a:gd name="connsiteX8" fmla="*/ 553021 w 809625"/>
              <a:gd name="connsiteY8" fmla="*/ 283844 h 809625"/>
              <a:gd name="connsiteX9" fmla="*/ 525780 w 809625"/>
              <a:gd name="connsiteY9" fmla="*/ 256603 h 809625"/>
              <a:gd name="connsiteX10" fmla="*/ 404812 w 809625"/>
              <a:gd name="connsiteY10" fmla="*/ 219075 h 809625"/>
              <a:gd name="connsiteX11" fmla="*/ 496443 w 809625"/>
              <a:gd name="connsiteY11" fmla="*/ 220408 h 809625"/>
              <a:gd name="connsiteX12" fmla="*/ 538543 w 809625"/>
              <a:gd name="connsiteY12" fmla="*/ 228218 h 809625"/>
              <a:gd name="connsiteX13" fmla="*/ 581501 w 809625"/>
              <a:gd name="connsiteY13" fmla="*/ 271176 h 809625"/>
              <a:gd name="connsiteX14" fmla="*/ 589311 w 809625"/>
              <a:gd name="connsiteY14" fmla="*/ 313277 h 809625"/>
              <a:gd name="connsiteX15" fmla="*/ 590645 w 809625"/>
              <a:gd name="connsiteY15" fmla="*/ 404907 h 809625"/>
              <a:gd name="connsiteX16" fmla="*/ 589311 w 809625"/>
              <a:gd name="connsiteY16" fmla="*/ 496538 h 809625"/>
              <a:gd name="connsiteX17" fmla="*/ 581501 w 809625"/>
              <a:gd name="connsiteY17" fmla="*/ 538638 h 809625"/>
              <a:gd name="connsiteX18" fmla="*/ 538543 w 809625"/>
              <a:gd name="connsiteY18" fmla="*/ 581596 h 809625"/>
              <a:gd name="connsiteX19" fmla="*/ 496443 w 809625"/>
              <a:gd name="connsiteY19" fmla="*/ 589406 h 809625"/>
              <a:gd name="connsiteX20" fmla="*/ 404812 w 809625"/>
              <a:gd name="connsiteY20" fmla="*/ 590740 h 809625"/>
              <a:gd name="connsiteX21" fmla="*/ 313182 w 809625"/>
              <a:gd name="connsiteY21" fmla="*/ 589407 h 809625"/>
              <a:gd name="connsiteX22" fmla="*/ 271081 w 809625"/>
              <a:gd name="connsiteY22" fmla="*/ 581596 h 809625"/>
              <a:gd name="connsiteX23" fmla="*/ 228600 w 809625"/>
              <a:gd name="connsiteY23" fmla="*/ 538543 h 809625"/>
              <a:gd name="connsiteX24" fmla="*/ 220789 w 809625"/>
              <a:gd name="connsiteY24" fmla="*/ 496443 h 809625"/>
              <a:gd name="connsiteX25" fmla="*/ 219075 w 809625"/>
              <a:gd name="connsiteY25" fmla="*/ 404812 h 809625"/>
              <a:gd name="connsiteX26" fmla="*/ 220408 w 809625"/>
              <a:gd name="connsiteY26" fmla="*/ 313182 h 809625"/>
              <a:gd name="connsiteX27" fmla="*/ 228600 w 809625"/>
              <a:gd name="connsiteY27" fmla="*/ 271081 h 809625"/>
              <a:gd name="connsiteX28" fmla="*/ 271081 w 809625"/>
              <a:gd name="connsiteY28" fmla="*/ 228600 h 809625"/>
              <a:gd name="connsiteX29" fmla="*/ 313181 w 809625"/>
              <a:gd name="connsiteY29" fmla="*/ 220789 h 809625"/>
              <a:gd name="connsiteX30" fmla="*/ 404812 w 809625"/>
              <a:gd name="connsiteY30" fmla="*/ 219075 h 809625"/>
              <a:gd name="connsiteX31" fmla="*/ 405669 w 809625"/>
              <a:gd name="connsiteY31" fmla="*/ 177736 h 809625"/>
              <a:gd name="connsiteX32" fmla="*/ 404812 w 809625"/>
              <a:gd name="connsiteY32" fmla="*/ 178212 h 809625"/>
              <a:gd name="connsiteX33" fmla="*/ 311372 w 809625"/>
              <a:gd name="connsiteY33" fmla="*/ 179546 h 809625"/>
              <a:gd name="connsiteX34" fmla="*/ 256317 w 809625"/>
              <a:gd name="connsiteY34" fmla="*/ 190500 h 809625"/>
              <a:gd name="connsiteX35" fmla="*/ 189642 w 809625"/>
              <a:gd name="connsiteY35" fmla="*/ 257175 h 809625"/>
              <a:gd name="connsiteX36" fmla="*/ 179069 w 809625"/>
              <a:gd name="connsiteY36" fmla="*/ 312229 h 809625"/>
              <a:gd name="connsiteX37" fmla="*/ 177736 w 809625"/>
              <a:gd name="connsiteY37" fmla="*/ 405669 h 809625"/>
              <a:gd name="connsiteX38" fmla="*/ 179069 w 809625"/>
              <a:gd name="connsiteY38" fmla="*/ 499110 h 809625"/>
              <a:gd name="connsiteX39" fmla="*/ 190500 w 809625"/>
              <a:gd name="connsiteY39" fmla="*/ 553307 h 809625"/>
              <a:gd name="connsiteX40" fmla="*/ 257175 w 809625"/>
              <a:gd name="connsiteY40" fmla="*/ 619982 h 809625"/>
              <a:gd name="connsiteX41" fmla="*/ 312229 w 809625"/>
              <a:gd name="connsiteY41" fmla="*/ 630554 h 809625"/>
              <a:gd name="connsiteX42" fmla="*/ 405669 w 809625"/>
              <a:gd name="connsiteY42" fmla="*/ 631888 h 809625"/>
              <a:gd name="connsiteX43" fmla="*/ 499110 w 809625"/>
              <a:gd name="connsiteY43" fmla="*/ 630554 h 809625"/>
              <a:gd name="connsiteX44" fmla="*/ 554164 w 809625"/>
              <a:gd name="connsiteY44" fmla="*/ 619982 h 809625"/>
              <a:gd name="connsiteX45" fmla="*/ 620839 w 809625"/>
              <a:gd name="connsiteY45" fmla="*/ 553307 h 809625"/>
              <a:gd name="connsiteX46" fmla="*/ 631412 w 809625"/>
              <a:gd name="connsiteY46" fmla="*/ 498252 h 809625"/>
              <a:gd name="connsiteX47" fmla="*/ 632745 w 809625"/>
              <a:gd name="connsiteY47" fmla="*/ 404812 h 809625"/>
              <a:gd name="connsiteX48" fmla="*/ 631412 w 809625"/>
              <a:gd name="connsiteY48" fmla="*/ 311372 h 809625"/>
              <a:gd name="connsiteX49" fmla="*/ 620839 w 809625"/>
              <a:gd name="connsiteY49" fmla="*/ 256317 h 809625"/>
              <a:gd name="connsiteX50" fmla="*/ 554164 w 809625"/>
              <a:gd name="connsiteY50" fmla="*/ 189642 h 809625"/>
              <a:gd name="connsiteX51" fmla="*/ 499110 w 809625"/>
              <a:gd name="connsiteY51" fmla="*/ 179069 h 809625"/>
              <a:gd name="connsiteX52" fmla="*/ 405669 w 809625"/>
              <a:gd name="connsiteY52" fmla="*/ 177736 h 809625"/>
              <a:gd name="connsiteX53" fmla="*/ 404813 w 809625"/>
              <a:gd name="connsiteY53" fmla="*/ 0 h 809625"/>
              <a:gd name="connsiteX54" fmla="*/ 809625 w 809625"/>
              <a:gd name="connsiteY54" fmla="*/ 404813 h 809625"/>
              <a:gd name="connsiteX55" fmla="*/ 404813 w 809625"/>
              <a:gd name="connsiteY55" fmla="*/ 809625 h 809625"/>
              <a:gd name="connsiteX56" fmla="*/ 0 w 809625"/>
              <a:gd name="connsiteY56" fmla="*/ 404813 h 809625"/>
              <a:gd name="connsiteX57" fmla="*/ 404813 w 809625"/>
              <a:gd name="connsiteY57" fmla="*/ 0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809625" h="809625">
                <a:moveTo>
                  <a:pt x="404812" y="288417"/>
                </a:moveTo>
                <a:cubicBezTo>
                  <a:pt x="340529" y="288417"/>
                  <a:pt x="288417" y="340529"/>
                  <a:pt x="288417" y="404812"/>
                </a:cubicBezTo>
                <a:cubicBezTo>
                  <a:pt x="288417" y="469096"/>
                  <a:pt x="340529" y="521208"/>
                  <a:pt x="404812" y="521208"/>
                </a:cubicBezTo>
                <a:cubicBezTo>
                  <a:pt x="469096" y="521208"/>
                  <a:pt x="521208" y="469096"/>
                  <a:pt x="521208" y="404812"/>
                </a:cubicBezTo>
                <a:cubicBezTo>
                  <a:pt x="521208" y="340529"/>
                  <a:pt x="469096" y="288417"/>
                  <a:pt x="404812" y="288417"/>
                </a:cubicBezTo>
                <a:close/>
                <a:moveTo>
                  <a:pt x="525780" y="256603"/>
                </a:moveTo>
                <a:cubicBezTo>
                  <a:pt x="510734" y="256603"/>
                  <a:pt x="498538" y="268799"/>
                  <a:pt x="498538" y="283844"/>
                </a:cubicBezTo>
                <a:cubicBezTo>
                  <a:pt x="498538" y="298890"/>
                  <a:pt x="510734" y="311086"/>
                  <a:pt x="525780" y="311086"/>
                </a:cubicBezTo>
                <a:cubicBezTo>
                  <a:pt x="540825" y="311086"/>
                  <a:pt x="553021" y="298890"/>
                  <a:pt x="553021" y="283844"/>
                </a:cubicBezTo>
                <a:cubicBezTo>
                  <a:pt x="553021" y="268799"/>
                  <a:pt x="540825" y="256603"/>
                  <a:pt x="525780" y="256603"/>
                </a:cubicBezTo>
                <a:close/>
                <a:moveTo>
                  <a:pt x="404812" y="219075"/>
                </a:moveTo>
                <a:cubicBezTo>
                  <a:pt x="465296" y="219075"/>
                  <a:pt x="472535" y="219075"/>
                  <a:pt x="496443" y="220408"/>
                </a:cubicBezTo>
                <a:cubicBezTo>
                  <a:pt x="510824" y="220533"/>
                  <a:pt x="525073" y="223177"/>
                  <a:pt x="538543" y="228218"/>
                </a:cubicBezTo>
                <a:cubicBezTo>
                  <a:pt x="558257" y="235874"/>
                  <a:pt x="573845" y="251463"/>
                  <a:pt x="581501" y="271176"/>
                </a:cubicBezTo>
                <a:cubicBezTo>
                  <a:pt x="586542" y="284646"/>
                  <a:pt x="589186" y="298895"/>
                  <a:pt x="589311" y="313277"/>
                </a:cubicBezTo>
                <a:cubicBezTo>
                  <a:pt x="590454" y="337185"/>
                  <a:pt x="590645" y="344424"/>
                  <a:pt x="590645" y="404907"/>
                </a:cubicBezTo>
                <a:cubicBezTo>
                  <a:pt x="590645" y="465391"/>
                  <a:pt x="590645" y="472630"/>
                  <a:pt x="589311" y="496538"/>
                </a:cubicBezTo>
                <a:cubicBezTo>
                  <a:pt x="589186" y="510920"/>
                  <a:pt x="586543" y="525168"/>
                  <a:pt x="581501" y="538638"/>
                </a:cubicBezTo>
                <a:cubicBezTo>
                  <a:pt x="573845" y="558352"/>
                  <a:pt x="558257" y="573940"/>
                  <a:pt x="538543" y="581596"/>
                </a:cubicBezTo>
                <a:cubicBezTo>
                  <a:pt x="525073" y="586638"/>
                  <a:pt x="510824" y="589281"/>
                  <a:pt x="496443" y="589406"/>
                </a:cubicBezTo>
                <a:cubicBezTo>
                  <a:pt x="472535" y="590550"/>
                  <a:pt x="465391" y="590740"/>
                  <a:pt x="404812" y="590740"/>
                </a:cubicBezTo>
                <a:cubicBezTo>
                  <a:pt x="344233" y="590740"/>
                  <a:pt x="337089" y="590740"/>
                  <a:pt x="313182" y="589407"/>
                </a:cubicBezTo>
                <a:cubicBezTo>
                  <a:pt x="298800" y="589281"/>
                  <a:pt x="284551" y="586638"/>
                  <a:pt x="271081" y="581596"/>
                </a:cubicBezTo>
                <a:cubicBezTo>
                  <a:pt x="251529" y="573808"/>
                  <a:pt x="236125" y="558197"/>
                  <a:pt x="228600" y="538543"/>
                </a:cubicBezTo>
                <a:cubicBezTo>
                  <a:pt x="223558" y="525073"/>
                  <a:pt x="220914" y="510824"/>
                  <a:pt x="220789" y="496443"/>
                </a:cubicBezTo>
                <a:cubicBezTo>
                  <a:pt x="219075" y="472535"/>
                  <a:pt x="219075" y="465296"/>
                  <a:pt x="219075" y="404812"/>
                </a:cubicBezTo>
                <a:cubicBezTo>
                  <a:pt x="219075" y="344328"/>
                  <a:pt x="219075" y="337089"/>
                  <a:pt x="220408" y="313182"/>
                </a:cubicBezTo>
                <a:cubicBezTo>
                  <a:pt x="220655" y="298777"/>
                  <a:pt x="223428" y="284527"/>
                  <a:pt x="228600" y="271081"/>
                </a:cubicBezTo>
                <a:cubicBezTo>
                  <a:pt x="236258" y="251643"/>
                  <a:pt x="251643" y="236258"/>
                  <a:pt x="271081" y="228600"/>
                </a:cubicBezTo>
                <a:cubicBezTo>
                  <a:pt x="284551" y="223558"/>
                  <a:pt x="298800" y="220914"/>
                  <a:pt x="313181" y="220789"/>
                </a:cubicBezTo>
                <a:cubicBezTo>
                  <a:pt x="337089" y="219075"/>
                  <a:pt x="344328" y="219075"/>
                  <a:pt x="404812" y="219075"/>
                </a:cubicBezTo>
                <a:close/>
                <a:moveTo>
                  <a:pt x="405669" y="177736"/>
                </a:moveTo>
                <a:lnTo>
                  <a:pt x="404812" y="178212"/>
                </a:lnTo>
                <a:cubicBezTo>
                  <a:pt x="343281" y="178212"/>
                  <a:pt x="335565" y="178212"/>
                  <a:pt x="311372" y="179546"/>
                </a:cubicBezTo>
                <a:cubicBezTo>
                  <a:pt x="292533" y="180057"/>
                  <a:pt x="273917" y="183760"/>
                  <a:pt x="256317" y="190500"/>
                </a:cubicBezTo>
                <a:cubicBezTo>
                  <a:pt x="225602" y="202200"/>
                  <a:pt x="201343" y="226459"/>
                  <a:pt x="189642" y="257175"/>
                </a:cubicBezTo>
                <a:cubicBezTo>
                  <a:pt x="183033" y="274797"/>
                  <a:pt x="179458" y="293412"/>
                  <a:pt x="179069" y="312229"/>
                </a:cubicBezTo>
                <a:cubicBezTo>
                  <a:pt x="178022" y="336423"/>
                  <a:pt x="177736" y="344138"/>
                  <a:pt x="177736" y="405669"/>
                </a:cubicBezTo>
                <a:cubicBezTo>
                  <a:pt x="177736" y="467201"/>
                  <a:pt x="177736" y="474916"/>
                  <a:pt x="179069" y="499110"/>
                </a:cubicBezTo>
                <a:cubicBezTo>
                  <a:pt x="179828" y="517687"/>
                  <a:pt x="183692" y="536005"/>
                  <a:pt x="190500" y="553307"/>
                </a:cubicBezTo>
                <a:cubicBezTo>
                  <a:pt x="202200" y="584022"/>
                  <a:pt x="226459" y="608281"/>
                  <a:pt x="257175" y="619982"/>
                </a:cubicBezTo>
                <a:cubicBezTo>
                  <a:pt x="274797" y="626591"/>
                  <a:pt x="293412" y="630165"/>
                  <a:pt x="312229" y="630554"/>
                </a:cubicBezTo>
                <a:cubicBezTo>
                  <a:pt x="336423" y="631602"/>
                  <a:pt x="344138" y="631888"/>
                  <a:pt x="405669" y="631888"/>
                </a:cubicBezTo>
                <a:cubicBezTo>
                  <a:pt x="467201" y="631888"/>
                  <a:pt x="474916" y="631888"/>
                  <a:pt x="499110" y="630554"/>
                </a:cubicBezTo>
                <a:cubicBezTo>
                  <a:pt x="517927" y="630165"/>
                  <a:pt x="536542" y="626591"/>
                  <a:pt x="554164" y="619982"/>
                </a:cubicBezTo>
                <a:cubicBezTo>
                  <a:pt x="584880" y="608281"/>
                  <a:pt x="609138" y="584022"/>
                  <a:pt x="620839" y="553307"/>
                </a:cubicBezTo>
                <a:cubicBezTo>
                  <a:pt x="627448" y="535684"/>
                  <a:pt x="631023" y="517069"/>
                  <a:pt x="631412" y="498252"/>
                </a:cubicBezTo>
                <a:cubicBezTo>
                  <a:pt x="632460" y="474059"/>
                  <a:pt x="632745" y="466344"/>
                  <a:pt x="632745" y="404812"/>
                </a:cubicBezTo>
                <a:cubicBezTo>
                  <a:pt x="632745" y="343281"/>
                  <a:pt x="632745" y="335565"/>
                  <a:pt x="631412" y="311372"/>
                </a:cubicBezTo>
                <a:cubicBezTo>
                  <a:pt x="631023" y="292555"/>
                  <a:pt x="627448" y="273940"/>
                  <a:pt x="620839" y="256317"/>
                </a:cubicBezTo>
                <a:cubicBezTo>
                  <a:pt x="609138" y="225602"/>
                  <a:pt x="584880" y="201343"/>
                  <a:pt x="554164" y="189642"/>
                </a:cubicBezTo>
                <a:cubicBezTo>
                  <a:pt x="536542" y="183033"/>
                  <a:pt x="517927" y="179458"/>
                  <a:pt x="499110" y="179069"/>
                </a:cubicBezTo>
                <a:cubicBezTo>
                  <a:pt x="474916" y="178022"/>
                  <a:pt x="467201" y="177736"/>
                  <a:pt x="405669" y="177736"/>
                </a:cubicBezTo>
                <a:close/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2" name="Freeform: Shape 11">
            <a:hlinkClick r:id="rId8"/>
            <a:extLst>
              <a:ext uri="{FF2B5EF4-FFF2-40B4-BE49-F238E27FC236}">
                <a16:creationId xmlns:a16="http://schemas.microsoft.com/office/drawing/2014/main" id="{37645F6A-EDD9-42D2-A01C-F8414798D57C}"/>
              </a:ext>
            </a:extLst>
          </p:cNvPr>
          <p:cNvSpPr>
            <a:spLocks noChangeAspect="1"/>
          </p:cNvSpPr>
          <p:nvPr/>
        </p:nvSpPr>
        <p:spPr>
          <a:xfrm>
            <a:off x="9446029" y="4591756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207835 w 809625"/>
              <a:gd name="connsiteY5" fmla="*/ 183451 h 809625"/>
              <a:gd name="connsiteX6" fmla="*/ 183451 w 809625"/>
              <a:gd name="connsiteY6" fmla="*/ 207835 h 809625"/>
              <a:gd name="connsiteX7" fmla="*/ 183451 w 809625"/>
              <a:gd name="connsiteY7" fmla="*/ 601789 h 809625"/>
              <a:gd name="connsiteX8" fmla="*/ 207835 w 809625"/>
              <a:gd name="connsiteY8" fmla="*/ 626173 h 809625"/>
              <a:gd name="connsiteX9" fmla="*/ 419957 w 809625"/>
              <a:gd name="connsiteY9" fmla="*/ 626173 h 809625"/>
              <a:gd name="connsiteX10" fmla="*/ 419957 w 809625"/>
              <a:gd name="connsiteY10" fmla="*/ 454723 h 809625"/>
              <a:gd name="connsiteX11" fmla="*/ 361950 w 809625"/>
              <a:gd name="connsiteY11" fmla="*/ 454723 h 809625"/>
              <a:gd name="connsiteX12" fmla="*/ 361950 w 809625"/>
              <a:gd name="connsiteY12" fmla="*/ 388048 h 809625"/>
              <a:gd name="connsiteX13" fmla="*/ 419671 w 809625"/>
              <a:gd name="connsiteY13" fmla="*/ 388048 h 809625"/>
              <a:gd name="connsiteX14" fmla="*/ 419671 w 809625"/>
              <a:gd name="connsiteY14" fmla="*/ 338613 h 809625"/>
              <a:gd name="connsiteX15" fmla="*/ 505396 w 809625"/>
              <a:gd name="connsiteY15" fmla="*/ 250317 h 809625"/>
              <a:gd name="connsiteX16" fmla="*/ 556926 w 809625"/>
              <a:gd name="connsiteY16" fmla="*/ 252984 h 809625"/>
              <a:gd name="connsiteX17" fmla="*/ 556926 w 809625"/>
              <a:gd name="connsiteY17" fmla="*/ 312705 h 809625"/>
              <a:gd name="connsiteX18" fmla="*/ 522065 w 809625"/>
              <a:gd name="connsiteY18" fmla="*/ 312705 h 809625"/>
              <a:gd name="connsiteX19" fmla="*/ 488918 w 809625"/>
              <a:gd name="connsiteY19" fmla="*/ 345281 h 809625"/>
              <a:gd name="connsiteX20" fmla="*/ 488918 w 809625"/>
              <a:gd name="connsiteY20" fmla="*/ 387953 h 809625"/>
              <a:gd name="connsiteX21" fmla="*/ 555593 w 809625"/>
              <a:gd name="connsiteY21" fmla="*/ 387953 h 809625"/>
              <a:gd name="connsiteX22" fmla="*/ 546925 w 809625"/>
              <a:gd name="connsiteY22" fmla="*/ 454628 h 809625"/>
              <a:gd name="connsiteX23" fmla="*/ 489775 w 809625"/>
              <a:gd name="connsiteY23" fmla="*/ 454628 h 809625"/>
              <a:gd name="connsiteX24" fmla="*/ 489775 w 809625"/>
              <a:gd name="connsiteY24" fmla="*/ 626078 h 809625"/>
              <a:gd name="connsiteX25" fmla="*/ 601789 w 809625"/>
              <a:gd name="connsiteY25" fmla="*/ 626078 h 809625"/>
              <a:gd name="connsiteX26" fmla="*/ 626173 w 809625"/>
              <a:gd name="connsiteY26" fmla="*/ 601694 h 809625"/>
              <a:gd name="connsiteX27" fmla="*/ 626173 w 809625"/>
              <a:gd name="connsiteY27" fmla="*/ 207835 h 809625"/>
              <a:gd name="connsiteX28" fmla="*/ 601789 w 809625"/>
              <a:gd name="connsiteY28" fmla="*/ 183451 h 809625"/>
              <a:gd name="connsiteX29" fmla="*/ 207835 w 809625"/>
              <a:gd name="connsiteY29" fmla="*/ 183451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207835" y="183451"/>
                </a:moveTo>
                <a:cubicBezTo>
                  <a:pt x="194368" y="183451"/>
                  <a:pt x="183451" y="194368"/>
                  <a:pt x="183451" y="207835"/>
                </a:cubicBezTo>
                <a:lnTo>
                  <a:pt x="183451" y="601789"/>
                </a:lnTo>
                <a:cubicBezTo>
                  <a:pt x="183451" y="615256"/>
                  <a:pt x="194368" y="626173"/>
                  <a:pt x="207835" y="626173"/>
                </a:cubicBezTo>
                <a:lnTo>
                  <a:pt x="419957" y="626173"/>
                </a:lnTo>
                <a:lnTo>
                  <a:pt x="419957" y="454723"/>
                </a:lnTo>
                <a:lnTo>
                  <a:pt x="361950" y="454723"/>
                </a:lnTo>
                <a:lnTo>
                  <a:pt x="361950" y="388048"/>
                </a:lnTo>
                <a:lnTo>
                  <a:pt x="419671" y="388048"/>
                </a:lnTo>
                <a:lnTo>
                  <a:pt x="419671" y="338613"/>
                </a:lnTo>
                <a:cubicBezTo>
                  <a:pt x="419671" y="281463"/>
                  <a:pt x="454533" y="250317"/>
                  <a:pt x="505396" y="250317"/>
                </a:cubicBezTo>
                <a:cubicBezTo>
                  <a:pt x="522609" y="250238"/>
                  <a:pt x="539813" y="251128"/>
                  <a:pt x="556926" y="252984"/>
                </a:cubicBezTo>
                <a:lnTo>
                  <a:pt x="556926" y="312705"/>
                </a:lnTo>
                <a:lnTo>
                  <a:pt x="522065" y="312705"/>
                </a:lnTo>
                <a:cubicBezTo>
                  <a:pt x="494252" y="312705"/>
                  <a:pt x="488918" y="325945"/>
                  <a:pt x="488918" y="345281"/>
                </a:cubicBezTo>
                <a:lnTo>
                  <a:pt x="488918" y="387953"/>
                </a:lnTo>
                <a:lnTo>
                  <a:pt x="555593" y="387953"/>
                </a:lnTo>
                <a:lnTo>
                  <a:pt x="546925" y="454628"/>
                </a:lnTo>
                <a:lnTo>
                  <a:pt x="489775" y="454628"/>
                </a:lnTo>
                <a:lnTo>
                  <a:pt x="489775" y="626078"/>
                </a:lnTo>
                <a:lnTo>
                  <a:pt x="601789" y="626078"/>
                </a:lnTo>
                <a:cubicBezTo>
                  <a:pt x="615256" y="626078"/>
                  <a:pt x="626173" y="615161"/>
                  <a:pt x="626173" y="601694"/>
                </a:cubicBezTo>
                <a:lnTo>
                  <a:pt x="626173" y="207835"/>
                </a:lnTo>
                <a:cubicBezTo>
                  <a:pt x="626173" y="194368"/>
                  <a:pt x="615256" y="183451"/>
                  <a:pt x="601789" y="183451"/>
                </a:cubicBezTo>
                <a:lnTo>
                  <a:pt x="207835" y="183451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43114265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E9670259-4695-428B-A004-7FC80D7094B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1062000" tIns="3348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FCAC8505-DEDF-4C01-A608-94D176EC4352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7540580" y="1"/>
            <a:ext cx="4651420" cy="1673605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1740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BCEEC50-8D3D-4D30-A7E4-EB437433847B}"/>
              </a:ext>
            </a:extLst>
          </p:cNvPr>
          <p:cNvSpPr>
            <a:spLocks noGrp="1" noChangeAspect="1"/>
          </p:cNvSpPr>
          <p:nvPr>
            <p:ph type="body" sz="quarter" idx="16"/>
          </p:nvPr>
        </p:nvSpPr>
        <p:spPr>
          <a:xfrm>
            <a:off x="10849038" y="333375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5383366-B84A-4AF0-9ECA-0C40F072B9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8946227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D50AE23D-06D1-4F9E-B490-E50D424CE9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DFCCD94-C178-488E-A0A8-B9933C21C8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B6B25C7-EDE8-4C6A-A016-B0BC2F236A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3CEBA6-B1B6-4DE4-9914-AA9310C6B7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343485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87CEE9C-A8AE-431B-A0E0-C79E2E22CC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0C04917-818A-4A3D-87A1-5D1A3CEF6E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14D6DCE-44D6-472C-8A31-1D8DC27A62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349222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E396722-86FB-4B61-980E-29BB1A84BF5F}"/>
              </a:ext>
            </a:extLst>
          </p:cNvPr>
          <p:cNvSpPr/>
          <p:nvPr userDrawn="1"/>
        </p:nvSpPr>
        <p:spPr>
          <a:xfrm>
            <a:off x="0" y="-1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D50AE23D-06D1-4F9E-B490-E50D424CE9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892E96-6CF9-4BCC-9A9B-CB94EC6D1A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97B376B-D4F9-4143-A8AE-817EB0EA6B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84A53671-41EC-45C8-A0C1-D1426C22F9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7422D2E5-CBB2-45B1-87F3-FD659C4275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849886" y="333375"/>
            <a:ext cx="1006304" cy="448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9711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E396722-86FB-4B61-980E-29BB1A84BF5F}"/>
              </a:ext>
            </a:extLst>
          </p:cNvPr>
          <p:cNvSpPr/>
          <p:nvPr userDrawn="1"/>
        </p:nvSpPr>
        <p:spPr>
          <a:xfrm>
            <a:off x="0" y="-1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892E96-6CF9-4BCC-9A9B-CB94EC6D1A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97B376B-D4F9-4143-A8AE-817EB0EA6B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84A53671-41EC-45C8-A0C1-D1426C22F9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8D9C795-633F-49DF-98A1-53A142CB8A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849886" y="333375"/>
            <a:ext cx="1006304" cy="448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236436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D7C96F-8BBD-4547-8FAF-E1C11A669B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7B75C8-EE4E-425E-9F6A-986C51DA63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2E46077-2300-4EEF-880C-1E67A4AAA2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sert &gt; Header &amp;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6C5049E-A3A4-44E2-BDFD-16B26032B9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65852-B72C-CB4D-980E-E202D86A797A}" type="slidenum">
              <a:rPr lang="en-US" smtClean="0"/>
              <a:t>‹N°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4817A8-662E-4571-BECF-2629B655AB2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579509" y="2059401"/>
            <a:ext cx="1219200" cy="1219200"/>
          </a:xfrm>
        </p:spPr>
        <p:txBody>
          <a:bodyPr/>
          <a:lstStyle/>
          <a:p>
            <a:endParaRPr lang="en-DE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4A5E44D9-2850-4791-86D1-74FE2C420C9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962225" y="2059401"/>
            <a:ext cx="1219200" cy="1219200"/>
          </a:xfrm>
        </p:spPr>
        <p:txBody>
          <a:bodyPr/>
          <a:lstStyle/>
          <a:p>
            <a:endParaRPr lang="en-DE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4194582A-CAB2-4ECC-B953-7E536061CE9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44941" y="2059401"/>
            <a:ext cx="1219200" cy="1219200"/>
          </a:xfrm>
        </p:spPr>
        <p:txBody>
          <a:bodyPr/>
          <a:lstStyle/>
          <a:p>
            <a:endParaRPr lang="en-DE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4BB922D-ABC8-4FE4-99CF-B262A9FA74B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727657" y="2068329"/>
            <a:ext cx="1219200" cy="1219200"/>
          </a:xfrm>
        </p:spPr>
        <p:txBody>
          <a:bodyPr/>
          <a:lstStyle/>
          <a:p>
            <a:endParaRPr lang="en-DE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2FE607B0-8F5C-46A5-8737-90721485513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110373" y="2068329"/>
            <a:ext cx="1219200" cy="1219200"/>
          </a:xfrm>
        </p:spPr>
        <p:txBody>
          <a:bodyPr/>
          <a:lstStyle/>
          <a:p>
            <a:endParaRPr lang="en-DE"/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DCD6E9E9-F75A-4E36-BA22-59D19FEE873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0493088" y="2068329"/>
            <a:ext cx="1219200" cy="1219200"/>
          </a:xfrm>
        </p:spPr>
        <p:txBody>
          <a:bodyPr/>
          <a:lstStyle/>
          <a:p>
            <a:endParaRPr lang="en-DE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099A279A-683F-44D1-A969-5EC3998D745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581400" y="3437928"/>
            <a:ext cx="1219200" cy="1219200"/>
          </a:xfrm>
        </p:spPr>
        <p:txBody>
          <a:bodyPr/>
          <a:lstStyle/>
          <a:p>
            <a:endParaRPr lang="en-DE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F7DBFB04-6908-4801-87E9-E00C511A0E8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964116" y="3437928"/>
            <a:ext cx="1219200" cy="1219200"/>
          </a:xfrm>
        </p:spPr>
        <p:txBody>
          <a:bodyPr/>
          <a:lstStyle/>
          <a:p>
            <a:endParaRPr lang="en-DE"/>
          </a:p>
        </p:txBody>
      </p:sp>
      <p:sp>
        <p:nvSpPr>
          <p:cNvPr id="16" name="Picture Placeholder 6">
            <a:extLst>
              <a:ext uri="{FF2B5EF4-FFF2-40B4-BE49-F238E27FC236}">
                <a16:creationId xmlns:a16="http://schemas.microsoft.com/office/drawing/2014/main" id="{04DB461C-9522-4CCA-ACE9-BC284EA749F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346832" y="3437928"/>
            <a:ext cx="1219200" cy="1219200"/>
          </a:xfrm>
        </p:spPr>
        <p:txBody>
          <a:bodyPr/>
          <a:lstStyle/>
          <a:p>
            <a:endParaRPr lang="en-DE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CC2DD7F4-66CA-41FE-9B5B-F5CC82F9FDA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729548" y="3446856"/>
            <a:ext cx="1219200" cy="1219200"/>
          </a:xfrm>
        </p:spPr>
        <p:txBody>
          <a:bodyPr/>
          <a:lstStyle/>
          <a:p>
            <a:endParaRPr lang="en-DE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733E48A3-AB63-4F10-88F9-5CC1D690B2A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112264" y="3446856"/>
            <a:ext cx="1219200" cy="1219200"/>
          </a:xfrm>
        </p:spPr>
        <p:txBody>
          <a:bodyPr/>
          <a:lstStyle/>
          <a:p>
            <a:endParaRPr lang="en-DE"/>
          </a:p>
        </p:txBody>
      </p:sp>
      <p:sp>
        <p:nvSpPr>
          <p:cNvPr id="19" name="Picture Placeholder 6">
            <a:extLst>
              <a:ext uri="{FF2B5EF4-FFF2-40B4-BE49-F238E27FC236}">
                <a16:creationId xmlns:a16="http://schemas.microsoft.com/office/drawing/2014/main" id="{6DD9E260-7018-49D8-859E-76FBA83453C4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0494979" y="3446856"/>
            <a:ext cx="1219200" cy="1219200"/>
          </a:xfrm>
        </p:spPr>
        <p:txBody>
          <a:bodyPr/>
          <a:lstStyle/>
          <a:p>
            <a:endParaRPr lang="en-DE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E642B786-BE1B-41FD-B350-B238AFA0FBBE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3579509" y="4827384"/>
            <a:ext cx="1219200" cy="1219200"/>
          </a:xfrm>
        </p:spPr>
        <p:txBody>
          <a:bodyPr/>
          <a:lstStyle/>
          <a:p>
            <a:endParaRPr lang="en-DE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2AC9EAE4-2808-4391-BFAB-DC20474E138A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962225" y="4827384"/>
            <a:ext cx="1219200" cy="1219200"/>
          </a:xfrm>
        </p:spPr>
        <p:txBody>
          <a:bodyPr/>
          <a:lstStyle/>
          <a:p>
            <a:endParaRPr lang="en-DE"/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C1957BD2-4542-4031-BC46-A0B5C112ECFD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344941" y="4827384"/>
            <a:ext cx="1219200" cy="1219200"/>
          </a:xfrm>
        </p:spPr>
        <p:txBody>
          <a:bodyPr/>
          <a:lstStyle/>
          <a:p>
            <a:endParaRPr lang="en-DE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6747F99D-FA38-4C65-A61B-D45599FBFBC7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7727657" y="4836312"/>
            <a:ext cx="1219200" cy="1219200"/>
          </a:xfrm>
        </p:spPr>
        <p:txBody>
          <a:bodyPr/>
          <a:lstStyle/>
          <a:p>
            <a:endParaRPr lang="en-DE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C4184E92-6CC8-4775-B1F5-3948AF1D3091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9110373" y="4836312"/>
            <a:ext cx="1219200" cy="1219200"/>
          </a:xfrm>
        </p:spPr>
        <p:txBody>
          <a:bodyPr/>
          <a:lstStyle/>
          <a:p>
            <a:endParaRPr lang="en-DE"/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770B1572-B1F9-4AEE-BA16-0E8D7AD79A02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10493088" y="4836312"/>
            <a:ext cx="1219200" cy="1219200"/>
          </a:xfrm>
        </p:spPr>
        <p:txBody>
          <a:bodyPr/>
          <a:lstStyle/>
          <a:p>
            <a:endParaRPr lang="en-DE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BA96DCBE-0295-44B3-BD6B-7595E4EF409A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376845" y="2059400"/>
            <a:ext cx="3039148" cy="4092019"/>
          </a:xfrm>
        </p:spPr>
        <p:txBody>
          <a:bodyPr/>
          <a:lstStyle/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751978343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DF839851-A68A-C848-851A-E634C05697E1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chemeClr val="bg2">
              <a:lumMod val="40000"/>
              <a:lumOff val="60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2667"/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1372" y="1412776"/>
            <a:ext cx="5376597" cy="1143000"/>
          </a:xfrm>
        </p:spPr>
        <p:txBody>
          <a:bodyPr anchor="b" anchorCtr="0"/>
          <a:lstStyle>
            <a:lvl1pPr>
              <a:lnSpc>
                <a:spcPts val="2667"/>
              </a:lnSpc>
              <a:defRPr sz="2667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372" y="2948947"/>
            <a:ext cx="5376597" cy="3177216"/>
          </a:xfrm>
        </p:spPr>
        <p:txBody>
          <a:bodyPr/>
          <a:lstStyle>
            <a:lvl1pPr marL="16933" indent="0">
              <a:lnSpc>
                <a:spcPts val="1833"/>
              </a:lnSpc>
              <a:buNone/>
              <a:tabLst/>
              <a:defRPr sz="1600">
                <a:solidFill>
                  <a:schemeClr val="tx2"/>
                </a:solidFill>
              </a:defRPr>
            </a:lvl1pPr>
            <a:lvl2pPr marL="16933" indent="0">
              <a:lnSpc>
                <a:spcPts val="1833"/>
              </a:lnSpc>
              <a:buNone/>
              <a:tabLst/>
              <a:defRPr sz="1600">
                <a:solidFill>
                  <a:schemeClr val="tx2"/>
                </a:solidFill>
              </a:defRPr>
            </a:lvl2pPr>
            <a:lvl3pPr marL="16933" indent="0">
              <a:lnSpc>
                <a:spcPts val="1833"/>
              </a:lnSpc>
              <a:buNone/>
              <a:tabLst/>
              <a:defRPr sz="1600">
                <a:solidFill>
                  <a:schemeClr val="tx2"/>
                </a:solidFill>
              </a:defRPr>
            </a:lvl3pPr>
            <a:lvl4pPr marL="16933" indent="0">
              <a:lnSpc>
                <a:spcPts val="1833"/>
              </a:lnSpc>
              <a:buNone/>
              <a:tabLst/>
              <a:defRPr sz="1600">
                <a:solidFill>
                  <a:schemeClr val="tx2"/>
                </a:solidFill>
              </a:defRPr>
            </a:lvl4pPr>
            <a:lvl5pPr marL="16933" indent="0">
              <a:lnSpc>
                <a:spcPts val="1833"/>
              </a:lnSpc>
              <a:buNone/>
              <a:tabLst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err="1"/>
              <a:t>Seconda</a:t>
            </a:r>
            <a:r>
              <a:rPr lang="en-US"/>
              <a:t>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493423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DF839851-A68A-C848-851A-E634C05697E1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-11099" y="0"/>
            <a:ext cx="6096000" cy="6858000"/>
          </a:xfrm>
          <a:solidFill>
            <a:schemeClr val="bg2">
              <a:lumMod val="40000"/>
              <a:lumOff val="60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2667"/>
            </a:lvl1pPr>
          </a:lstStyle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2AEB8C0-6D5A-3642-9515-5FB7F4A247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27372" y="2084851"/>
            <a:ext cx="5237429" cy="4320480"/>
          </a:xfrm>
        </p:spPr>
        <p:txBody>
          <a:bodyPr numCol="2"/>
          <a:lstStyle>
            <a:lvl1pPr marL="12700" indent="0">
              <a:lnSpc>
                <a:spcPts val="1533"/>
              </a:lnSpc>
              <a:buNone/>
              <a:tabLst/>
              <a:defRPr sz="1300">
                <a:solidFill>
                  <a:schemeClr val="tx2"/>
                </a:solidFill>
              </a:defRPr>
            </a:lvl1pPr>
            <a:lvl2pPr marL="12700" indent="0">
              <a:lnSpc>
                <a:spcPts val="1533"/>
              </a:lnSpc>
              <a:buNone/>
              <a:tabLst/>
              <a:defRPr sz="1300">
                <a:solidFill>
                  <a:schemeClr val="tx2"/>
                </a:solidFill>
              </a:defRPr>
            </a:lvl2pPr>
            <a:lvl3pPr marL="12700" indent="0">
              <a:lnSpc>
                <a:spcPts val="1533"/>
              </a:lnSpc>
              <a:buNone/>
              <a:tabLst/>
              <a:defRPr sz="1300">
                <a:solidFill>
                  <a:schemeClr val="tx2"/>
                </a:solidFill>
              </a:defRPr>
            </a:lvl3pPr>
            <a:lvl4pPr marL="12700" indent="0">
              <a:lnSpc>
                <a:spcPts val="1533"/>
              </a:lnSpc>
              <a:buNone/>
              <a:tabLst/>
              <a:defRPr sz="1300">
                <a:solidFill>
                  <a:schemeClr val="tx2"/>
                </a:solidFill>
              </a:defRPr>
            </a:lvl4pPr>
            <a:lvl5pPr marL="12700" indent="0">
              <a:lnSpc>
                <a:spcPts val="1533"/>
              </a:lnSpc>
              <a:buNone/>
              <a:tabLst/>
              <a:defRPr sz="13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1381572-364A-324B-85C4-A4292327A8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371" y="504681"/>
            <a:ext cx="4896544" cy="1143000"/>
          </a:xfrm>
        </p:spPr>
        <p:txBody>
          <a:bodyPr anchor="b" anchorCtr="0"/>
          <a:lstStyle>
            <a:lvl1pPr>
              <a:lnSpc>
                <a:spcPts val="2667"/>
              </a:lnSpc>
              <a:defRPr sz="2667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A39C15B-91CD-134F-8F67-49BE70C14BD2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527372" y="740701"/>
            <a:ext cx="5237429" cy="960107"/>
          </a:xfrm>
        </p:spPr>
        <p:txBody>
          <a:bodyPr/>
          <a:lstStyle>
            <a:lvl1pPr marL="16933" indent="0">
              <a:lnSpc>
                <a:spcPts val="1833"/>
              </a:lnSpc>
              <a:buNone/>
              <a:tabLst/>
              <a:defRPr sz="1600">
                <a:solidFill>
                  <a:schemeClr val="tx2"/>
                </a:solidFill>
              </a:defRPr>
            </a:lvl1pPr>
            <a:lvl2pPr marL="16933" indent="0">
              <a:lnSpc>
                <a:spcPts val="1833"/>
              </a:lnSpc>
              <a:buNone/>
              <a:tabLst/>
              <a:defRPr sz="1600">
                <a:solidFill>
                  <a:schemeClr val="tx2"/>
                </a:solidFill>
              </a:defRPr>
            </a:lvl2pPr>
            <a:lvl3pPr marL="16933" indent="0">
              <a:lnSpc>
                <a:spcPts val="1833"/>
              </a:lnSpc>
              <a:buNone/>
              <a:tabLst/>
              <a:defRPr sz="1600">
                <a:solidFill>
                  <a:schemeClr val="tx2"/>
                </a:solidFill>
              </a:defRPr>
            </a:lvl3pPr>
            <a:lvl4pPr marL="16933" indent="0">
              <a:buNone/>
              <a:tabLst/>
              <a:defRPr sz="1600">
                <a:solidFill>
                  <a:schemeClr val="tx2"/>
                </a:solidFill>
              </a:defRPr>
            </a:lvl4pPr>
            <a:lvl5pPr marL="16933" indent="0">
              <a:buNone/>
              <a:tabLst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75486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F17809F-093D-4878-B686-CA14CFB80D98}"/>
              </a:ext>
            </a:extLst>
          </p:cNvPr>
          <p:cNvSpPr/>
          <p:nvPr userDrawn="1"/>
        </p:nvSpPr>
        <p:spPr>
          <a:xfrm>
            <a:off x="0" y="-1"/>
            <a:ext cx="12192000" cy="687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880315"/>
            <a:ext cx="4680000" cy="396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06AFE3-EE64-4522-825B-815C6A28E9F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CCCCDE7-B8EA-4773-A164-304D34F89D0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C4FDAA8-8585-4D16-87AD-3485D164648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9FAA2598-9FF1-4FD4-A0B9-1D5412ADF05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734962" y="1880315"/>
            <a:ext cx="4680000" cy="396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830BFAC9-644C-4755-A124-467BB420BB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849886" y="333375"/>
            <a:ext cx="1006304" cy="448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588341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pen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E9670259-4695-428B-A004-7FC80D7094B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19400" y="1"/>
            <a:ext cx="107532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342000" tIns="342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C3F7B8-0B35-40FF-8CB7-4337CBF123A9}"/>
              </a:ext>
            </a:extLst>
          </p:cNvPr>
          <p:cNvSpPr/>
          <p:nvPr userDrawn="1"/>
        </p:nvSpPr>
        <p:spPr>
          <a:xfrm>
            <a:off x="0" y="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CCB27E3-026E-4103-AE04-0346F7EF5C2F}"/>
              </a:ext>
            </a:extLst>
          </p:cNvPr>
          <p:cNvSpPr/>
          <p:nvPr userDrawn="1"/>
        </p:nvSpPr>
        <p:spPr>
          <a:xfrm>
            <a:off x="11472000" y="-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BBACB491-67F7-1F7D-CE70-A4976D37EDF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8950" y="2628900"/>
            <a:ext cx="3594100" cy="1600200"/>
          </a:xfrm>
          <a:prstGeom prst="rect">
            <a:avLst/>
          </a:prstGeom>
          <a:effectLst>
            <a:glow rad="362464">
              <a:schemeClr val="tx1">
                <a:alpha val="18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506604384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Hea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E9670259-4695-428B-A004-7FC80D7094B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1062000" tIns="342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F9144E-5217-4B9A-B2C1-83385827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2619000"/>
            <a:ext cx="9000000" cy="1620000"/>
          </a:xfrm>
          <a:noFill/>
        </p:spPr>
        <p:txBody>
          <a:bodyPr lIns="342000" tIns="0" rIns="2160000" bIns="0" anchor="ctr" anchorCtr="0"/>
          <a:lstStyle>
            <a:lvl1pPr>
              <a:defRPr sz="4500" cap="all" baseline="0">
                <a:solidFill>
                  <a:schemeClr val="bg2"/>
                </a:solidFill>
                <a:effectLst>
                  <a:glow rad="292100">
                    <a:schemeClr val="tx1">
                      <a:alpha val="20000"/>
                    </a:schemeClr>
                  </a:glo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B286E1DF-60AE-400A-8B7B-7476D15C7D0C}"/>
              </a:ext>
            </a:extLst>
          </p:cNvPr>
          <p:cNvSpPr>
            <a:spLocks noGrp="1" noChangeAspect="1"/>
          </p:cNvSpPr>
          <p:nvPr>
            <p:ph type="body" sz="quarter" idx="21"/>
          </p:nvPr>
        </p:nvSpPr>
        <p:spPr>
          <a:xfrm>
            <a:off x="5588000" y="1"/>
            <a:ext cx="6604000" cy="2376153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1728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2889F3E-94C3-4A88-BF2F-F30E63351046}"/>
              </a:ext>
            </a:extLst>
          </p:cNvPr>
          <p:cNvSpPr>
            <a:spLocks noGrp="1" noChangeAspect="1"/>
          </p:cNvSpPr>
          <p:nvPr>
            <p:ph type="body" sz="quarter" idx="22"/>
          </p:nvPr>
        </p:nvSpPr>
        <p:spPr>
          <a:xfrm>
            <a:off x="10849038" y="333375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51577715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10794666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5EE857-4C7E-47C5-A433-5F303A10690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963" y="1413375"/>
            <a:ext cx="10794665" cy="72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3" name="Table Placeholder 12">
            <a:extLst>
              <a:ext uri="{FF2B5EF4-FFF2-40B4-BE49-F238E27FC236}">
                <a16:creationId xmlns:a16="http://schemas.microsoft.com/office/drawing/2014/main" id="{12720170-841B-4714-B671-AE40B2FE0283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334963" y="2243443"/>
            <a:ext cx="5400000" cy="3912658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table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4E7EDCB-670C-46CB-A20E-159535CC5C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D18779D-2EB2-4254-A93E-7459659F2BB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8B347AD-5E50-42AC-AFB4-7F625291AB6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0" name="Table Placeholder 12">
            <a:extLst>
              <a:ext uri="{FF2B5EF4-FFF2-40B4-BE49-F238E27FC236}">
                <a16:creationId xmlns:a16="http://schemas.microsoft.com/office/drawing/2014/main" id="{681F39F4-FFD4-4BE2-985A-DFC552D2E405}"/>
              </a:ext>
            </a:extLst>
          </p:cNvPr>
          <p:cNvSpPr>
            <a:spLocks noGrp="1"/>
          </p:cNvSpPr>
          <p:nvPr>
            <p:ph type="tbl" sz="quarter" idx="20"/>
          </p:nvPr>
        </p:nvSpPr>
        <p:spPr>
          <a:xfrm>
            <a:off x="6096000" y="2243443"/>
            <a:ext cx="5400000" cy="3912658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tab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93293079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rt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hart Placeholder 7">
            <a:extLst>
              <a:ext uri="{FF2B5EF4-FFF2-40B4-BE49-F238E27FC236}">
                <a16:creationId xmlns:a16="http://schemas.microsoft.com/office/drawing/2014/main" id="{4453905E-F3D8-46E8-B904-03A8DD092DA7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6096000" y="2243442"/>
            <a:ext cx="5400000" cy="3912658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10801351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5EE857-4C7E-47C5-A433-5F303A10690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964" y="1413375"/>
            <a:ext cx="10801350" cy="72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D1ECE4F1-33EB-4137-BED8-59885BB39C47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334963" y="2243442"/>
            <a:ext cx="5400000" cy="3912658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778F5DE-1344-42BD-82D0-6611DD7B1FC6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D0D518F-1062-474E-BA48-10EA56B2C55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2C63567-251B-4660-ADF6-37AB6DCF01D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62146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233375"/>
            <a:ext cx="3600000" cy="4563542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06AFE3-EE64-4522-825B-815C6A28E9F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CCCCDE7-B8EA-4773-A164-304D34F89D0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C4FDAA8-8585-4D16-87AD-3485D164648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FDCDC4E8-4AA2-47C5-B535-B59B68E2368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296001" y="1233375"/>
            <a:ext cx="3600000" cy="4563542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110DB712-DE37-4722-A5B4-8E5304EC2D74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8257040" y="1233375"/>
            <a:ext cx="3600000" cy="4563542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BB2BBBA-A0B7-4C68-BAAA-DBE124769F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5116011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ntent and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C85B94B1-0EB5-4E42-9E85-6E0B4655B7C9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16EF975B-AD72-4CB0-A546-757A6175A51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83255" y="1880314"/>
            <a:ext cx="5761038" cy="4644311"/>
          </a:xfrm>
          <a:prstGeom prst="roundRect">
            <a:avLst>
              <a:gd name="adj" fmla="val 1982"/>
            </a:avLst>
          </a:prstGeom>
          <a:solidFill>
            <a:schemeClr val="bg1">
              <a:lumMod val="85000"/>
            </a:schemeClr>
          </a:solidFill>
        </p:spPr>
        <p:txBody>
          <a:bodyPr lIns="342000" tIns="342000" rIns="342000" bIns="342000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AU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880315"/>
            <a:ext cx="4691628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7707" y="333375"/>
            <a:ext cx="10080000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C94176C4-3B30-43F2-91DE-33D09AEA7B5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A95B7BCF-DC6C-46BC-B3D2-2F18F9BC75D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0A06AD-F673-47FE-B249-A9A6CC304BB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7707" y="926565"/>
            <a:ext cx="10080000" cy="72000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cap="all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None/>
              <a:defRPr cap="all">
                <a:solidFill>
                  <a:schemeClr val="accent1"/>
                </a:solidFill>
                <a:latin typeface="+mj-lt"/>
              </a:defRPr>
            </a:lvl2pPr>
            <a:lvl3pPr marL="0" indent="0">
              <a:buNone/>
              <a:defRPr cap="all">
                <a:solidFill>
                  <a:schemeClr val="accent1"/>
                </a:solidFill>
                <a:latin typeface="+mj-lt"/>
              </a:defRPr>
            </a:lvl3pPr>
            <a:lvl4pPr marL="0" indent="0">
              <a:buNone/>
              <a:defRPr cap="all">
                <a:solidFill>
                  <a:schemeClr val="accent1"/>
                </a:solidFill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cap="all">
                <a:solidFill>
                  <a:schemeClr val="accent1"/>
                </a:solidFill>
                <a:latin typeface="+mj-lt"/>
              </a:defRPr>
            </a:lvl5pPr>
            <a:lvl6pPr marL="0" indent="0">
              <a:buFont typeface="Arial" panose="020B0604020202020204" pitchFamily="34" charset="0"/>
              <a:buNone/>
              <a:defRPr cap="all">
                <a:solidFill>
                  <a:schemeClr val="accent1"/>
                </a:solidFill>
                <a:latin typeface="+mj-lt"/>
              </a:defRPr>
            </a:lvl6pPr>
            <a:lvl7pPr marL="0" indent="0">
              <a:buFont typeface="Arial" panose="020B0604020202020204" pitchFamily="34" charset="0"/>
              <a:buNone/>
              <a:defRPr cap="all">
                <a:solidFill>
                  <a:schemeClr val="accent1"/>
                </a:solidFill>
                <a:latin typeface="+mj-lt"/>
              </a:defRPr>
            </a:lvl7pPr>
            <a:lvl8pPr marL="0" indent="0">
              <a:buFont typeface="Arial" panose="020B0604020202020204" pitchFamily="34" charset="0"/>
              <a:buNone/>
              <a:defRPr cap="all">
                <a:solidFill>
                  <a:schemeClr val="accent1"/>
                </a:solidFill>
                <a:latin typeface="+mj-lt"/>
              </a:defRPr>
            </a:lvl8pPr>
            <a:lvl9pPr marL="0" indent="0">
              <a:buFont typeface="Arial" panose="020B0604020202020204" pitchFamily="34" charset="0"/>
              <a:buNone/>
              <a:defRPr cap="all">
                <a:solidFill>
                  <a:schemeClr val="accent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add text</a:t>
            </a:r>
            <a:endParaRPr lang="en-AU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FBB7B1FD-9C36-4A7D-AFAD-EB2419C855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849038" y="333375"/>
            <a:ext cx="1008000" cy="448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294730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our column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7F07ECCF-5EE7-4BA4-BD7C-50DF82C3F5BF}"/>
              </a:ext>
            </a:extLst>
          </p:cNvPr>
          <p:cNvSpPr/>
          <p:nvPr userDrawn="1"/>
        </p:nvSpPr>
        <p:spPr>
          <a:xfrm>
            <a:off x="0" y="0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10080000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08DD2E7-C8BF-4E45-AE9F-C1389B7B38D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963" y="2600315"/>
            <a:ext cx="2160000" cy="3240000"/>
          </a:xfrm>
        </p:spPr>
        <p:txBody>
          <a:bodyPr/>
          <a:lstStyle>
            <a:lvl1pPr>
              <a:defRPr sz="1600" cap="all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 b="0" cap="none" baseline="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D7BC8491-CCAE-458C-BD6D-862F904604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979212" y="2600315"/>
            <a:ext cx="2160000" cy="3240000"/>
          </a:xfrm>
        </p:spPr>
        <p:txBody>
          <a:bodyPr/>
          <a:lstStyle>
            <a:lvl1pPr>
              <a:defRPr sz="1600" cap="all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 b="0" cap="none" baseline="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B036190F-67DD-4555-BB1F-179E8E9C46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23461" y="2600315"/>
            <a:ext cx="2160000" cy="3240000"/>
          </a:xfrm>
        </p:spPr>
        <p:txBody>
          <a:bodyPr/>
          <a:lstStyle>
            <a:lvl1pPr>
              <a:defRPr sz="1600" cap="all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 b="0" cap="none" baseline="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F1044E10-4BD7-47DE-8A5A-57C9557A0B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67709" y="2600315"/>
            <a:ext cx="2160000" cy="3240000"/>
          </a:xfrm>
        </p:spPr>
        <p:txBody>
          <a:bodyPr/>
          <a:lstStyle>
            <a:lvl1pPr>
              <a:defRPr sz="1600" cap="all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 b="0" cap="none" baseline="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B900929-35E2-4B6A-A4BF-9E02733E3AB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6B47C34-75D5-42A4-8A99-FADDAF9BBA6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67B0344-E805-4D5F-B3FB-AF95BC74870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49792A8A-88CD-4947-B7C8-CF7FA124B20A}"/>
              </a:ext>
            </a:extLst>
          </p:cNvPr>
          <p:cNvSpPr>
            <a:spLocks noGrp="1" noChangeAspect="1"/>
          </p:cNvSpPr>
          <p:nvPr>
            <p:ph type="body" sz="quarter" idx="23"/>
          </p:nvPr>
        </p:nvSpPr>
        <p:spPr>
          <a:xfrm>
            <a:off x="10849038" y="333375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28625028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mage-full wid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8166547-372E-4215-A2D1-28413657AE73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23DD628-AE63-4907-AF4B-6B53C077707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4963" y="1880314"/>
            <a:ext cx="11509330" cy="4644311"/>
          </a:xfrm>
          <a:prstGeom prst="roundRect">
            <a:avLst>
              <a:gd name="adj" fmla="val 1982"/>
            </a:avLst>
          </a:prstGeom>
          <a:solidFill>
            <a:schemeClr val="bg1">
              <a:lumMod val="85000"/>
            </a:schemeClr>
          </a:solidFill>
        </p:spPr>
        <p:txBody>
          <a:bodyPr lIns="342000" tIns="342000" rIns="342000" bIns="342000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AU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6D4D6FD-7257-4C21-AAFC-7CC06BF77DD7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7797801" y="5080000"/>
            <a:ext cx="4046492" cy="1444625"/>
          </a:xfrm>
          <a:prstGeom prst="roundRect">
            <a:avLst>
              <a:gd name="adj" fmla="val 5336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45000"/>
                </a:schemeClr>
              </a:gs>
            </a:gsLst>
            <a:lin ang="432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6E7A7DD-8C14-4B85-B39F-1E990E1FFE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333375"/>
            <a:ext cx="5761038" cy="108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7750661B-4D22-41A7-8FA2-1E0D27586EF6}"/>
              </a:ext>
            </a:extLst>
          </p:cNvPr>
          <p:cNvSpPr>
            <a:spLocks noGrp="1" noChangeAspect="1"/>
          </p:cNvSpPr>
          <p:nvPr>
            <p:ph type="body" sz="quarter" idx="16"/>
          </p:nvPr>
        </p:nvSpPr>
        <p:spPr>
          <a:xfrm>
            <a:off x="10632313" y="5890388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7D8FAF2-858C-419E-A577-F0425218264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537038" y="333375"/>
            <a:ext cx="4320000" cy="126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D048DB48-6039-4A0D-ACBF-D5EB8DD358F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459140" y="6159500"/>
            <a:ext cx="727410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698771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Partial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C85B94B1-0EB5-4E42-9E85-6E0B4655B7C9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16EF975B-AD72-4CB0-A546-757A6175A51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513120" y="1"/>
            <a:ext cx="4678880" cy="6856690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</p:spPr>
        <p:txBody>
          <a:bodyPr lIns="342000" tIns="342000" rIns="342000" bIns="342000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AU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47706" y="1210733"/>
            <a:ext cx="6827253" cy="4629582"/>
          </a:xfrm>
        </p:spPr>
        <p:txBody>
          <a:bodyPr/>
          <a:lstStyle>
            <a:lvl1pPr>
              <a:defRPr/>
            </a:lvl1pPr>
            <a:lvl5pPr>
              <a:defRPr/>
            </a:lvl5pPr>
            <a:lvl6pPr>
              <a:defRPr sz="1400"/>
            </a:lvl6pPr>
            <a:lvl7pPr marL="180000">
              <a:defRPr sz="1400"/>
            </a:lvl7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7707" y="333375"/>
            <a:ext cx="10080000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C94176C4-3B30-43F2-91DE-33D09AEA7B5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A95B7BCF-DC6C-46BC-B3D2-2F18F9BC75D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D24732DA-0FE7-4734-BA92-D340F800C44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509919" y="4313208"/>
            <a:ext cx="4682081" cy="2541619"/>
          </a:xfrm>
          <a:gradFill>
            <a:gsLst>
              <a:gs pos="73000">
                <a:srgbClr val="000000">
                  <a:alpha val="22000"/>
                </a:srgbClr>
              </a:gs>
              <a:gs pos="35000">
                <a:schemeClr val="tx1">
                  <a:alpha val="0"/>
                </a:schemeClr>
              </a:gs>
              <a:gs pos="100000">
                <a:schemeClr val="tx1">
                  <a:alpha val="62000"/>
                </a:schemeClr>
              </a:gs>
            </a:gsLst>
            <a:lin ang="6000000" scaled="0"/>
          </a:gradFill>
        </p:spPr>
        <p:txBody>
          <a:bodyPr lIns="360000" tIns="360000" rIns="1800000" bIns="432000" anchor="b" anchorCtr="0"/>
          <a:lstStyle>
            <a:lvl1pPr marL="0" indent="0">
              <a:buFont typeface="Arial" panose="020B0604020202020204" pitchFamily="34" charset="0"/>
              <a:buNone/>
              <a:defRPr sz="1000" cap="none">
                <a:solidFill>
                  <a:schemeClr val="bg2"/>
                </a:solidFill>
                <a:latin typeface="+mn-lt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None/>
              <a:defRPr sz="1000" cap="none">
                <a:solidFill>
                  <a:schemeClr val="bg2"/>
                </a:solidFill>
                <a:latin typeface="+mn-lt"/>
              </a:defRPr>
            </a:lvl2pPr>
            <a:lvl3pPr marL="0" indent="0">
              <a:buNone/>
              <a:defRPr sz="1000" cap="none">
                <a:solidFill>
                  <a:schemeClr val="bg2"/>
                </a:solidFill>
                <a:latin typeface="+mn-lt"/>
              </a:defRPr>
            </a:lvl3pPr>
            <a:lvl4pPr marL="0" indent="0">
              <a:buNone/>
              <a:defRPr sz="1000" cap="none">
                <a:solidFill>
                  <a:schemeClr val="bg2"/>
                </a:solidFill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defRPr sz="1000" cap="none">
                <a:solidFill>
                  <a:schemeClr val="bg2"/>
                </a:solidFill>
                <a:latin typeface="+mn-lt"/>
              </a:defRPr>
            </a:lvl5pPr>
            <a:lvl6pPr marL="0" indent="0">
              <a:buFont typeface="Arial" panose="020B0604020202020204" pitchFamily="34" charset="0"/>
              <a:buNone/>
              <a:defRPr sz="1000" cap="none">
                <a:solidFill>
                  <a:schemeClr val="bg2"/>
                </a:solidFill>
                <a:latin typeface="+mn-lt"/>
              </a:defRPr>
            </a:lvl6pPr>
            <a:lvl7pPr marL="0" indent="0">
              <a:buFont typeface="Arial" panose="020B0604020202020204" pitchFamily="34" charset="0"/>
              <a:buNone/>
              <a:defRPr sz="1000" cap="none">
                <a:solidFill>
                  <a:schemeClr val="bg2"/>
                </a:solidFill>
                <a:latin typeface="+mn-lt"/>
              </a:defRPr>
            </a:lvl7pPr>
            <a:lvl8pPr marL="0" indent="0">
              <a:buFont typeface="Arial" panose="020B0604020202020204" pitchFamily="34" charset="0"/>
              <a:buNone/>
              <a:defRPr sz="1000" cap="none">
                <a:solidFill>
                  <a:schemeClr val="bg2"/>
                </a:solidFill>
                <a:latin typeface="+mn-lt"/>
              </a:defRPr>
            </a:lvl8pPr>
            <a:lvl9pPr marL="0" indent="0">
              <a:buFont typeface="Arial" panose="020B0604020202020204" pitchFamily="34" charset="0"/>
              <a:buNone/>
              <a:defRPr sz="1000" cap="none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2</a:t>
            </a:r>
          </a:p>
          <a:p>
            <a:pPr lvl="2"/>
            <a:r>
              <a:rPr lang="en-US"/>
              <a:t>3</a:t>
            </a:r>
          </a:p>
          <a:p>
            <a:pPr lvl="3"/>
            <a:r>
              <a:rPr lang="en-US"/>
              <a:t>4</a:t>
            </a:r>
          </a:p>
          <a:p>
            <a:pPr lvl="4"/>
            <a:r>
              <a:rPr lang="en-US"/>
              <a:t>5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AU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5DCB89D-3AC5-44D9-B514-92E4E014EE0B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7509920" y="1"/>
            <a:ext cx="4682080" cy="2209799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1728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21523CDE-F139-4817-9BEA-E1B7B2E72461}"/>
              </a:ext>
            </a:extLst>
          </p:cNvPr>
          <p:cNvSpPr>
            <a:spLocks noGrp="1" noChangeAspect="1"/>
          </p:cNvSpPr>
          <p:nvPr>
            <p:ph type="body" sz="quarter" idx="24"/>
          </p:nvPr>
        </p:nvSpPr>
        <p:spPr>
          <a:xfrm>
            <a:off x="10849038" y="333375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68442885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0">
            <a:extLst>
              <a:ext uri="{FF2B5EF4-FFF2-40B4-BE49-F238E27FC236}">
                <a16:creationId xmlns:a16="http://schemas.microsoft.com/office/drawing/2014/main" id="{B4E51852-5101-48F7-8B58-1B847E23964B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1062000" tIns="792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D8AE3A4E-F9D7-4DE9-8409-5EE36E86AF3A}"/>
              </a:ext>
            </a:extLst>
          </p:cNvPr>
          <p:cNvSpPr>
            <a:spLocks noGrp="1" noChangeAspect="1"/>
          </p:cNvSpPr>
          <p:nvPr>
            <p:ph type="body" sz="quarter" idx="23"/>
          </p:nvPr>
        </p:nvSpPr>
        <p:spPr>
          <a:xfrm>
            <a:off x="5588000" y="1"/>
            <a:ext cx="6604000" cy="2376153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1728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EEFCBEF0-91F3-47D0-9F07-A40D48EDD246}"/>
              </a:ext>
            </a:extLst>
          </p:cNvPr>
          <p:cNvSpPr>
            <a:spLocks noGrp="1" noChangeAspect="1"/>
          </p:cNvSpPr>
          <p:nvPr>
            <p:ph type="body" sz="quarter" idx="16"/>
          </p:nvPr>
        </p:nvSpPr>
        <p:spPr>
          <a:xfrm>
            <a:off x="10849038" y="333375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25A78CB-C25F-477B-ACB8-7A8C3B33F7D7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0DC4922-3AFC-43D6-9996-17D5CAC06E9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54801EF-D4C3-4D21-A7DC-76D432B0F00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02576B30-62D5-46E1-8C3D-5439842664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297292" y="50802"/>
            <a:ext cx="7563552" cy="6722530"/>
          </a:xfrm>
          <a:gradFill flip="none" rotWithShape="1">
            <a:gsLst>
              <a:gs pos="51000">
                <a:schemeClr val="tx1">
                  <a:alpha val="0"/>
                </a:schemeClr>
              </a:gs>
              <a:gs pos="18819">
                <a:srgbClr val="000000">
                  <a:alpha val="38000"/>
                </a:srgbClr>
              </a:gs>
              <a:gs pos="0">
                <a:schemeClr val="tx1">
                  <a:alpha val="5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lIns="1548000" tIns="2052000" rIns="1548000" bIns="1800000"/>
          <a:lstStyle>
            <a:lvl1pPr>
              <a:defRPr sz="2800" cap="none" baseline="0">
                <a:solidFill>
                  <a:schemeClr val="accent1"/>
                </a:solidFill>
                <a:latin typeface="+mj-lt"/>
              </a:defRPr>
            </a:lvl1pPr>
            <a:lvl2pPr algn="l">
              <a:spcBef>
                <a:spcPts val="600"/>
              </a:spcBef>
              <a:defRPr sz="1600" b="0" cap="none" baseline="0">
                <a:solidFill>
                  <a:schemeClr val="accent1"/>
                </a:solidFill>
              </a:defRPr>
            </a:lvl2pPr>
            <a:lvl3pPr marL="0" indent="0" algn="l">
              <a:buNone/>
              <a:defRPr sz="2800" cap="none">
                <a:solidFill>
                  <a:schemeClr val="bg1"/>
                </a:solidFill>
                <a:latin typeface="+mj-lt"/>
              </a:defRPr>
            </a:lvl3pPr>
            <a:lvl4pPr marL="0" indent="0" algn="l">
              <a:buNone/>
              <a:defRPr sz="1600" cap="none">
                <a:solidFill>
                  <a:schemeClr val="bg1"/>
                </a:solidFill>
              </a:defRPr>
            </a:lvl4pPr>
            <a:lvl5pPr algn="l">
              <a:defRPr sz="1600" cap="none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0F9C0CBA-4F99-4EEF-9452-1D46CF641C24}"/>
              </a:ext>
            </a:extLst>
          </p:cNvPr>
          <p:cNvSpPr>
            <a:spLocks noGrp="1" noChangeAspect="1"/>
          </p:cNvSpPr>
          <p:nvPr>
            <p:ph type="body" sz="quarter" idx="24"/>
          </p:nvPr>
        </p:nvSpPr>
        <p:spPr>
          <a:xfrm>
            <a:off x="2781942" y="1515534"/>
            <a:ext cx="889086" cy="737420"/>
          </a:xfrm>
          <a:blipFill>
            <a:blip r:embed="rId4"/>
            <a:srcRect/>
            <a:stretch>
              <a:fillRect l="-92364" t="-81474" r="-87765" b="-241990"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C44BD95F-52D2-4592-97AC-691C98740D72}"/>
              </a:ext>
            </a:extLst>
          </p:cNvPr>
          <p:cNvSpPr>
            <a:spLocks noGrp="1" noChangeAspect="1"/>
          </p:cNvSpPr>
          <p:nvPr>
            <p:ph type="body" sz="quarter" idx="25"/>
          </p:nvPr>
        </p:nvSpPr>
        <p:spPr>
          <a:xfrm rot="10800000">
            <a:off x="8445457" y="3908179"/>
            <a:ext cx="889086" cy="737420"/>
          </a:xfrm>
          <a:blipFill>
            <a:blip r:embed="rId4"/>
            <a:srcRect/>
            <a:stretch>
              <a:fillRect l="-92364" t="-81474" r="-87765" b="-241990"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496420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lef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450744" y="1880315"/>
            <a:ext cx="4691628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23DD628-AE63-4907-AF4B-6B53C077707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4963" y="1880314"/>
            <a:ext cx="5761037" cy="4644311"/>
          </a:xfrm>
          <a:prstGeom prst="roundRect">
            <a:avLst>
              <a:gd name="adj" fmla="val 1982"/>
            </a:avLst>
          </a:prstGeom>
          <a:solidFill>
            <a:schemeClr val="bg1">
              <a:lumMod val="85000"/>
            </a:schemeClr>
          </a:solidFill>
        </p:spPr>
        <p:txBody>
          <a:bodyPr lIns="342000" tIns="342000" rIns="342000" bIns="342000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AU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6453E03-EC16-4564-B43B-27855EB9BD2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450744" y="6288257"/>
            <a:ext cx="4320000" cy="365125"/>
          </a:xfrm>
        </p:spPr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A913BC-780A-4949-92A0-B5967D36080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459140" y="6159500"/>
            <a:ext cx="727410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1564791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genda 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0">
            <a:extLst>
              <a:ext uri="{FF2B5EF4-FFF2-40B4-BE49-F238E27FC236}">
                <a16:creationId xmlns:a16="http://schemas.microsoft.com/office/drawing/2014/main" id="{132E30D2-B4D0-3CF3-7CAB-B656C82644CA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20000" y="1"/>
            <a:ext cx="1075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1062000" tIns="342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1173286-3DD3-2372-8FD1-9ACBF04D3739}"/>
              </a:ext>
            </a:extLst>
          </p:cNvPr>
          <p:cNvSpPr>
            <a:spLocks noGrp="1" noChangeAspect="1"/>
          </p:cNvSpPr>
          <p:nvPr>
            <p:ph type="body" sz="quarter" idx="22"/>
          </p:nvPr>
        </p:nvSpPr>
        <p:spPr>
          <a:xfrm>
            <a:off x="5588000" y="1"/>
            <a:ext cx="6604000" cy="2376153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1728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DB743F40-F6DB-A0BD-1F51-3F1714819BB3}"/>
              </a:ext>
            </a:extLst>
          </p:cNvPr>
          <p:cNvSpPr>
            <a:spLocks noGrp="1" noChangeAspect="1"/>
          </p:cNvSpPr>
          <p:nvPr>
            <p:ph type="body" sz="quarter" idx="23"/>
          </p:nvPr>
        </p:nvSpPr>
        <p:spPr>
          <a:xfrm>
            <a:off x="10128313" y="333375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9628" y="333375"/>
            <a:ext cx="10080000" cy="1080000"/>
          </a:xfrm>
        </p:spPr>
        <p:txBody>
          <a:bodyPr/>
          <a:lstStyle>
            <a:lvl1pPr>
              <a:defRPr cap="all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FEB565-49CC-408C-BDD2-C2590A4A642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49629" y="1880314"/>
            <a:ext cx="4320000" cy="3960000"/>
          </a:xfrm>
          <a:prstGeom prst="roundRect">
            <a:avLst>
              <a:gd name="adj" fmla="val 3032"/>
            </a:avLst>
          </a:prstGeom>
          <a:solidFill>
            <a:schemeClr val="bg2"/>
          </a:solidFill>
        </p:spPr>
        <p:txBody>
          <a:bodyPr lIns="144000" tIns="144000" rIns="144000" bIns="144000"/>
          <a:lstStyle>
            <a:lvl1pPr marL="288000" indent="-288000">
              <a:spcBef>
                <a:spcPts val="1200"/>
              </a:spcBef>
              <a:buFont typeface="+mj-lt"/>
              <a:buAutoNum type="arabicPeriod"/>
              <a:defRPr sz="2200"/>
            </a:lvl1pPr>
            <a:lvl2pPr marL="288000">
              <a:spcBef>
                <a:spcPts val="600"/>
              </a:spcBef>
              <a:spcAft>
                <a:spcPts val="600"/>
              </a:spcAft>
              <a:defRPr b="0" cap="none" baseline="0">
                <a:solidFill>
                  <a:schemeClr val="tx2"/>
                </a:solidFill>
              </a:defRPr>
            </a:lvl2pPr>
            <a:lvl3pPr marL="468000">
              <a:defRPr/>
            </a:lvl3pPr>
            <a:lvl4pPr marL="0" indent="0">
              <a:buNone/>
              <a:defRPr cap="all" baseline="0">
                <a:solidFill>
                  <a:schemeClr val="accent1"/>
                </a:solidFill>
                <a:latin typeface="+mj-lt"/>
              </a:defRPr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add Agenda item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98866983-58A4-4EC2-ADBC-AEEA6B9D69AB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8248903" y="6288257"/>
            <a:ext cx="1183557" cy="365125"/>
          </a:xfrm>
        </p:spPr>
        <p:txBody>
          <a:bodyPr/>
          <a:lstStyle/>
          <a:p>
            <a:endParaRPr lang="en-GB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F6B299B-0652-4E6B-BB65-0DE715526B4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55688" y="6288257"/>
            <a:ext cx="7193215" cy="365125"/>
          </a:xfrm>
        </p:spPr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42DCA20-AF8B-4853-AA2C-E5E7CD8D26F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8B1AC7E-46EA-441D-9455-6E65525B6A5A}"/>
              </a:ext>
            </a:extLst>
          </p:cNvPr>
          <p:cNvSpPr/>
          <p:nvPr userDrawn="1"/>
        </p:nvSpPr>
        <p:spPr>
          <a:xfrm>
            <a:off x="0" y="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C9469F0-045F-4A85-8721-359D41A43D06}"/>
              </a:ext>
            </a:extLst>
          </p:cNvPr>
          <p:cNvSpPr/>
          <p:nvPr userDrawn="1"/>
        </p:nvSpPr>
        <p:spPr>
          <a:xfrm>
            <a:off x="11472000" y="-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700599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genda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61B3790-BDEB-43E5-BF9C-3E8D289EECE8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C59AD166-A33E-4D4B-BE9A-EF6978131E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128313" y="333375"/>
            <a:ext cx="1008000" cy="44879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9628" y="333375"/>
            <a:ext cx="10080000" cy="1080000"/>
          </a:xfrm>
        </p:spPr>
        <p:txBody>
          <a:bodyPr/>
          <a:lstStyle>
            <a:lvl1pPr>
              <a:defRPr cap="all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FEB565-49CC-408C-BDD2-C2590A4A642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49629" y="1880314"/>
            <a:ext cx="4320000" cy="3960000"/>
          </a:xfrm>
        </p:spPr>
        <p:txBody>
          <a:bodyPr/>
          <a:lstStyle>
            <a:lvl1pPr marL="288000" indent="-288000">
              <a:spcBef>
                <a:spcPts val="1200"/>
              </a:spcBef>
              <a:buFont typeface="+mj-lt"/>
              <a:buAutoNum type="arabicPeriod"/>
              <a:defRPr sz="2200"/>
            </a:lvl1pPr>
            <a:lvl2pPr marL="288000">
              <a:spcBef>
                <a:spcPts val="600"/>
              </a:spcBef>
              <a:spcAft>
                <a:spcPts val="600"/>
              </a:spcAft>
              <a:defRPr b="0" cap="none" baseline="0">
                <a:solidFill>
                  <a:schemeClr val="tx2"/>
                </a:solidFill>
              </a:defRPr>
            </a:lvl2pPr>
            <a:lvl3pPr marL="468000">
              <a:defRPr/>
            </a:lvl3pPr>
            <a:lvl4pPr marL="0" indent="0">
              <a:buNone/>
              <a:defRPr cap="all" baseline="0">
                <a:solidFill>
                  <a:schemeClr val="accent1"/>
                </a:solidFill>
                <a:latin typeface="+mj-lt"/>
              </a:defRPr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add Agenda item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98866983-58A4-4EC2-ADBC-AEEA6B9D69AB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8248903" y="6288257"/>
            <a:ext cx="1183557" cy="365125"/>
          </a:xfrm>
        </p:spPr>
        <p:txBody>
          <a:bodyPr/>
          <a:lstStyle/>
          <a:p>
            <a:endParaRPr lang="en-GB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F6B299B-0652-4E6B-BB65-0DE715526B4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55688" y="6288257"/>
            <a:ext cx="7193215" cy="365125"/>
          </a:xfrm>
        </p:spPr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42DCA20-AF8B-4853-AA2C-E5E7CD8D26F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8B1AC7E-46EA-441D-9455-6E65525B6A5A}"/>
              </a:ext>
            </a:extLst>
          </p:cNvPr>
          <p:cNvSpPr/>
          <p:nvPr userDrawn="1"/>
        </p:nvSpPr>
        <p:spPr>
          <a:xfrm>
            <a:off x="0" y="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C9469F0-045F-4A85-8721-359D41A43D06}"/>
              </a:ext>
            </a:extLst>
          </p:cNvPr>
          <p:cNvSpPr/>
          <p:nvPr userDrawn="1"/>
        </p:nvSpPr>
        <p:spPr>
          <a:xfrm>
            <a:off x="11472000" y="-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6" name="Picture Placeholder 7">
            <a:extLst>
              <a:ext uri="{FF2B5EF4-FFF2-40B4-BE49-F238E27FC236}">
                <a16:creationId xmlns:a16="http://schemas.microsoft.com/office/drawing/2014/main" id="{ECCDD9A2-88BD-288E-C2DE-C790334EEFD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083255" y="1880314"/>
            <a:ext cx="5046373" cy="4644311"/>
          </a:xfrm>
          <a:prstGeom prst="roundRect">
            <a:avLst>
              <a:gd name="adj" fmla="val 1982"/>
            </a:avLst>
          </a:prstGeom>
          <a:solidFill>
            <a:schemeClr val="bg1">
              <a:lumMod val="85000"/>
            </a:schemeClr>
          </a:solidFill>
        </p:spPr>
        <p:txBody>
          <a:bodyPr lIns="342000" tIns="342000" rIns="342000" bIns="342000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AU"/>
              <a:t>To insert an image, select ‘Insert Picture’, or click on icon. Select ‘Picture Format &gt; Crop’ to edit size and position of picture.</a:t>
            </a:r>
          </a:p>
        </p:txBody>
      </p:sp>
    </p:spTree>
    <p:extLst>
      <p:ext uri="{BB962C8B-B14F-4D97-AF65-F5344CB8AC3E}">
        <p14:creationId xmlns:p14="http://schemas.microsoft.com/office/powerpoint/2010/main" val="34292474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parti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1" y="1413375"/>
            <a:ext cx="6120000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06AFE3-EE64-4522-825B-815C6A28E9F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CCCCDE7-B8EA-4773-A164-304D34F89D0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C4FDAA8-8585-4D16-87AD-3485D164648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7698781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hree Content dar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EE12000-F088-E522-6304-0968384B94F3}"/>
              </a:ext>
            </a:extLst>
          </p:cNvPr>
          <p:cNvSpPr/>
          <p:nvPr userDrawn="1"/>
        </p:nvSpPr>
        <p:spPr>
          <a:xfrm>
            <a:off x="0" y="-1"/>
            <a:ext cx="12192000" cy="687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EC4A21E-807E-5FDD-8824-AF0D6394DA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Date Placeholder 2">
            <a:extLst>
              <a:ext uri="{FF2B5EF4-FFF2-40B4-BE49-F238E27FC236}">
                <a16:creationId xmlns:a16="http://schemas.microsoft.com/office/drawing/2014/main" id="{6B1662BB-CAD4-897E-19CF-EE6EA445564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8969628" y="6288257"/>
            <a:ext cx="1183557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Footer Placeholder 6">
            <a:extLst>
              <a:ext uri="{FF2B5EF4-FFF2-40B4-BE49-F238E27FC236}">
                <a16:creationId xmlns:a16="http://schemas.microsoft.com/office/drawing/2014/main" id="{6822986D-0E68-2C1D-2A4E-A0549061AD1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055688" y="6288257"/>
            <a:ext cx="7913940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17" name="Slide Number Placeholder 7">
            <a:extLst>
              <a:ext uri="{FF2B5EF4-FFF2-40B4-BE49-F238E27FC236}">
                <a16:creationId xmlns:a16="http://schemas.microsoft.com/office/drawing/2014/main" id="{D4B3B7CF-CA39-CFD8-F620-69024AEAFB0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334962" y="6288257"/>
            <a:ext cx="727410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D43D1DC4-1A25-CBD1-4721-AD3FDB16B73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849886" y="333375"/>
            <a:ext cx="1006304" cy="448782"/>
          </a:xfrm>
          <a:prstGeom prst="rect">
            <a:avLst/>
          </a:prstGeom>
        </p:spPr>
      </p:pic>
      <p:sp>
        <p:nvSpPr>
          <p:cNvPr id="19" name="Content Placeholder 8">
            <a:extLst>
              <a:ext uri="{FF2B5EF4-FFF2-40B4-BE49-F238E27FC236}">
                <a16:creationId xmlns:a16="http://schemas.microsoft.com/office/drawing/2014/main" id="{E5376368-AA05-79D8-A228-0DE09C4AF969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34962" y="1233375"/>
            <a:ext cx="3626079" cy="4563542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8">
            <a:extLst>
              <a:ext uri="{FF2B5EF4-FFF2-40B4-BE49-F238E27FC236}">
                <a16:creationId xmlns:a16="http://schemas.microsoft.com/office/drawing/2014/main" id="{78E0D5D8-781B-B006-D3CE-19F6F3976A5B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289481" y="1233375"/>
            <a:ext cx="3626079" cy="4563542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Content Placeholder 8">
            <a:extLst>
              <a:ext uri="{FF2B5EF4-FFF2-40B4-BE49-F238E27FC236}">
                <a16:creationId xmlns:a16="http://schemas.microsoft.com/office/drawing/2014/main" id="{3861165C-A187-994F-9836-39730BCEA67D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244000" y="1233375"/>
            <a:ext cx="3626079" cy="4563542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695815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bg>
      <p:bgPr>
        <a:solidFill>
          <a:schemeClr val="bg1"/>
        </a:solidFill>
        <a:effectLst/>
      </p:bgPr>
    </p:bg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12"/>
          <p:cNvSpPr txBox="1">
            <a:spLocks noGrp="1"/>
          </p:cNvSpPr>
          <p:nvPr>
            <p:ph type="title"/>
          </p:nvPr>
        </p:nvSpPr>
        <p:spPr>
          <a:xfrm>
            <a:off x="727733" y="496800"/>
            <a:ext cx="10363200" cy="83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9pPr>
          </a:lstStyle>
          <a:p>
            <a:endParaRPr/>
          </a:p>
        </p:txBody>
      </p:sp>
      <p:sp>
        <p:nvSpPr>
          <p:cNvPr id="8" name="Google Shape;13;p2">
            <a:extLst>
              <a:ext uri="{FF2B5EF4-FFF2-40B4-BE49-F238E27FC236}">
                <a16:creationId xmlns:a16="http://schemas.microsoft.com/office/drawing/2014/main" id="{4DA2FD12-9FE6-514E-AA9B-1DAA2BAC9DBD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11285367" y="5943600"/>
            <a:ext cx="914400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1" i="0" u="none" strike="noStrike" cap="none">
                <a:solidFill>
                  <a:schemeClr val="accent1"/>
                </a:solidFill>
                <a:latin typeface="Exo 2"/>
                <a:ea typeface="Exo 2"/>
                <a:cs typeface="Exo 2"/>
                <a:sym typeface="Exo 2"/>
              </a:defRPr>
            </a:lvl1pPr>
            <a:lvl2pPr marL="0" marR="0" lvl="1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1" i="0" u="none" strike="noStrike" cap="none">
                <a:solidFill>
                  <a:schemeClr val="accent1"/>
                </a:solidFill>
                <a:latin typeface="Exo 2"/>
                <a:ea typeface="Exo 2"/>
                <a:cs typeface="Exo 2"/>
                <a:sym typeface="Exo 2"/>
              </a:defRPr>
            </a:lvl2pPr>
            <a:lvl3pPr marL="0" marR="0" lvl="2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1" i="0" u="none" strike="noStrike" cap="none">
                <a:solidFill>
                  <a:schemeClr val="accent1"/>
                </a:solidFill>
                <a:latin typeface="Exo 2"/>
                <a:ea typeface="Exo 2"/>
                <a:cs typeface="Exo 2"/>
                <a:sym typeface="Exo 2"/>
              </a:defRPr>
            </a:lvl3pPr>
            <a:lvl4pPr marL="0" marR="0" lvl="3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1" i="0" u="none" strike="noStrike" cap="none">
                <a:solidFill>
                  <a:schemeClr val="accent1"/>
                </a:solidFill>
                <a:latin typeface="Exo 2"/>
                <a:ea typeface="Exo 2"/>
                <a:cs typeface="Exo 2"/>
                <a:sym typeface="Exo 2"/>
              </a:defRPr>
            </a:lvl4pPr>
            <a:lvl5pPr marL="0" marR="0" lvl="4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1" i="0" u="none" strike="noStrike" cap="none">
                <a:solidFill>
                  <a:schemeClr val="accent1"/>
                </a:solidFill>
                <a:latin typeface="Exo 2"/>
                <a:ea typeface="Exo 2"/>
                <a:cs typeface="Exo 2"/>
                <a:sym typeface="Exo 2"/>
              </a:defRPr>
            </a:lvl5pPr>
            <a:lvl6pPr marL="0" marR="0" lvl="5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1" i="0" u="none" strike="noStrike" cap="none">
                <a:solidFill>
                  <a:schemeClr val="accent1"/>
                </a:solidFill>
                <a:latin typeface="Exo 2"/>
                <a:ea typeface="Exo 2"/>
                <a:cs typeface="Exo 2"/>
                <a:sym typeface="Exo 2"/>
              </a:defRPr>
            </a:lvl6pPr>
            <a:lvl7pPr marL="0" marR="0" lvl="6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1" i="0" u="none" strike="noStrike" cap="none">
                <a:solidFill>
                  <a:schemeClr val="accent1"/>
                </a:solidFill>
                <a:latin typeface="Exo 2"/>
                <a:ea typeface="Exo 2"/>
                <a:cs typeface="Exo 2"/>
                <a:sym typeface="Exo 2"/>
              </a:defRPr>
            </a:lvl7pPr>
            <a:lvl8pPr marL="0" marR="0" lvl="7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1" i="0" u="none" strike="noStrike" cap="none">
                <a:solidFill>
                  <a:schemeClr val="accent1"/>
                </a:solidFill>
                <a:latin typeface="Exo 2"/>
                <a:ea typeface="Exo 2"/>
                <a:cs typeface="Exo 2"/>
                <a:sym typeface="Exo 2"/>
              </a:defRPr>
            </a:lvl8pPr>
            <a:lvl9pPr marL="0" marR="0" lvl="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1" i="0" u="none" strike="noStrike" cap="none">
                <a:solidFill>
                  <a:schemeClr val="accent1"/>
                </a:solidFill>
                <a:latin typeface="Exo 2"/>
                <a:ea typeface="Exo 2"/>
                <a:cs typeface="Exo 2"/>
                <a:sym typeface="Exo 2"/>
              </a:defRPr>
            </a:lvl9pPr>
          </a:lstStyle>
          <a:p>
            <a:fld id="{00000000-1234-1234-1234-123412341234}" type="slidenum">
              <a:rPr lang="en" smtClean="0"/>
              <a:pPr/>
              <a:t>‹N°›</a:t>
            </a:fld>
            <a:endParaRPr lang="en"/>
          </a:p>
        </p:txBody>
      </p:sp>
      <p:pic>
        <p:nvPicPr>
          <p:cNvPr id="9" name="Picture 8" descr="Logo, icon&#10;&#10;Description automatically generated">
            <a:extLst>
              <a:ext uri="{FF2B5EF4-FFF2-40B4-BE49-F238E27FC236}">
                <a16:creationId xmlns:a16="http://schemas.microsoft.com/office/drawing/2014/main" id="{08825A56-5BCF-3C4E-864F-E145313123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64267" y="251355"/>
            <a:ext cx="550027" cy="6630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8115094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2DC463D-2F1B-4364-A3E4-F6CD28DDD6E5}"/>
              </a:ext>
            </a:extLst>
          </p:cNvPr>
          <p:cNvSpPr/>
          <p:nvPr userDrawn="1"/>
        </p:nvSpPr>
        <p:spPr>
          <a:xfrm>
            <a:off x="0" y="-1"/>
            <a:ext cx="12192000" cy="687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F9144E-5217-4B9A-B2C1-83385827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2619000"/>
            <a:ext cx="9000000" cy="1620000"/>
          </a:xfrm>
          <a:noFill/>
        </p:spPr>
        <p:txBody>
          <a:bodyPr lIns="342000" tIns="0" rIns="2160000" bIns="0" anchor="ctr" anchorCtr="0"/>
          <a:lstStyle>
            <a:lvl1pPr>
              <a:defRPr sz="4500" cap="all" baseline="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AU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44B5E4D2-C182-8F48-8BCD-AEA4F777DBFF}"/>
              </a:ext>
            </a:extLst>
          </p:cNvPr>
          <p:cNvSpPr>
            <a:spLocks noGrp="1" noChangeAspect="1"/>
          </p:cNvSpPr>
          <p:nvPr>
            <p:ph type="body" sz="quarter" idx="16"/>
          </p:nvPr>
        </p:nvSpPr>
        <p:spPr>
          <a:xfrm>
            <a:off x="10849038" y="333375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605081040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ing slide-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E9670259-4695-428B-A004-7FC80D7094B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19400" y="1"/>
            <a:ext cx="107532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342000" tIns="342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C3F7B8-0B35-40FF-8CB7-4337CBF123A9}"/>
              </a:ext>
            </a:extLst>
          </p:cNvPr>
          <p:cNvSpPr/>
          <p:nvPr userDrawn="1"/>
        </p:nvSpPr>
        <p:spPr>
          <a:xfrm>
            <a:off x="0" y="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CCB27E3-026E-4103-AE04-0346F7EF5C2F}"/>
              </a:ext>
            </a:extLst>
          </p:cNvPr>
          <p:cNvSpPr/>
          <p:nvPr userDrawn="1"/>
        </p:nvSpPr>
        <p:spPr>
          <a:xfrm>
            <a:off x="11472000" y="-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A69E0D77-12A6-1936-23BF-FD10A7ADB6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98950" y="2628900"/>
            <a:ext cx="3594100" cy="160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813348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3979AE5-365E-4EEB-8F4C-F4E45C728AEF}"/>
              </a:ext>
            </a:extLst>
          </p:cNvPr>
          <p:cNvSpPr/>
          <p:nvPr userDrawn="1"/>
        </p:nvSpPr>
        <p:spPr>
          <a:xfrm>
            <a:off x="719400" y="0"/>
            <a:ext cx="107532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E31FF5A-63AE-45A7-AF45-BF707B1A337A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14726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472600 w 12192000"/>
              <a:gd name="connsiteY3" fmla="*/ 6858000 h 6858000"/>
              <a:gd name="connsiteX4" fmla="*/ 0 w 12192000"/>
              <a:gd name="connsiteY4" fmla="*/ 0 h 6858000"/>
              <a:gd name="connsiteX5" fmla="*/ 719400 w 12192000"/>
              <a:gd name="connsiteY5" fmla="*/ 0 h 6858000"/>
              <a:gd name="connsiteX6" fmla="*/ 7194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14726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472600" y="6858000"/>
                </a:lnTo>
                <a:close/>
                <a:moveTo>
                  <a:pt x="0" y="0"/>
                </a:moveTo>
                <a:lnTo>
                  <a:pt x="719400" y="0"/>
                </a:lnTo>
                <a:lnTo>
                  <a:pt x="7194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08000" tIns="108000" rIns="115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113A054-12CB-4197-89CB-FBA21D5F89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5688" y="4097865"/>
            <a:ext cx="5040312" cy="14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800" b="1" cap="none">
                <a:solidFill>
                  <a:schemeClr val="bg1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6pPr>
            <a:lvl7pPr marL="0" indent="0" algn="l">
              <a:buNone/>
              <a:defRPr sz="1800" b="1">
                <a:solidFill>
                  <a:schemeClr val="bg1"/>
                </a:solidFill>
              </a:defRPr>
            </a:lvl7pPr>
            <a:lvl8pPr marL="0" indent="0" algn="l">
              <a:buNone/>
              <a:defRPr sz="1800" b="1">
                <a:solidFill>
                  <a:schemeClr val="bg1"/>
                </a:solidFill>
              </a:defRPr>
            </a:lvl8pPr>
            <a:lvl9pPr marL="0" indent="0" algn="l">
              <a:buNone/>
              <a:defRPr sz="1800" b="1">
                <a:solidFill>
                  <a:schemeClr val="bg1"/>
                </a:solidFill>
              </a:defRPr>
            </a:lvl9pPr>
          </a:lstStyle>
          <a:p>
            <a:r>
              <a:rPr lang="en-AU"/>
              <a:t>Subtitle or presenters name and date</a:t>
            </a:r>
            <a:endParaRPr lang="en-GB"/>
          </a:p>
          <a:p>
            <a:pPr lvl="1"/>
            <a:r>
              <a:rPr lang="en-US"/>
              <a:t>2</a:t>
            </a:r>
          </a:p>
          <a:p>
            <a:pPr lvl="2"/>
            <a:r>
              <a:rPr lang="en-US"/>
              <a:t>3</a:t>
            </a:r>
          </a:p>
          <a:p>
            <a:pPr lvl="3"/>
            <a:r>
              <a:rPr lang="en-US"/>
              <a:t>4</a:t>
            </a:r>
          </a:p>
          <a:p>
            <a:pPr lvl="4"/>
            <a:r>
              <a:rPr lang="en-US"/>
              <a:t>5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287AC88-A942-4E4F-A359-307B996A79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1946566"/>
            <a:ext cx="10753200" cy="1620000"/>
          </a:xfrm>
          <a:noFill/>
        </p:spPr>
        <p:txBody>
          <a:bodyPr lIns="342000" tIns="342000" rIns="2160000" bIns="0" anchor="b" anchorCtr="0"/>
          <a:lstStyle>
            <a:lvl1pPr>
              <a:defRPr sz="4500" cap="all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98BCAB1-59A8-4C66-87FD-A76DA0651EF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A19EADA1-ACC1-8BB7-CD58-D2C3B694F89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69628" y="5506147"/>
            <a:ext cx="2166684" cy="964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9290768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l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E9670259-4695-428B-A004-7FC80D7094B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19400" y="1"/>
            <a:ext cx="107532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342000" tIns="342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F9144E-5217-4B9A-B2C1-83385827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1946566"/>
            <a:ext cx="10753200" cy="1620000"/>
          </a:xfrm>
          <a:noFill/>
        </p:spPr>
        <p:txBody>
          <a:bodyPr lIns="342000" tIns="342000" rIns="2160000" bIns="0" anchor="b" anchorCtr="0"/>
          <a:lstStyle>
            <a:lvl1pPr>
              <a:defRPr sz="4500" cap="all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113A054-12CB-4197-89CB-FBA21D5F89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5688" y="4097865"/>
            <a:ext cx="5040312" cy="14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800" b="1" cap="none">
                <a:solidFill>
                  <a:schemeClr val="bg2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6pPr>
            <a:lvl7pPr marL="0" indent="0" algn="l">
              <a:buNone/>
              <a:defRPr sz="1800" b="1">
                <a:solidFill>
                  <a:schemeClr val="bg2"/>
                </a:solidFill>
              </a:defRPr>
            </a:lvl7pPr>
            <a:lvl8pPr marL="0" indent="0" algn="l">
              <a:buNone/>
              <a:defRPr sz="1800" b="1">
                <a:solidFill>
                  <a:schemeClr val="bg2"/>
                </a:solidFill>
              </a:defRPr>
            </a:lvl8pPr>
            <a:lvl9pPr marL="0" indent="0" algn="l">
              <a:buNone/>
              <a:defRPr sz="1800" b="1">
                <a:solidFill>
                  <a:schemeClr val="bg2"/>
                </a:solidFill>
              </a:defRPr>
            </a:lvl9pPr>
          </a:lstStyle>
          <a:p>
            <a:r>
              <a:rPr lang="en-AU"/>
              <a:t>Subtitle or presenters name and date</a:t>
            </a:r>
            <a:endParaRPr lang="en-GB"/>
          </a:p>
          <a:p>
            <a:pPr lvl="1"/>
            <a:r>
              <a:rPr lang="en-US"/>
              <a:t>2</a:t>
            </a:r>
          </a:p>
          <a:p>
            <a:pPr lvl="2"/>
            <a:r>
              <a:rPr lang="en-US"/>
              <a:t>3</a:t>
            </a:r>
          </a:p>
          <a:p>
            <a:pPr lvl="3"/>
            <a:r>
              <a:rPr lang="en-US"/>
              <a:t>4</a:t>
            </a:r>
          </a:p>
          <a:p>
            <a:pPr lvl="4"/>
            <a:r>
              <a:rPr lang="en-US"/>
              <a:t>5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C3F7B8-0B35-40FF-8CB7-4337CBF123A9}"/>
              </a:ext>
            </a:extLst>
          </p:cNvPr>
          <p:cNvSpPr/>
          <p:nvPr userDrawn="1"/>
        </p:nvSpPr>
        <p:spPr>
          <a:xfrm>
            <a:off x="0" y="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CCB27E3-026E-4103-AE04-0346F7EF5C2F}"/>
              </a:ext>
            </a:extLst>
          </p:cNvPr>
          <p:cNvSpPr/>
          <p:nvPr userDrawn="1"/>
        </p:nvSpPr>
        <p:spPr>
          <a:xfrm>
            <a:off x="11472000" y="-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C4A1CEB9-11E9-4D44-B10D-C1106153B09E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6096000" y="3940935"/>
            <a:ext cx="5376000" cy="2917066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40000"/>
                </a:schemeClr>
              </a:gs>
            </a:gsLst>
            <a:lin ang="372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6F98E5-C772-4C1B-AEA2-5FA88430480D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60988FE9-E51C-90D4-0D7D-70F07C7E3F0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60219" y="5562698"/>
            <a:ext cx="1976093" cy="879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1071111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dark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E9670259-4695-428B-A004-7FC80D7094B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19400" y="1"/>
            <a:ext cx="107532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342000" tIns="342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FC044026-2D0A-4F4C-B231-B0EF94B3258C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6096000" y="3940935"/>
            <a:ext cx="5376000" cy="2917066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40000"/>
                </a:schemeClr>
              </a:gs>
            </a:gsLst>
            <a:lin ang="372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F9144E-5217-4B9A-B2C1-83385827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1946566"/>
            <a:ext cx="10753200" cy="1620000"/>
          </a:xfrm>
          <a:noFill/>
        </p:spPr>
        <p:txBody>
          <a:bodyPr lIns="342000" tIns="342000" rIns="2160000" bIns="0" anchor="b" anchorCtr="0"/>
          <a:lstStyle>
            <a:lvl1pPr>
              <a:defRPr sz="4500" cap="all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113A054-12CB-4197-89CB-FBA21D5F89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5688" y="4097865"/>
            <a:ext cx="5040312" cy="14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800" b="1" cap="none">
                <a:solidFill>
                  <a:schemeClr val="bg2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6pPr>
            <a:lvl7pPr marL="0" indent="0" algn="l">
              <a:buNone/>
              <a:defRPr sz="1800" b="1">
                <a:solidFill>
                  <a:schemeClr val="bg2"/>
                </a:solidFill>
              </a:defRPr>
            </a:lvl7pPr>
            <a:lvl8pPr marL="0" indent="0" algn="l">
              <a:buNone/>
              <a:defRPr sz="1800" b="1">
                <a:solidFill>
                  <a:schemeClr val="bg2"/>
                </a:solidFill>
              </a:defRPr>
            </a:lvl8pPr>
            <a:lvl9pPr marL="0" indent="0" algn="l">
              <a:buNone/>
              <a:defRPr sz="1800" b="1">
                <a:solidFill>
                  <a:schemeClr val="bg2"/>
                </a:solidFill>
              </a:defRPr>
            </a:lvl9pPr>
          </a:lstStyle>
          <a:p>
            <a:r>
              <a:rPr lang="en-AU"/>
              <a:t>Subtitle or presenters name and date</a:t>
            </a:r>
            <a:endParaRPr lang="en-GB"/>
          </a:p>
          <a:p>
            <a:pPr lvl="1"/>
            <a:r>
              <a:rPr lang="en-US"/>
              <a:t>2</a:t>
            </a:r>
          </a:p>
          <a:p>
            <a:pPr lvl="2"/>
            <a:r>
              <a:rPr lang="en-US"/>
              <a:t>3</a:t>
            </a:r>
          </a:p>
          <a:p>
            <a:pPr lvl="3"/>
            <a:r>
              <a:rPr lang="en-US"/>
              <a:t>4</a:t>
            </a:r>
          </a:p>
          <a:p>
            <a:pPr lvl="4"/>
            <a:r>
              <a:rPr lang="en-US"/>
              <a:t>5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C3F7B8-0B35-40FF-8CB7-4337CBF123A9}"/>
              </a:ext>
            </a:extLst>
          </p:cNvPr>
          <p:cNvSpPr/>
          <p:nvPr userDrawn="1"/>
        </p:nvSpPr>
        <p:spPr>
          <a:xfrm>
            <a:off x="0" y="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CCB27E3-026E-4103-AE04-0346F7EF5C2F}"/>
              </a:ext>
            </a:extLst>
          </p:cNvPr>
          <p:cNvSpPr/>
          <p:nvPr userDrawn="1"/>
        </p:nvSpPr>
        <p:spPr>
          <a:xfrm>
            <a:off x="11472000" y="-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1C0FFFF4-D9E3-4A0E-BB93-6DCF367821CD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1055688" y="6288257"/>
            <a:ext cx="7913940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11A8C781-A258-1E2D-729C-E8C0653649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60219" y="5562698"/>
            <a:ext cx="1976093" cy="879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56251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16EF975B-AD72-4CB0-A546-757A6175A51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83255" y="1880314"/>
            <a:ext cx="5761038" cy="4644311"/>
          </a:xfrm>
          <a:prstGeom prst="roundRect">
            <a:avLst>
              <a:gd name="adj" fmla="val 1982"/>
            </a:avLst>
          </a:prstGeom>
          <a:solidFill>
            <a:schemeClr val="bg1">
              <a:lumMod val="85000"/>
            </a:schemeClr>
          </a:solidFill>
        </p:spPr>
        <p:txBody>
          <a:bodyPr lIns="342000" tIns="342000" rIns="342000" bIns="342000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AU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880315"/>
            <a:ext cx="4691628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C94176C4-3B30-43F2-91DE-33D09AEA7B5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A95B7BCF-DC6C-46BC-B3D2-2F18F9BC75D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10495227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11" descr="A picture containing outdoor, landscape, forest, soil&#10;&#10;Description automatically generated">
            <a:extLst>
              <a:ext uri="{FF2B5EF4-FFF2-40B4-BE49-F238E27FC236}">
                <a16:creationId xmlns:a16="http://schemas.microsoft.com/office/drawing/2014/main" id="{603762EC-5801-7781-E9D8-7152D1EC97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5992470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2DC463D-2F1B-4364-A3E4-F6CD28DDD6E5}"/>
              </a:ext>
            </a:extLst>
          </p:cNvPr>
          <p:cNvSpPr/>
          <p:nvPr userDrawn="1"/>
        </p:nvSpPr>
        <p:spPr>
          <a:xfrm>
            <a:off x="0" y="0"/>
            <a:ext cx="12192000" cy="687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F9144E-5217-4B9A-B2C1-83385827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2619000"/>
            <a:ext cx="9000000" cy="1620000"/>
          </a:xfrm>
          <a:noFill/>
        </p:spPr>
        <p:txBody>
          <a:bodyPr lIns="342000" tIns="0" rIns="2160000" bIns="0" anchor="ctr" anchorCtr="0"/>
          <a:lstStyle>
            <a:lvl1pPr>
              <a:defRPr sz="4500" cap="all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4FB3E14A-559D-E5F3-7EE2-00C437FD5B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0286" y="303441"/>
            <a:ext cx="1371600" cy="6106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3045392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61B3790-BDEB-43E5-BF9C-3E8D289EECE8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9628" y="333375"/>
            <a:ext cx="10080000" cy="1080000"/>
          </a:xfrm>
        </p:spPr>
        <p:txBody>
          <a:bodyPr/>
          <a:lstStyle>
            <a:lvl1pPr>
              <a:defRPr cap="all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FEB565-49CC-408C-BDD2-C2590A4A642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49629" y="1880314"/>
            <a:ext cx="4320000" cy="3960000"/>
          </a:xfrm>
        </p:spPr>
        <p:txBody>
          <a:bodyPr/>
          <a:lstStyle>
            <a:lvl1pPr marL="288000" indent="-288000">
              <a:spcBef>
                <a:spcPts val="1200"/>
              </a:spcBef>
              <a:buFont typeface="+mj-lt"/>
              <a:buAutoNum type="arabicPeriod"/>
              <a:defRPr sz="2200"/>
            </a:lvl1pPr>
            <a:lvl2pPr marL="288000">
              <a:spcBef>
                <a:spcPts val="600"/>
              </a:spcBef>
              <a:spcAft>
                <a:spcPts val="600"/>
              </a:spcAft>
              <a:defRPr b="0" cap="none" baseline="0">
                <a:solidFill>
                  <a:schemeClr val="tx2"/>
                </a:solidFill>
              </a:defRPr>
            </a:lvl2pPr>
            <a:lvl3pPr marL="468000">
              <a:defRPr/>
            </a:lvl3pPr>
            <a:lvl4pPr marL="0" indent="0">
              <a:buNone/>
              <a:defRPr cap="all" baseline="0">
                <a:solidFill>
                  <a:schemeClr val="accent1"/>
                </a:solidFill>
                <a:latin typeface="+mj-lt"/>
              </a:defRPr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add Agenda item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5E5FA15F-A1ED-4F06-8C67-E1D73CF85C8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1880314"/>
            <a:ext cx="4320000" cy="3960000"/>
          </a:xfrm>
        </p:spPr>
        <p:txBody>
          <a:bodyPr/>
          <a:lstStyle>
            <a:lvl1pPr marL="288000" indent="-288000">
              <a:spcBef>
                <a:spcPts val="1200"/>
              </a:spcBef>
              <a:buFont typeface="+mj-lt"/>
              <a:buAutoNum type="arabicPeriod"/>
              <a:defRPr sz="2200"/>
            </a:lvl1pPr>
            <a:lvl2pPr marL="288000">
              <a:spcBef>
                <a:spcPts val="600"/>
              </a:spcBef>
              <a:spcAft>
                <a:spcPts val="600"/>
              </a:spcAft>
              <a:defRPr b="0" cap="none" baseline="0">
                <a:solidFill>
                  <a:schemeClr val="tx2"/>
                </a:solidFill>
              </a:defRPr>
            </a:lvl2pPr>
            <a:lvl3pPr marL="468000">
              <a:defRPr/>
            </a:lvl3pPr>
            <a:lvl4pPr marL="0" indent="0">
              <a:buNone/>
              <a:defRPr cap="all" baseline="0">
                <a:solidFill>
                  <a:schemeClr val="accent1"/>
                </a:solidFill>
                <a:latin typeface="+mj-lt"/>
              </a:defRPr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add Agenda item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98866983-58A4-4EC2-ADBC-AEEA6B9D69AB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8248903" y="6288257"/>
            <a:ext cx="1183557" cy="365125"/>
          </a:xfrm>
        </p:spPr>
        <p:txBody>
          <a:bodyPr/>
          <a:lstStyle/>
          <a:p>
            <a:endParaRPr lang="en-GB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F6B299B-0652-4E6B-BB65-0DE715526B4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55688" y="6288257"/>
            <a:ext cx="7193215" cy="365125"/>
          </a:xfrm>
        </p:spPr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42DCA20-AF8B-4853-AA2C-E5E7CD8D26F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8B1AC7E-46EA-441D-9455-6E65525B6A5A}"/>
              </a:ext>
            </a:extLst>
          </p:cNvPr>
          <p:cNvSpPr/>
          <p:nvPr userDrawn="1"/>
        </p:nvSpPr>
        <p:spPr>
          <a:xfrm>
            <a:off x="0" y="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C9469F0-045F-4A85-8721-359D41A43D06}"/>
              </a:ext>
            </a:extLst>
          </p:cNvPr>
          <p:cNvSpPr/>
          <p:nvPr userDrawn="1"/>
        </p:nvSpPr>
        <p:spPr>
          <a:xfrm>
            <a:off x="11472000" y="-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2179EAA8-E18E-42F9-924F-98FF7A3E70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128313" y="333375"/>
            <a:ext cx="1008000" cy="448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0521430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880315"/>
            <a:ext cx="10080000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06AFE3-EE64-4522-825B-815C6A28E9F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CCCCDE7-B8EA-4773-A164-304D34F89D0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C4FDAA8-8585-4D16-87AD-3485D164648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1404850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1312C68-9CDC-4DDF-AFFD-F813984EE08A}"/>
              </a:ext>
            </a:extLst>
          </p:cNvPr>
          <p:cNvSpPr/>
          <p:nvPr userDrawn="1"/>
        </p:nvSpPr>
        <p:spPr>
          <a:xfrm>
            <a:off x="0" y="-11798"/>
            <a:ext cx="12192000" cy="690814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880315"/>
            <a:ext cx="10080000" cy="396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  <a:lvl6pPr>
              <a:defRPr>
                <a:solidFill>
                  <a:schemeClr val="bg2"/>
                </a:solidFill>
              </a:defRPr>
            </a:lvl6pPr>
            <a:lvl7pPr>
              <a:defRPr>
                <a:solidFill>
                  <a:schemeClr val="bg2"/>
                </a:solidFill>
              </a:defRPr>
            </a:lvl7pPr>
            <a:lvl8pPr>
              <a:defRPr>
                <a:solidFill>
                  <a:schemeClr val="bg2"/>
                </a:solidFill>
              </a:defRPr>
            </a:lvl8pPr>
            <a:lvl9pPr>
              <a:defRPr>
                <a:solidFill>
                  <a:schemeClr val="bg2"/>
                </a:solidFill>
              </a:defRPr>
            </a:lvl9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06AFE3-EE64-4522-825B-815C6A28E9F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CCCCDE7-B8EA-4773-A164-304D34F89D0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C4FDAA8-8585-4D16-87AD-3485D164648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DCB8BC7D-E0E4-0345-72B7-03D7CF44FD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6375" y="303442"/>
            <a:ext cx="1115510" cy="496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6357055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880315"/>
            <a:ext cx="4680000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06AFE3-EE64-4522-825B-815C6A28E9F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CCCCDE7-B8EA-4773-A164-304D34F89D0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C4FDAA8-8585-4D16-87AD-3485D164648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9FAA2598-9FF1-4FD4-A0B9-1D5412ADF05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734962" y="1880315"/>
            <a:ext cx="4680000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68391712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F17809F-093D-4878-B686-CA14CFB80D98}"/>
              </a:ext>
            </a:extLst>
          </p:cNvPr>
          <p:cNvSpPr/>
          <p:nvPr userDrawn="1"/>
        </p:nvSpPr>
        <p:spPr>
          <a:xfrm>
            <a:off x="0" y="-1"/>
            <a:ext cx="12192000" cy="687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880315"/>
            <a:ext cx="4680000" cy="396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06AFE3-EE64-4522-825B-815C6A28E9F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CCCCDE7-B8EA-4773-A164-304D34F89D0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C4FDAA8-8585-4D16-87AD-3485D164648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9FAA2598-9FF1-4FD4-A0B9-1D5412ADF05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734962" y="1880315"/>
            <a:ext cx="4680000" cy="396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E69570CD-4160-2778-6E55-3B05B83F138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49924" y="303441"/>
            <a:ext cx="1071962" cy="477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9236542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lef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450744" y="1880315"/>
            <a:ext cx="4691628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23DD628-AE63-4907-AF4B-6B53C077707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4963" y="1880314"/>
            <a:ext cx="5761037" cy="4644311"/>
          </a:xfrm>
          <a:prstGeom prst="roundRect">
            <a:avLst>
              <a:gd name="adj" fmla="val 1982"/>
            </a:avLst>
          </a:prstGeom>
          <a:solidFill>
            <a:schemeClr val="bg1">
              <a:lumMod val="85000"/>
            </a:schemeClr>
          </a:solidFill>
        </p:spPr>
        <p:txBody>
          <a:bodyPr lIns="342000" tIns="342000" rIns="342000" bIns="342000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AU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6453E03-EC16-4564-B43B-27855EB9BD2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450744" y="6288257"/>
            <a:ext cx="4320000" cy="365125"/>
          </a:xfrm>
        </p:spPr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A913BC-780A-4949-92A0-B5967D36080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459140" y="6159500"/>
            <a:ext cx="727410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3689459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16EF975B-AD72-4CB0-A546-757A6175A51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83255" y="1880314"/>
            <a:ext cx="5761038" cy="4644311"/>
          </a:xfrm>
          <a:prstGeom prst="roundRect">
            <a:avLst>
              <a:gd name="adj" fmla="val 1982"/>
            </a:avLst>
          </a:prstGeom>
          <a:solidFill>
            <a:schemeClr val="bg1">
              <a:lumMod val="85000"/>
            </a:schemeClr>
          </a:solidFill>
        </p:spPr>
        <p:txBody>
          <a:bodyPr lIns="342000" tIns="342000" rIns="342000" bIns="342000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AU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880315"/>
            <a:ext cx="4691628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C94176C4-3B30-43F2-91DE-33D09AEA7B5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A95B7BCF-DC6C-46BC-B3D2-2F18F9BC75D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547064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-full wid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23DD628-AE63-4907-AF4B-6B53C077707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4963" y="1880314"/>
            <a:ext cx="11509330" cy="4644311"/>
          </a:xfrm>
          <a:prstGeom prst="roundRect">
            <a:avLst>
              <a:gd name="adj" fmla="val 1982"/>
            </a:avLst>
          </a:prstGeom>
          <a:solidFill>
            <a:schemeClr val="bg1">
              <a:lumMod val="85000"/>
            </a:schemeClr>
          </a:solidFill>
        </p:spPr>
        <p:txBody>
          <a:bodyPr lIns="342000" tIns="342000" rIns="342000" bIns="342000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AU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6E7A7DD-8C14-4B85-B39F-1E990E1FFE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333375"/>
            <a:ext cx="5761038" cy="108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7D8FAF2-858C-419E-A577-F0425218264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15444" y="333375"/>
            <a:ext cx="3600000" cy="126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D048DB48-6039-4A0D-ACBF-D5EB8DD358F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459140" y="6159500"/>
            <a:ext cx="727410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3937071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-full wid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23DD628-AE63-4907-AF4B-6B53C077707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4963" y="1880314"/>
            <a:ext cx="11509330" cy="4644311"/>
          </a:xfrm>
          <a:prstGeom prst="roundRect">
            <a:avLst>
              <a:gd name="adj" fmla="val 1982"/>
            </a:avLst>
          </a:prstGeom>
          <a:solidFill>
            <a:schemeClr val="bg1">
              <a:lumMod val="85000"/>
            </a:schemeClr>
          </a:solidFill>
        </p:spPr>
        <p:txBody>
          <a:bodyPr lIns="342000" tIns="342000" rIns="342000" bIns="342000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AU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6E7A7DD-8C14-4B85-B39F-1E990E1FFE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333375"/>
            <a:ext cx="5761038" cy="108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7D8FAF2-858C-419E-A577-F0425218264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15444" y="333375"/>
            <a:ext cx="3600000" cy="126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D048DB48-6039-4A0D-ACBF-D5EB8DD358F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459140" y="6159500"/>
            <a:ext cx="727410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7157683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-full ble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0">
            <a:extLst>
              <a:ext uri="{FF2B5EF4-FFF2-40B4-BE49-F238E27FC236}">
                <a16:creationId xmlns:a16="http://schemas.microsoft.com/office/drawing/2014/main" id="{5AF6F1E8-5ECE-4267-92B5-43C3523BCBE3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1062000" tIns="360000" rIns="4320000" bIns="360000" anchor="ctr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8390923A-6BDB-44C8-9456-CEB6E0A0A293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7540580" y="1"/>
            <a:ext cx="4651420" cy="1673605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1740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6E7A7DD-8C14-4B85-B39F-1E990E1FFE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333375"/>
            <a:ext cx="5761038" cy="108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7D8FAF2-858C-419E-A577-F0425218264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15444" y="333375"/>
            <a:ext cx="3600000" cy="126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  <a:lvl6pPr>
              <a:defRPr>
                <a:solidFill>
                  <a:schemeClr val="bg2"/>
                </a:solidFill>
              </a:defRPr>
            </a:lvl6pPr>
            <a:lvl7pPr>
              <a:defRPr>
                <a:solidFill>
                  <a:schemeClr val="bg2"/>
                </a:solidFill>
              </a:defRPr>
            </a:lvl7pPr>
            <a:lvl8pPr>
              <a:defRPr>
                <a:solidFill>
                  <a:schemeClr val="bg2"/>
                </a:solidFill>
              </a:defRPr>
            </a:lvl8pPr>
            <a:lvl9pPr>
              <a:defRPr>
                <a:solidFill>
                  <a:schemeClr val="bg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E0AD6A4-0D42-4CCD-B0CB-498EE201FE4E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21E9B0E-B319-4C6F-97AF-0F8D83942F0C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65D74DCF-D99B-4098-B297-0BD016160D35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FB4A08B0-6A28-D04B-257D-013EC758BCC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2170" y="303442"/>
            <a:ext cx="979715" cy="43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6571394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right 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23DD628-AE63-4907-AF4B-6B53C077707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0"/>
            <a:ext cx="6096000" cy="6858000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</p:spPr>
        <p:txBody>
          <a:bodyPr lIns="342000" tIns="342000" rIns="1440000" bIns="342000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AU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EB2F477-266C-4C9D-A64F-287BA3F4CF3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4962" y="1880314"/>
            <a:ext cx="5220000" cy="396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771A36E-45E1-4553-9842-66EF392719C7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844884" y="1880314"/>
            <a:ext cx="2160000" cy="396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7D669EEE-6563-477F-A4CD-D425F6140F00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347256" y="1880314"/>
            <a:ext cx="2160000" cy="396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A5DE353-D720-4A1F-9ECC-89FB139059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2218" y="333375"/>
            <a:ext cx="5220000" cy="108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913AB32-E310-49A2-9A47-2348F6B61E52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6266A723-640D-4EFF-93D1-1E964694156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C4DEE883-581D-4AC9-9251-8929D0C8E380}"/>
              </a:ext>
            </a:extLst>
          </p:cNvPr>
          <p:cNvSpPr>
            <a:spLocks noGrp="1" noChangeAspect="1"/>
          </p:cNvSpPr>
          <p:nvPr>
            <p:ph type="body" sz="quarter" idx="25"/>
          </p:nvPr>
        </p:nvSpPr>
        <p:spPr>
          <a:xfrm>
            <a:off x="7540580" y="1"/>
            <a:ext cx="4651420" cy="1673605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1740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6C4035EB-46BA-D68D-EDAA-1CAC6D76973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2170" y="303442"/>
            <a:ext cx="979715" cy="43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0052413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7F07ECCF-5EE7-4BA4-BD7C-50DF82C3F5BF}"/>
              </a:ext>
            </a:extLst>
          </p:cNvPr>
          <p:cNvSpPr/>
          <p:nvPr userDrawn="1"/>
        </p:nvSpPr>
        <p:spPr>
          <a:xfrm>
            <a:off x="0" y="0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10080000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08DD2E7-C8BF-4E45-AE9F-C1389B7B38D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963" y="2600315"/>
            <a:ext cx="2160000" cy="3240000"/>
          </a:xfrm>
        </p:spPr>
        <p:txBody>
          <a:bodyPr/>
          <a:lstStyle>
            <a:lvl1pPr>
              <a:defRPr sz="1600" cap="all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 b="0" cap="none" baseline="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D7BC8491-CCAE-458C-BD6D-862F904604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979212" y="2600315"/>
            <a:ext cx="2160000" cy="3240000"/>
          </a:xfrm>
        </p:spPr>
        <p:txBody>
          <a:bodyPr/>
          <a:lstStyle>
            <a:lvl1pPr>
              <a:defRPr sz="1600" cap="all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 b="0" cap="none" baseline="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B036190F-67DD-4555-BB1F-179E8E9C46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23461" y="2600315"/>
            <a:ext cx="2160000" cy="3240000"/>
          </a:xfrm>
        </p:spPr>
        <p:txBody>
          <a:bodyPr/>
          <a:lstStyle>
            <a:lvl1pPr>
              <a:defRPr sz="1600" cap="all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 b="0" cap="none" baseline="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F1044E10-4BD7-47DE-8A5A-57C9557A0B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67709" y="2600315"/>
            <a:ext cx="2160000" cy="3240000"/>
          </a:xfrm>
        </p:spPr>
        <p:txBody>
          <a:bodyPr/>
          <a:lstStyle>
            <a:lvl1pPr>
              <a:defRPr sz="1600" cap="all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 b="0" cap="none" baseline="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B900929-35E2-4B6A-A4BF-9E02733E3AB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6B47C34-75D5-42A4-8A99-FADDAF9BBA6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67B0344-E805-4D5F-B3FB-AF95BC74870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5344C7BC-0E67-CA0F-39A7-28EB9FE063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2170" y="303442"/>
            <a:ext cx="979715" cy="43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261742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7F07ECCF-5EE7-4BA4-BD7C-50DF82C3F5BF}"/>
              </a:ext>
            </a:extLst>
          </p:cNvPr>
          <p:cNvSpPr/>
          <p:nvPr userDrawn="1"/>
        </p:nvSpPr>
        <p:spPr>
          <a:xfrm>
            <a:off x="0" y="0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F1044E10-4BD7-47DE-8A5A-57C9557A0B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42214" y="2106271"/>
            <a:ext cx="4507572" cy="2281251"/>
          </a:xfrm>
        </p:spPr>
        <p:txBody>
          <a:bodyPr/>
          <a:lstStyle>
            <a:lvl1pPr>
              <a:defRPr sz="2800" cap="none" baseline="0">
                <a:solidFill>
                  <a:schemeClr val="accent1"/>
                </a:solidFill>
                <a:latin typeface="+mj-lt"/>
              </a:defRPr>
            </a:lvl1pPr>
            <a:lvl2pPr algn="l">
              <a:spcBef>
                <a:spcPts val="600"/>
              </a:spcBef>
              <a:defRPr sz="1600" b="0" cap="none" baseline="0">
                <a:solidFill>
                  <a:schemeClr val="accent1"/>
                </a:solidFill>
              </a:defRPr>
            </a:lvl2pPr>
            <a:lvl3pPr algn="l">
              <a:defRPr sz="1600" cap="none">
                <a:solidFill>
                  <a:schemeClr val="accent1"/>
                </a:solidFill>
              </a:defRPr>
            </a:lvl3pPr>
            <a:lvl4pPr algn="l">
              <a:defRPr sz="1600" cap="none">
                <a:solidFill>
                  <a:schemeClr val="accent1"/>
                </a:solidFill>
              </a:defRPr>
            </a:lvl4pPr>
            <a:lvl5pPr algn="l">
              <a:defRPr sz="1600" cap="none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CCFA2A9-BC18-4CF8-AD38-42B263119472}"/>
              </a:ext>
            </a:extLst>
          </p:cNvPr>
          <p:cNvSpPr txBox="1"/>
          <p:nvPr userDrawn="1"/>
        </p:nvSpPr>
        <p:spPr>
          <a:xfrm>
            <a:off x="2756995" y="1307904"/>
            <a:ext cx="914033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2000">
                <a:solidFill>
                  <a:schemeClr val="accent1"/>
                </a:solidFill>
                <a:latin typeface="+mj-lt"/>
              </a:rPr>
              <a:t>“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9C98CC0-E077-4ADE-8BC2-9559518E22D8}"/>
              </a:ext>
            </a:extLst>
          </p:cNvPr>
          <p:cNvSpPr txBox="1"/>
          <p:nvPr userDrawn="1"/>
        </p:nvSpPr>
        <p:spPr>
          <a:xfrm>
            <a:off x="7755716" y="3692995"/>
            <a:ext cx="1643399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2000">
                <a:solidFill>
                  <a:schemeClr val="tx2"/>
                </a:solidFill>
                <a:latin typeface="+mj-lt"/>
              </a:rPr>
              <a:t>“</a:t>
            </a:r>
            <a:r>
              <a:rPr lang="en-AU" sz="12000">
                <a:solidFill>
                  <a:schemeClr val="accent1"/>
                </a:solidFill>
                <a:latin typeface="+mj-lt"/>
              </a:rPr>
              <a:t>”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25A78CB-C25F-477B-ACB8-7A8C3B33F7D7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0DC4922-3AFC-43D6-9996-17D5CAC06E9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54801EF-D4C3-4D21-A7DC-76D432B0F00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7CB4A03A-94C8-BFEA-8068-9023E104F6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2170" y="303442"/>
            <a:ext cx="979715" cy="43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482830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10794666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5EE857-4C7E-47C5-A433-5F303A10690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963" y="1413375"/>
            <a:ext cx="10794665" cy="72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3" name="Table Placeholder 12">
            <a:extLst>
              <a:ext uri="{FF2B5EF4-FFF2-40B4-BE49-F238E27FC236}">
                <a16:creationId xmlns:a16="http://schemas.microsoft.com/office/drawing/2014/main" id="{12720170-841B-4714-B671-AE40B2FE0283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334963" y="2243443"/>
            <a:ext cx="10794665" cy="3600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table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4E7EDCB-670C-46CB-A20E-159535CC5C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D18779D-2EB2-4254-A93E-7459659F2BB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8B347AD-5E50-42AC-AFB4-7F625291AB6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0407963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10801351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5EE857-4C7E-47C5-A433-5F303A10690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964" y="1413375"/>
            <a:ext cx="10801350" cy="72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D1ECE4F1-33EB-4137-BED8-59885BB39C47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334963" y="2243442"/>
            <a:ext cx="10801350" cy="3599999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778F5DE-1344-42BD-82D0-6611DD7B1FC6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D0D518F-1062-474E-BA48-10EA56B2C55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2C63567-251B-4660-ADF6-37AB6DCF01D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20556134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D583ABC-22A1-400D-B5EB-018BF7A1B892}"/>
              </a:ext>
            </a:extLst>
          </p:cNvPr>
          <p:cNvSpPr/>
          <p:nvPr userDrawn="1"/>
        </p:nvSpPr>
        <p:spPr>
          <a:xfrm>
            <a:off x="0" y="0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10794666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5EE857-4C7E-47C5-A433-5F303A10690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963" y="1413375"/>
            <a:ext cx="10794665" cy="72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3" name="Table Placeholder 12">
            <a:extLst>
              <a:ext uri="{FF2B5EF4-FFF2-40B4-BE49-F238E27FC236}">
                <a16:creationId xmlns:a16="http://schemas.microsoft.com/office/drawing/2014/main" id="{12720170-841B-4714-B671-AE40B2FE0283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334963" y="2243443"/>
            <a:ext cx="10794665" cy="3600000"/>
          </a:xfrm>
        </p:spPr>
        <p:txBody>
          <a:bodyPr anchor="ctr" anchorCtr="0"/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4E7EDCB-670C-46CB-A20E-159535CC5C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D18779D-2EB2-4254-A93E-7459659F2BB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8B347AD-5E50-42AC-AFB4-7F625291AB6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2FA6FFA2-47D4-767C-57CD-472CB83562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2170" y="303442"/>
            <a:ext cx="979715" cy="43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024917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C60C8A8-1B70-4653-94B4-DE00B5C785B3}"/>
              </a:ext>
            </a:extLst>
          </p:cNvPr>
          <p:cNvSpPr/>
          <p:nvPr userDrawn="1"/>
        </p:nvSpPr>
        <p:spPr>
          <a:xfrm>
            <a:off x="0" y="0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10801351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5EE857-4C7E-47C5-A433-5F303A10690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964" y="1413375"/>
            <a:ext cx="10801350" cy="72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D1ECE4F1-33EB-4137-BED8-59885BB39C47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334963" y="2243442"/>
            <a:ext cx="10801350" cy="3599999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778F5DE-1344-42BD-82D0-6611DD7B1FC6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D0D518F-1062-474E-BA48-10EA56B2C55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2C63567-251B-4660-ADF6-37AB6DCF01D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55A299A2-94E0-10F6-A195-57A32A7EF3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2170" y="303442"/>
            <a:ext cx="979715" cy="43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816928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76849F14-4971-4208-82A8-1F0513897926}"/>
              </a:ext>
            </a:extLst>
          </p:cNvPr>
          <p:cNvSpPr/>
          <p:nvPr userDrawn="1"/>
        </p:nvSpPr>
        <p:spPr>
          <a:xfrm>
            <a:off x="719400" y="-2"/>
            <a:ext cx="107532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096AA35B-6D3E-4809-9D78-9CF31081E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9400" y="-2"/>
            <a:ext cx="4680000" cy="4068000"/>
          </a:xfrm>
          <a:solidFill>
            <a:schemeClr val="tx2"/>
          </a:solidFill>
        </p:spPr>
        <p:txBody>
          <a:bodyPr lIns="342000" tIns="342000" rIns="0" bIns="504000" anchor="b" anchorCtr="0"/>
          <a:lstStyle>
            <a:lvl1pPr>
              <a:defRPr sz="4500">
                <a:solidFill>
                  <a:schemeClr val="accent1"/>
                </a:solidFill>
              </a:defRPr>
            </a:lvl1pPr>
          </a:lstStyle>
          <a:p>
            <a:r>
              <a:rPr lang="en-US"/>
              <a:t>Thank you</a:t>
            </a:r>
            <a:endParaRPr lang="en-AU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FD95F930-CD55-469B-9FD0-1150DA73B39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-2"/>
            <a:ext cx="12192000" cy="6876000"/>
          </a:xfrm>
          <a:custGeom>
            <a:avLst/>
            <a:gdLst>
              <a:gd name="connsiteX0" fmla="*/ 114726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472600 w 12192000"/>
              <a:gd name="connsiteY3" fmla="*/ 6858000 h 6858000"/>
              <a:gd name="connsiteX4" fmla="*/ 0 w 12192000"/>
              <a:gd name="connsiteY4" fmla="*/ 0 h 6858000"/>
              <a:gd name="connsiteX5" fmla="*/ 719400 w 12192000"/>
              <a:gd name="connsiteY5" fmla="*/ 0 h 6858000"/>
              <a:gd name="connsiteX6" fmla="*/ 7194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14726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472600" y="6858000"/>
                </a:lnTo>
                <a:close/>
                <a:moveTo>
                  <a:pt x="0" y="0"/>
                </a:moveTo>
                <a:lnTo>
                  <a:pt x="719400" y="0"/>
                </a:lnTo>
                <a:lnTo>
                  <a:pt x="7194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08000" tIns="108000" rIns="115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F8BC909C-567D-4F9C-A0DF-D05DE8F82075}"/>
              </a:ext>
            </a:extLst>
          </p:cNvPr>
          <p:cNvSpPr>
            <a:spLocks noChangeAspect="1"/>
          </p:cNvSpPr>
          <p:nvPr/>
        </p:nvSpPr>
        <p:spPr>
          <a:xfrm>
            <a:off x="7916652" y="4591756"/>
            <a:ext cx="242382" cy="242382"/>
          </a:xfrm>
          <a:custGeom>
            <a:avLst/>
            <a:gdLst>
              <a:gd name="connsiteX0" fmla="*/ 357950 w 809625"/>
              <a:gd name="connsiteY0" fmla="*/ 333375 h 809625"/>
              <a:gd name="connsiteX1" fmla="*/ 480537 w 809625"/>
              <a:gd name="connsiteY1" fmla="*/ 397002 h 809625"/>
              <a:gd name="connsiteX2" fmla="*/ 357950 w 809625"/>
              <a:gd name="connsiteY2" fmla="*/ 460439 h 809625"/>
              <a:gd name="connsiteX3" fmla="*/ 242887 w 809625"/>
              <a:gd name="connsiteY3" fmla="*/ 249555 h 809625"/>
              <a:gd name="connsiteX4" fmla="*/ 178117 w 809625"/>
              <a:gd name="connsiteY4" fmla="*/ 314325 h 809625"/>
              <a:gd name="connsiteX5" fmla="*/ 178117 w 809625"/>
              <a:gd name="connsiteY5" fmla="*/ 495300 h 809625"/>
              <a:gd name="connsiteX6" fmla="*/ 242887 w 809625"/>
              <a:gd name="connsiteY6" fmla="*/ 560070 h 809625"/>
              <a:gd name="connsiteX7" fmla="*/ 566737 w 809625"/>
              <a:gd name="connsiteY7" fmla="*/ 560070 h 809625"/>
              <a:gd name="connsiteX8" fmla="*/ 631507 w 809625"/>
              <a:gd name="connsiteY8" fmla="*/ 495300 h 809625"/>
              <a:gd name="connsiteX9" fmla="*/ 631507 w 809625"/>
              <a:gd name="connsiteY9" fmla="*/ 314325 h 809625"/>
              <a:gd name="connsiteX10" fmla="*/ 566737 w 809625"/>
              <a:gd name="connsiteY10" fmla="*/ 249555 h 809625"/>
              <a:gd name="connsiteX11" fmla="*/ 404813 w 809625"/>
              <a:gd name="connsiteY11" fmla="*/ 0 h 809625"/>
              <a:gd name="connsiteX12" fmla="*/ 809625 w 809625"/>
              <a:gd name="connsiteY12" fmla="*/ 404813 h 809625"/>
              <a:gd name="connsiteX13" fmla="*/ 404813 w 809625"/>
              <a:gd name="connsiteY13" fmla="*/ 809625 h 809625"/>
              <a:gd name="connsiteX14" fmla="*/ 0 w 809625"/>
              <a:gd name="connsiteY14" fmla="*/ 404813 h 809625"/>
              <a:gd name="connsiteX15" fmla="*/ 404813 w 809625"/>
              <a:gd name="connsiteY15" fmla="*/ 0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809625" h="809625">
                <a:moveTo>
                  <a:pt x="357950" y="333375"/>
                </a:moveTo>
                <a:lnTo>
                  <a:pt x="480537" y="397002"/>
                </a:lnTo>
                <a:lnTo>
                  <a:pt x="357950" y="460439"/>
                </a:lnTo>
                <a:close/>
                <a:moveTo>
                  <a:pt x="242887" y="249555"/>
                </a:moveTo>
                <a:cubicBezTo>
                  <a:pt x="207159" y="249660"/>
                  <a:pt x="178222" y="278597"/>
                  <a:pt x="178117" y="314325"/>
                </a:cubicBezTo>
                <a:lnTo>
                  <a:pt x="178117" y="495300"/>
                </a:lnTo>
                <a:cubicBezTo>
                  <a:pt x="178222" y="531028"/>
                  <a:pt x="207159" y="559965"/>
                  <a:pt x="242887" y="560070"/>
                </a:cubicBezTo>
                <a:lnTo>
                  <a:pt x="566737" y="560070"/>
                </a:lnTo>
                <a:cubicBezTo>
                  <a:pt x="602465" y="559965"/>
                  <a:pt x="631402" y="531028"/>
                  <a:pt x="631507" y="495300"/>
                </a:cubicBezTo>
                <a:lnTo>
                  <a:pt x="631507" y="314325"/>
                </a:lnTo>
                <a:cubicBezTo>
                  <a:pt x="631402" y="278597"/>
                  <a:pt x="602465" y="249660"/>
                  <a:pt x="566737" y="249555"/>
                </a:cubicBezTo>
                <a:close/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2487C176-18A9-4BB0-BD80-DEC34233A800}"/>
              </a:ext>
            </a:extLst>
          </p:cNvPr>
          <p:cNvSpPr>
            <a:spLocks noChangeAspect="1"/>
          </p:cNvSpPr>
          <p:nvPr/>
        </p:nvSpPr>
        <p:spPr>
          <a:xfrm>
            <a:off x="8298996" y="4591756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495146 w 809625"/>
              <a:gd name="connsiteY5" fmla="*/ 220645 h 809625"/>
              <a:gd name="connsiteX6" fmla="*/ 428527 w 809625"/>
              <a:gd name="connsiteY6" fmla="*/ 245841 h 809625"/>
              <a:gd name="connsiteX7" fmla="*/ 399192 w 809625"/>
              <a:gd name="connsiteY7" fmla="*/ 313563 h 809625"/>
              <a:gd name="connsiteX8" fmla="*/ 401573 w 809625"/>
              <a:gd name="connsiteY8" fmla="*/ 334803 h 809625"/>
              <a:gd name="connsiteX9" fmla="*/ 209549 w 809625"/>
              <a:gd name="connsiteY9" fmla="*/ 238125 h 809625"/>
              <a:gd name="connsiteX10" fmla="*/ 238124 w 809625"/>
              <a:gd name="connsiteY10" fmla="*/ 361950 h 809625"/>
              <a:gd name="connsiteX11" fmla="*/ 195928 w 809625"/>
              <a:gd name="connsiteY11" fmla="*/ 350329 h 809625"/>
              <a:gd name="connsiteX12" fmla="*/ 195929 w 809625"/>
              <a:gd name="connsiteY12" fmla="*/ 351567 h 809625"/>
              <a:gd name="connsiteX13" fmla="*/ 270605 w 809625"/>
              <a:gd name="connsiteY13" fmla="*/ 442722 h 809625"/>
              <a:gd name="connsiteX14" fmla="*/ 228599 w 809625"/>
              <a:gd name="connsiteY14" fmla="*/ 444341 h 809625"/>
              <a:gd name="connsiteX15" fmla="*/ 315467 w 809625"/>
              <a:gd name="connsiteY15" fmla="*/ 508920 h 809625"/>
              <a:gd name="connsiteX16" fmla="*/ 200024 w 809625"/>
              <a:gd name="connsiteY16" fmla="*/ 548544 h 809625"/>
              <a:gd name="connsiteX17" fmla="*/ 177831 w 809625"/>
              <a:gd name="connsiteY17" fmla="*/ 547211 h 809625"/>
              <a:gd name="connsiteX18" fmla="*/ 320706 w 809625"/>
              <a:gd name="connsiteY18" fmla="*/ 589026 h 809625"/>
              <a:gd name="connsiteX19" fmla="*/ 585406 w 809625"/>
              <a:gd name="connsiteY19" fmla="*/ 324421 h 809625"/>
              <a:gd name="connsiteX20" fmla="*/ 585406 w 809625"/>
              <a:gd name="connsiteY20" fmla="*/ 312324 h 809625"/>
              <a:gd name="connsiteX21" fmla="*/ 631507 w 809625"/>
              <a:gd name="connsiteY21" fmla="*/ 264223 h 809625"/>
              <a:gd name="connsiteX22" fmla="*/ 578072 w 809625"/>
              <a:gd name="connsiteY22" fmla="*/ 278892 h 809625"/>
              <a:gd name="connsiteX23" fmla="*/ 619124 w 809625"/>
              <a:gd name="connsiteY23" fmla="*/ 227361 h 809625"/>
              <a:gd name="connsiteX24" fmla="*/ 560069 w 809625"/>
              <a:gd name="connsiteY24" fmla="*/ 249936 h 809625"/>
              <a:gd name="connsiteX25" fmla="*/ 495146 w 809625"/>
              <a:gd name="connsiteY25" fmla="*/ 220645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495146" y="220645"/>
                </a:moveTo>
                <a:cubicBezTo>
                  <a:pt x="471342" y="219904"/>
                  <a:pt x="447255" y="228245"/>
                  <a:pt x="428527" y="245841"/>
                </a:cubicBezTo>
                <a:cubicBezTo>
                  <a:pt x="409833" y="263407"/>
                  <a:pt x="399219" y="287911"/>
                  <a:pt x="399192" y="313563"/>
                </a:cubicBezTo>
                <a:cubicBezTo>
                  <a:pt x="399204" y="320709"/>
                  <a:pt x="400003" y="327832"/>
                  <a:pt x="401573" y="334803"/>
                </a:cubicBezTo>
                <a:cubicBezTo>
                  <a:pt x="326768" y="331204"/>
                  <a:pt x="256991" y="296073"/>
                  <a:pt x="209549" y="238125"/>
                </a:cubicBezTo>
                <a:cubicBezTo>
                  <a:pt x="185023" y="280491"/>
                  <a:pt x="197513" y="334615"/>
                  <a:pt x="238124" y="361950"/>
                </a:cubicBezTo>
                <a:cubicBezTo>
                  <a:pt x="223336" y="361482"/>
                  <a:pt x="208871" y="357499"/>
                  <a:pt x="195928" y="350329"/>
                </a:cubicBezTo>
                <a:lnTo>
                  <a:pt x="195929" y="351567"/>
                </a:lnTo>
                <a:cubicBezTo>
                  <a:pt x="195962" y="395849"/>
                  <a:pt x="227195" y="433974"/>
                  <a:pt x="270605" y="442722"/>
                </a:cubicBezTo>
                <a:cubicBezTo>
                  <a:pt x="256901" y="446399"/>
                  <a:pt x="242546" y="446952"/>
                  <a:pt x="228599" y="444341"/>
                </a:cubicBezTo>
                <a:cubicBezTo>
                  <a:pt x="240745" y="482243"/>
                  <a:pt x="275672" y="508209"/>
                  <a:pt x="315467" y="508920"/>
                </a:cubicBezTo>
                <a:cubicBezTo>
                  <a:pt x="282513" y="534690"/>
                  <a:pt x="241858" y="548644"/>
                  <a:pt x="200024" y="548544"/>
                </a:cubicBezTo>
                <a:cubicBezTo>
                  <a:pt x="192607" y="548536"/>
                  <a:pt x="185196" y="548091"/>
                  <a:pt x="177831" y="547211"/>
                </a:cubicBezTo>
                <a:cubicBezTo>
                  <a:pt x="220421" y="574649"/>
                  <a:pt x="270043" y="589172"/>
                  <a:pt x="320706" y="589026"/>
                </a:cubicBezTo>
                <a:cubicBezTo>
                  <a:pt x="492156" y="589026"/>
                  <a:pt x="585406" y="447294"/>
                  <a:pt x="585406" y="324421"/>
                </a:cubicBezTo>
                <a:cubicBezTo>
                  <a:pt x="585406" y="320325"/>
                  <a:pt x="585406" y="316325"/>
                  <a:pt x="585406" y="312324"/>
                </a:cubicBezTo>
                <a:cubicBezTo>
                  <a:pt x="603503" y="299151"/>
                  <a:pt x="619113" y="282863"/>
                  <a:pt x="631507" y="264223"/>
                </a:cubicBezTo>
                <a:cubicBezTo>
                  <a:pt x="614513" y="271713"/>
                  <a:pt x="596508" y="276656"/>
                  <a:pt x="578072" y="278892"/>
                </a:cubicBezTo>
                <a:cubicBezTo>
                  <a:pt x="597588" y="267302"/>
                  <a:pt x="612190" y="248974"/>
                  <a:pt x="619124" y="227361"/>
                </a:cubicBezTo>
                <a:cubicBezTo>
                  <a:pt x="600877" y="238213"/>
                  <a:pt x="580902" y="245848"/>
                  <a:pt x="560069" y="249936"/>
                </a:cubicBezTo>
                <a:cubicBezTo>
                  <a:pt x="542473" y="231209"/>
                  <a:pt x="518951" y="221387"/>
                  <a:pt x="495146" y="22064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41393088-2A2D-4F19-A536-4C5B46718A69}"/>
              </a:ext>
            </a:extLst>
          </p:cNvPr>
          <p:cNvSpPr>
            <a:spLocks noChangeAspect="1"/>
          </p:cNvSpPr>
          <p:nvPr/>
        </p:nvSpPr>
        <p:spPr>
          <a:xfrm>
            <a:off x="8681340" y="4591756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230981 w 809625"/>
              <a:gd name="connsiteY5" fmla="*/ 177069 h 809625"/>
              <a:gd name="connsiteX6" fmla="*/ 176498 w 809625"/>
              <a:gd name="connsiteY6" fmla="*/ 231552 h 809625"/>
              <a:gd name="connsiteX7" fmla="*/ 230981 w 809625"/>
              <a:gd name="connsiteY7" fmla="*/ 286035 h 809625"/>
              <a:gd name="connsiteX8" fmla="*/ 285464 w 809625"/>
              <a:gd name="connsiteY8" fmla="*/ 231552 h 809625"/>
              <a:gd name="connsiteX9" fmla="*/ 230981 w 809625"/>
              <a:gd name="connsiteY9" fmla="*/ 177069 h 809625"/>
              <a:gd name="connsiteX10" fmla="*/ 517493 w 809625"/>
              <a:gd name="connsiteY10" fmla="*/ 319849 h 809625"/>
              <a:gd name="connsiteX11" fmla="*/ 428625 w 809625"/>
              <a:gd name="connsiteY11" fmla="*/ 368617 h 809625"/>
              <a:gd name="connsiteX12" fmla="*/ 426910 w 809625"/>
              <a:gd name="connsiteY12" fmla="*/ 368617 h 809625"/>
              <a:gd name="connsiteX13" fmla="*/ 426910 w 809625"/>
              <a:gd name="connsiteY13" fmla="*/ 327278 h 809625"/>
              <a:gd name="connsiteX14" fmla="*/ 336899 w 809625"/>
              <a:gd name="connsiteY14" fmla="*/ 327278 h 809625"/>
              <a:gd name="connsiteX15" fmla="*/ 336899 w 809625"/>
              <a:gd name="connsiteY15" fmla="*/ 629602 h 809625"/>
              <a:gd name="connsiteX16" fmla="*/ 430720 w 809625"/>
              <a:gd name="connsiteY16" fmla="*/ 629602 h 809625"/>
              <a:gd name="connsiteX17" fmla="*/ 430720 w 809625"/>
              <a:gd name="connsiteY17" fmla="*/ 480059 h 809625"/>
              <a:gd name="connsiteX18" fmla="*/ 487108 w 809625"/>
              <a:gd name="connsiteY18" fmla="*/ 402430 h 809625"/>
              <a:gd name="connsiteX19" fmla="*/ 535876 w 809625"/>
              <a:gd name="connsiteY19" fmla="*/ 482631 h 809625"/>
              <a:gd name="connsiteX20" fmla="*/ 535876 w 809625"/>
              <a:gd name="connsiteY20" fmla="*/ 629602 h 809625"/>
              <a:gd name="connsiteX21" fmla="*/ 630174 w 809625"/>
              <a:gd name="connsiteY21" fmla="*/ 629602 h 809625"/>
              <a:gd name="connsiteX22" fmla="*/ 630174 w 809625"/>
              <a:gd name="connsiteY22" fmla="*/ 463771 h 809625"/>
              <a:gd name="connsiteX23" fmla="*/ 517493 w 809625"/>
              <a:gd name="connsiteY23" fmla="*/ 319849 h 809625"/>
              <a:gd name="connsiteX24" fmla="*/ 183927 w 809625"/>
              <a:gd name="connsiteY24" fmla="*/ 327278 h 809625"/>
              <a:gd name="connsiteX25" fmla="*/ 183927 w 809625"/>
              <a:gd name="connsiteY25" fmla="*/ 629602 h 809625"/>
              <a:gd name="connsiteX26" fmla="*/ 277939 w 809625"/>
              <a:gd name="connsiteY26" fmla="*/ 629602 h 809625"/>
              <a:gd name="connsiteX27" fmla="*/ 277939 w 809625"/>
              <a:gd name="connsiteY27" fmla="*/ 327278 h 809625"/>
              <a:gd name="connsiteX28" fmla="*/ 183927 w 809625"/>
              <a:gd name="connsiteY28" fmla="*/ 327278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230981" y="177069"/>
                </a:moveTo>
                <a:cubicBezTo>
                  <a:pt x="200891" y="177069"/>
                  <a:pt x="176498" y="201462"/>
                  <a:pt x="176498" y="231552"/>
                </a:cubicBezTo>
                <a:cubicBezTo>
                  <a:pt x="176498" y="261642"/>
                  <a:pt x="200891" y="286035"/>
                  <a:pt x="230981" y="286035"/>
                </a:cubicBezTo>
                <a:cubicBezTo>
                  <a:pt x="261071" y="286035"/>
                  <a:pt x="285464" y="261642"/>
                  <a:pt x="285464" y="231552"/>
                </a:cubicBezTo>
                <a:cubicBezTo>
                  <a:pt x="285464" y="201462"/>
                  <a:pt x="261071" y="177069"/>
                  <a:pt x="230981" y="177069"/>
                </a:cubicBezTo>
                <a:close/>
                <a:moveTo>
                  <a:pt x="517493" y="319849"/>
                </a:moveTo>
                <a:cubicBezTo>
                  <a:pt x="481146" y="318484"/>
                  <a:pt x="446996" y="337225"/>
                  <a:pt x="428625" y="368617"/>
                </a:cubicBezTo>
                <a:lnTo>
                  <a:pt x="426910" y="368617"/>
                </a:lnTo>
                <a:lnTo>
                  <a:pt x="426910" y="327278"/>
                </a:lnTo>
                <a:lnTo>
                  <a:pt x="336899" y="327278"/>
                </a:lnTo>
                <a:lnTo>
                  <a:pt x="336899" y="629602"/>
                </a:lnTo>
                <a:lnTo>
                  <a:pt x="430720" y="629602"/>
                </a:lnTo>
                <a:lnTo>
                  <a:pt x="430720" y="480059"/>
                </a:lnTo>
                <a:cubicBezTo>
                  <a:pt x="430720" y="440530"/>
                  <a:pt x="438912" y="402430"/>
                  <a:pt x="487108" y="402430"/>
                </a:cubicBezTo>
                <a:cubicBezTo>
                  <a:pt x="535305" y="402430"/>
                  <a:pt x="535876" y="447579"/>
                  <a:pt x="535876" y="482631"/>
                </a:cubicBezTo>
                <a:lnTo>
                  <a:pt x="535876" y="629602"/>
                </a:lnTo>
                <a:lnTo>
                  <a:pt x="630174" y="629602"/>
                </a:lnTo>
                <a:lnTo>
                  <a:pt x="630174" y="463771"/>
                </a:lnTo>
                <a:cubicBezTo>
                  <a:pt x="630174" y="382428"/>
                  <a:pt x="612743" y="319849"/>
                  <a:pt x="517493" y="319849"/>
                </a:cubicBezTo>
                <a:close/>
                <a:moveTo>
                  <a:pt x="183927" y="327278"/>
                </a:moveTo>
                <a:lnTo>
                  <a:pt x="183927" y="629602"/>
                </a:lnTo>
                <a:lnTo>
                  <a:pt x="277939" y="629602"/>
                </a:lnTo>
                <a:lnTo>
                  <a:pt x="277939" y="327278"/>
                </a:lnTo>
                <a:lnTo>
                  <a:pt x="183927" y="32727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F1F78FC3-536A-4C34-B2A3-95085DF38A8D}"/>
              </a:ext>
            </a:extLst>
          </p:cNvPr>
          <p:cNvSpPr>
            <a:spLocks noChangeAspect="1"/>
          </p:cNvSpPr>
          <p:nvPr/>
        </p:nvSpPr>
        <p:spPr>
          <a:xfrm>
            <a:off x="9063685" y="4591756"/>
            <a:ext cx="242382" cy="242382"/>
          </a:xfrm>
          <a:custGeom>
            <a:avLst/>
            <a:gdLst>
              <a:gd name="connsiteX0" fmla="*/ 404812 w 809625"/>
              <a:gd name="connsiteY0" fmla="*/ 288417 h 809625"/>
              <a:gd name="connsiteX1" fmla="*/ 288417 w 809625"/>
              <a:gd name="connsiteY1" fmla="*/ 404812 h 809625"/>
              <a:gd name="connsiteX2" fmla="*/ 404812 w 809625"/>
              <a:gd name="connsiteY2" fmla="*/ 521208 h 809625"/>
              <a:gd name="connsiteX3" fmla="*/ 521208 w 809625"/>
              <a:gd name="connsiteY3" fmla="*/ 404812 h 809625"/>
              <a:gd name="connsiteX4" fmla="*/ 404812 w 809625"/>
              <a:gd name="connsiteY4" fmla="*/ 288417 h 809625"/>
              <a:gd name="connsiteX5" fmla="*/ 525780 w 809625"/>
              <a:gd name="connsiteY5" fmla="*/ 256603 h 809625"/>
              <a:gd name="connsiteX6" fmla="*/ 498538 w 809625"/>
              <a:gd name="connsiteY6" fmla="*/ 283844 h 809625"/>
              <a:gd name="connsiteX7" fmla="*/ 525780 w 809625"/>
              <a:gd name="connsiteY7" fmla="*/ 311086 h 809625"/>
              <a:gd name="connsiteX8" fmla="*/ 553021 w 809625"/>
              <a:gd name="connsiteY8" fmla="*/ 283844 h 809625"/>
              <a:gd name="connsiteX9" fmla="*/ 525780 w 809625"/>
              <a:gd name="connsiteY9" fmla="*/ 256603 h 809625"/>
              <a:gd name="connsiteX10" fmla="*/ 404812 w 809625"/>
              <a:gd name="connsiteY10" fmla="*/ 219075 h 809625"/>
              <a:gd name="connsiteX11" fmla="*/ 496443 w 809625"/>
              <a:gd name="connsiteY11" fmla="*/ 220408 h 809625"/>
              <a:gd name="connsiteX12" fmla="*/ 538543 w 809625"/>
              <a:gd name="connsiteY12" fmla="*/ 228218 h 809625"/>
              <a:gd name="connsiteX13" fmla="*/ 581501 w 809625"/>
              <a:gd name="connsiteY13" fmla="*/ 271176 h 809625"/>
              <a:gd name="connsiteX14" fmla="*/ 589311 w 809625"/>
              <a:gd name="connsiteY14" fmla="*/ 313277 h 809625"/>
              <a:gd name="connsiteX15" fmla="*/ 590645 w 809625"/>
              <a:gd name="connsiteY15" fmla="*/ 404907 h 809625"/>
              <a:gd name="connsiteX16" fmla="*/ 589311 w 809625"/>
              <a:gd name="connsiteY16" fmla="*/ 496538 h 809625"/>
              <a:gd name="connsiteX17" fmla="*/ 581501 w 809625"/>
              <a:gd name="connsiteY17" fmla="*/ 538638 h 809625"/>
              <a:gd name="connsiteX18" fmla="*/ 538543 w 809625"/>
              <a:gd name="connsiteY18" fmla="*/ 581596 h 809625"/>
              <a:gd name="connsiteX19" fmla="*/ 496443 w 809625"/>
              <a:gd name="connsiteY19" fmla="*/ 589406 h 809625"/>
              <a:gd name="connsiteX20" fmla="*/ 404812 w 809625"/>
              <a:gd name="connsiteY20" fmla="*/ 590740 h 809625"/>
              <a:gd name="connsiteX21" fmla="*/ 313182 w 809625"/>
              <a:gd name="connsiteY21" fmla="*/ 589407 h 809625"/>
              <a:gd name="connsiteX22" fmla="*/ 271081 w 809625"/>
              <a:gd name="connsiteY22" fmla="*/ 581596 h 809625"/>
              <a:gd name="connsiteX23" fmla="*/ 228600 w 809625"/>
              <a:gd name="connsiteY23" fmla="*/ 538543 h 809625"/>
              <a:gd name="connsiteX24" fmla="*/ 220789 w 809625"/>
              <a:gd name="connsiteY24" fmla="*/ 496443 h 809625"/>
              <a:gd name="connsiteX25" fmla="*/ 219075 w 809625"/>
              <a:gd name="connsiteY25" fmla="*/ 404812 h 809625"/>
              <a:gd name="connsiteX26" fmla="*/ 220408 w 809625"/>
              <a:gd name="connsiteY26" fmla="*/ 313182 h 809625"/>
              <a:gd name="connsiteX27" fmla="*/ 228600 w 809625"/>
              <a:gd name="connsiteY27" fmla="*/ 271081 h 809625"/>
              <a:gd name="connsiteX28" fmla="*/ 271081 w 809625"/>
              <a:gd name="connsiteY28" fmla="*/ 228600 h 809625"/>
              <a:gd name="connsiteX29" fmla="*/ 313181 w 809625"/>
              <a:gd name="connsiteY29" fmla="*/ 220789 h 809625"/>
              <a:gd name="connsiteX30" fmla="*/ 404812 w 809625"/>
              <a:gd name="connsiteY30" fmla="*/ 219075 h 809625"/>
              <a:gd name="connsiteX31" fmla="*/ 405669 w 809625"/>
              <a:gd name="connsiteY31" fmla="*/ 177736 h 809625"/>
              <a:gd name="connsiteX32" fmla="*/ 404812 w 809625"/>
              <a:gd name="connsiteY32" fmla="*/ 178212 h 809625"/>
              <a:gd name="connsiteX33" fmla="*/ 311372 w 809625"/>
              <a:gd name="connsiteY33" fmla="*/ 179546 h 809625"/>
              <a:gd name="connsiteX34" fmla="*/ 256317 w 809625"/>
              <a:gd name="connsiteY34" fmla="*/ 190500 h 809625"/>
              <a:gd name="connsiteX35" fmla="*/ 189642 w 809625"/>
              <a:gd name="connsiteY35" fmla="*/ 257175 h 809625"/>
              <a:gd name="connsiteX36" fmla="*/ 179069 w 809625"/>
              <a:gd name="connsiteY36" fmla="*/ 312229 h 809625"/>
              <a:gd name="connsiteX37" fmla="*/ 177736 w 809625"/>
              <a:gd name="connsiteY37" fmla="*/ 405669 h 809625"/>
              <a:gd name="connsiteX38" fmla="*/ 179069 w 809625"/>
              <a:gd name="connsiteY38" fmla="*/ 499110 h 809625"/>
              <a:gd name="connsiteX39" fmla="*/ 190500 w 809625"/>
              <a:gd name="connsiteY39" fmla="*/ 553307 h 809625"/>
              <a:gd name="connsiteX40" fmla="*/ 257175 w 809625"/>
              <a:gd name="connsiteY40" fmla="*/ 619982 h 809625"/>
              <a:gd name="connsiteX41" fmla="*/ 312229 w 809625"/>
              <a:gd name="connsiteY41" fmla="*/ 630554 h 809625"/>
              <a:gd name="connsiteX42" fmla="*/ 405669 w 809625"/>
              <a:gd name="connsiteY42" fmla="*/ 631888 h 809625"/>
              <a:gd name="connsiteX43" fmla="*/ 499110 w 809625"/>
              <a:gd name="connsiteY43" fmla="*/ 630554 h 809625"/>
              <a:gd name="connsiteX44" fmla="*/ 554164 w 809625"/>
              <a:gd name="connsiteY44" fmla="*/ 619982 h 809625"/>
              <a:gd name="connsiteX45" fmla="*/ 620839 w 809625"/>
              <a:gd name="connsiteY45" fmla="*/ 553307 h 809625"/>
              <a:gd name="connsiteX46" fmla="*/ 631412 w 809625"/>
              <a:gd name="connsiteY46" fmla="*/ 498252 h 809625"/>
              <a:gd name="connsiteX47" fmla="*/ 632745 w 809625"/>
              <a:gd name="connsiteY47" fmla="*/ 404812 h 809625"/>
              <a:gd name="connsiteX48" fmla="*/ 631412 w 809625"/>
              <a:gd name="connsiteY48" fmla="*/ 311372 h 809625"/>
              <a:gd name="connsiteX49" fmla="*/ 620839 w 809625"/>
              <a:gd name="connsiteY49" fmla="*/ 256317 h 809625"/>
              <a:gd name="connsiteX50" fmla="*/ 554164 w 809625"/>
              <a:gd name="connsiteY50" fmla="*/ 189642 h 809625"/>
              <a:gd name="connsiteX51" fmla="*/ 499110 w 809625"/>
              <a:gd name="connsiteY51" fmla="*/ 179069 h 809625"/>
              <a:gd name="connsiteX52" fmla="*/ 405669 w 809625"/>
              <a:gd name="connsiteY52" fmla="*/ 177736 h 809625"/>
              <a:gd name="connsiteX53" fmla="*/ 404813 w 809625"/>
              <a:gd name="connsiteY53" fmla="*/ 0 h 809625"/>
              <a:gd name="connsiteX54" fmla="*/ 809625 w 809625"/>
              <a:gd name="connsiteY54" fmla="*/ 404813 h 809625"/>
              <a:gd name="connsiteX55" fmla="*/ 404813 w 809625"/>
              <a:gd name="connsiteY55" fmla="*/ 809625 h 809625"/>
              <a:gd name="connsiteX56" fmla="*/ 0 w 809625"/>
              <a:gd name="connsiteY56" fmla="*/ 404813 h 809625"/>
              <a:gd name="connsiteX57" fmla="*/ 404813 w 809625"/>
              <a:gd name="connsiteY57" fmla="*/ 0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809625" h="809625">
                <a:moveTo>
                  <a:pt x="404812" y="288417"/>
                </a:moveTo>
                <a:cubicBezTo>
                  <a:pt x="340529" y="288417"/>
                  <a:pt x="288417" y="340529"/>
                  <a:pt x="288417" y="404812"/>
                </a:cubicBezTo>
                <a:cubicBezTo>
                  <a:pt x="288417" y="469096"/>
                  <a:pt x="340529" y="521208"/>
                  <a:pt x="404812" y="521208"/>
                </a:cubicBezTo>
                <a:cubicBezTo>
                  <a:pt x="469096" y="521208"/>
                  <a:pt x="521208" y="469096"/>
                  <a:pt x="521208" y="404812"/>
                </a:cubicBezTo>
                <a:cubicBezTo>
                  <a:pt x="521208" y="340529"/>
                  <a:pt x="469096" y="288417"/>
                  <a:pt x="404812" y="288417"/>
                </a:cubicBezTo>
                <a:close/>
                <a:moveTo>
                  <a:pt x="525780" y="256603"/>
                </a:moveTo>
                <a:cubicBezTo>
                  <a:pt x="510734" y="256603"/>
                  <a:pt x="498538" y="268799"/>
                  <a:pt x="498538" y="283844"/>
                </a:cubicBezTo>
                <a:cubicBezTo>
                  <a:pt x="498538" y="298890"/>
                  <a:pt x="510734" y="311086"/>
                  <a:pt x="525780" y="311086"/>
                </a:cubicBezTo>
                <a:cubicBezTo>
                  <a:pt x="540825" y="311086"/>
                  <a:pt x="553021" y="298890"/>
                  <a:pt x="553021" y="283844"/>
                </a:cubicBezTo>
                <a:cubicBezTo>
                  <a:pt x="553021" y="268799"/>
                  <a:pt x="540825" y="256603"/>
                  <a:pt x="525780" y="256603"/>
                </a:cubicBezTo>
                <a:close/>
                <a:moveTo>
                  <a:pt x="404812" y="219075"/>
                </a:moveTo>
                <a:cubicBezTo>
                  <a:pt x="465296" y="219075"/>
                  <a:pt x="472535" y="219075"/>
                  <a:pt x="496443" y="220408"/>
                </a:cubicBezTo>
                <a:cubicBezTo>
                  <a:pt x="510824" y="220533"/>
                  <a:pt x="525073" y="223177"/>
                  <a:pt x="538543" y="228218"/>
                </a:cubicBezTo>
                <a:cubicBezTo>
                  <a:pt x="558257" y="235874"/>
                  <a:pt x="573845" y="251463"/>
                  <a:pt x="581501" y="271176"/>
                </a:cubicBezTo>
                <a:cubicBezTo>
                  <a:pt x="586542" y="284646"/>
                  <a:pt x="589186" y="298895"/>
                  <a:pt x="589311" y="313277"/>
                </a:cubicBezTo>
                <a:cubicBezTo>
                  <a:pt x="590454" y="337185"/>
                  <a:pt x="590645" y="344424"/>
                  <a:pt x="590645" y="404907"/>
                </a:cubicBezTo>
                <a:cubicBezTo>
                  <a:pt x="590645" y="465391"/>
                  <a:pt x="590645" y="472630"/>
                  <a:pt x="589311" y="496538"/>
                </a:cubicBezTo>
                <a:cubicBezTo>
                  <a:pt x="589186" y="510920"/>
                  <a:pt x="586543" y="525168"/>
                  <a:pt x="581501" y="538638"/>
                </a:cubicBezTo>
                <a:cubicBezTo>
                  <a:pt x="573845" y="558352"/>
                  <a:pt x="558257" y="573940"/>
                  <a:pt x="538543" y="581596"/>
                </a:cubicBezTo>
                <a:cubicBezTo>
                  <a:pt x="525073" y="586638"/>
                  <a:pt x="510824" y="589281"/>
                  <a:pt x="496443" y="589406"/>
                </a:cubicBezTo>
                <a:cubicBezTo>
                  <a:pt x="472535" y="590550"/>
                  <a:pt x="465391" y="590740"/>
                  <a:pt x="404812" y="590740"/>
                </a:cubicBezTo>
                <a:cubicBezTo>
                  <a:pt x="344233" y="590740"/>
                  <a:pt x="337089" y="590740"/>
                  <a:pt x="313182" y="589407"/>
                </a:cubicBezTo>
                <a:cubicBezTo>
                  <a:pt x="298800" y="589281"/>
                  <a:pt x="284551" y="586638"/>
                  <a:pt x="271081" y="581596"/>
                </a:cubicBezTo>
                <a:cubicBezTo>
                  <a:pt x="251529" y="573808"/>
                  <a:pt x="236125" y="558197"/>
                  <a:pt x="228600" y="538543"/>
                </a:cubicBezTo>
                <a:cubicBezTo>
                  <a:pt x="223558" y="525073"/>
                  <a:pt x="220914" y="510824"/>
                  <a:pt x="220789" y="496443"/>
                </a:cubicBezTo>
                <a:cubicBezTo>
                  <a:pt x="219075" y="472535"/>
                  <a:pt x="219075" y="465296"/>
                  <a:pt x="219075" y="404812"/>
                </a:cubicBezTo>
                <a:cubicBezTo>
                  <a:pt x="219075" y="344328"/>
                  <a:pt x="219075" y="337089"/>
                  <a:pt x="220408" y="313182"/>
                </a:cubicBezTo>
                <a:cubicBezTo>
                  <a:pt x="220655" y="298777"/>
                  <a:pt x="223428" y="284527"/>
                  <a:pt x="228600" y="271081"/>
                </a:cubicBezTo>
                <a:cubicBezTo>
                  <a:pt x="236258" y="251643"/>
                  <a:pt x="251643" y="236258"/>
                  <a:pt x="271081" y="228600"/>
                </a:cubicBezTo>
                <a:cubicBezTo>
                  <a:pt x="284551" y="223558"/>
                  <a:pt x="298800" y="220914"/>
                  <a:pt x="313181" y="220789"/>
                </a:cubicBezTo>
                <a:cubicBezTo>
                  <a:pt x="337089" y="219075"/>
                  <a:pt x="344328" y="219075"/>
                  <a:pt x="404812" y="219075"/>
                </a:cubicBezTo>
                <a:close/>
                <a:moveTo>
                  <a:pt x="405669" y="177736"/>
                </a:moveTo>
                <a:lnTo>
                  <a:pt x="404812" y="178212"/>
                </a:lnTo>
                <a:cubicBezTo>
                  <a:pt x="343281" y="178212"/>
                  <a:pt x="335565" y="178212"/>
                  <a:pt x="311372" y="179546"/>
                </a:cubicBezTo>
                <a:cubicBezTo>
                  <a:pt x="292533" y="180057"/>
                  <a:pt x="273917" y="183760"/>
                  <a:pt x="256317" y="190500"/>
                </a:cubicBezTo>
                <a:cubicBezTo>
                  <a:pt x="225602" y="202200"/>
                  <a:pt x="201343" y="226459"/>
                  <a:pt x="189642" y="257175"/>
                </a:cubicBezTo>
                <a:cubicBezTo>
                  <a:pt x="183033" y="274797"/>
                  <a:pt x="179458" y="293412"/>
                  <a:pt x="179069" y="312229"/>
                </a:cubicBezTo>
                <a:cubicBezTo>
                  <a:pt x="178022" y="336423"/>
                  <a:pt x="177736" y="344138"/>
                  <a:pt x="177736" y="405669"/>
                </a:cubicBezTo>
                <a:cubicBezTo>
                  <a:pt x="177736" y="467201"/>
                  <a:pt x="177736" y="474916"/>
                  <a:pt x="179069" y="499110"/>
                </a:cubicBezTo>
                <a:cubicBezTo>
                  <a:pt x="179828" y="517687"/>
                  <a:pt x="183692" y="536005"/>
                  <a:pt x="190500" y="553307"/>
                </a:cubicBezTo>
                <a:cubicBezTo>
                  <a:pt x="202200" y="584022"/>
                  <a:pt x="226459" y="608281"/>
                  <a:pt x="257175" y="619982"/>
                </a:cubicBezTo>
                <a:cubicBezTo>
                  <a:pt x="274797" y="626591"/>
                  <a:pt x="293412" y="630165"/>
                  <a:pt x="312229" y="630554"/>
                </a:cubicBezTo>
                <a:cubicBezTo>
                  <a:pt x="336423" y="631602"/>
                  <a:pt x="344138" y="631888"/>
                  <a:pt x="405669" y="631888"/>
                </a:cubicBezTo>
                <a:cubicBezTo>
                  <a:pt x="467201" y="631888"/>
                  <a:pt x="474916" y="631888"/>
                  <a:pt x="499110" y="630554"/>
                </a:cubicBezTo>
                <a:cubicBezTo>
                  <a:pt x="517927" y="630165"/>
                  <a:pt x="536542" y="626591"/>
                  <a:pt x="554164" y="619982"/>
                </a:cubicBezTo>
                <a:cubicBezTo>
                  <a:pt x="584880" y="608281"/>
                  <a:pt x="609138" y="584022"/>
                  <a:pt x="620839" y="553307"/>
                </a:cubicBezTo>
                <a:cubicBezTo>
                  <a:pt x="627448" y="535684"/>
                  <a:pt x="631023" y="517069"/>
                  <a:pt x="631412" y="498252"/>
                </a:cubicBezTo>
                <a:cubicBezTo>
                  <a:pt x="632460" y="474059"/>
                  <a:pt x="632745" y="466344"/>
                  <a:pt x="632745" y="404812"/>
                </a:cubicBezTo>
                <a:cubicBezTo>
                  <a:pt x="632745" y="343281"/>
                  <a:pt x="632745" y="335565"/>
                  <a:pt x="631412" y="311372"/>
                </a:cubicBezTo>
                <a:cubicBezTo>
                  <a:pt x="631023" y="292555"/>
                  <a:pt x="627448" y="273940"/>
                  <a:pt x="620839" y="256317"/>
                </a:cubicBezTo>
                <a:cubicBezTo>
                  <a:pt x="609138" y="225602"/>
                  <a:pt x="584880" y="201343"/>
                  <a:pt x="554164" y="189642"/>
                </a:cubicBezTo>
                <a:cubicBezTo>
                  <a:pt x="536542" y="183033"/>
                  <a:pt x="517927" y="179458"/>
                  <a:pt x="499110" y="179069"/>
                </a:cubicBezTo>
                <a:cubicBezTo>
                  <a:pt x="474916" y="178022"/>
                  <a:pt x="467201" y="177736"/>
                  <a:pt x="405669" y="177736"/>
                </a:cubicBezTo>
                <a:close/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37645F6A-EDD9-42D2-A01C-F8414798D57C}"/>
              </a:ext>
            </a:extLst>
          </p:cNvPr>
          <p:cNvSpPr>
            <a:spLocks noChangeAspect="1"/>
          </p:cNvSpPr>
          <p:nvPr/>
        </p:nvSpPr>
        <p:spPr>
          <a:xfrm>
            <a:off x="9446029" y="4591756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207835 w 809625"/>
              <a:gd name="connsiteY5" fmla="*/ 183451 h 809625"/>
              <a:gd name="connsiteX6" fmla="*/ 183451 w 809625"/>
              <a:gd name="connsiteY6" fmla="*/ 207835 h 809625"/>
              <a:gd name="connsiteX7" fmla="*/ 183451 w 809625"/>
              <a:gd name="connsiteY7" fmla="*/ 601789 h 809625"/>
              <a:gd name="connsiteX8" fmla="*/ 207835 w 809625"/>
              <a:gd name="connsiteY8" fmla="*/ 626173 h 809625"/>
              <a:gd name="connsiteX9" fmla="*/ 419957 w 809625"/>
              <a:gd name="connsiteY9" fmla="*/ 626173 h 809625"/>
              <a:gd name="connsiteX10" fmla="*/ 419957 w 809625"/>
              <a:gd name="connsiteY10" fmla="*/ 454723 h 809625"/>
              <a:gd name="connsiteX11" fmla="*/ 361950 w 809625"/>
              <a:gd name="connsiteY11" fmla="*/ 454723 h 809625"/>
              <a:gd name="connsiteX12" fmla="*/ 361950 w 809625"/>
              <a:gd name="connsiteY12" fmla="*/ 388048 h 809625"/>
              <a:gd name="connsiteX13" fmla="*/ 419671 w 809625"/>
              <a:gd name="connsiteY13" fmla="*/ 388048 h 809625"/>
              <a:gd name="connsiteX14" fmla="*/ 419671 w 809625"/>
              <a:gd name="connsiteY14" fmla="*/ 338613 h 809625"/>
              <a:gd name="connsiteX15" fmla="*/ 505396 w 809625"/>
              <a:gd name="connsiteY15" fmla="*/ 250317 h 809625"/>
              <a:gd name="connsiteX16" fmla="*/ 556926 w 809625"/>
              <a:gd name="connsiteY16" fmla="*/ 252984 h 809625"/>
              <a:gd name="connsiteX17" fmla="*/ 556926 w 809625"/>
              <a:gd name="connsiteY17" fmla="*/ 312705 h 809625"/>
              <a:gd name="connsiteX18" fmla="*/ 522065 w 809625"/>
              <a:gd name="connsiteY18" fmla="*/ 312705 h 809625"/>
              <a:gd name="connsiteX19" fmla="*/ 488918 w 809625"/>
              <a:gd name="connsiteY19" fmla="*/ 345281 h 809625"/>
              <a:gd name="connsiteX20" fmla="*/ 488918 w 809625"/>
              <a:gd name="connsiteY20" fmla="*/ 387953 h 809625"/>
              <a:gd name="connsiteX21" fmla="*/ 555593 w 809625"/>
              <a:gd name="connsiteY21" fmla="*/ 387953 h 809625"/>
              <a:gd name="connsiteX22" fmla="*/ 546925 w 809625"/>
              <a:gd name="connsiteY22" fmla="*/ 454628 h 809625"/>
              <a:gd name="connsiteX23" fmla="*/ 489775 w 809625"/>
              <a:gd name="connsiteY23" fmla="*/ 454628 h 809625"/>
              <a:gd name="connsiteX24" fmla="*/ 489775 w 809625"/>
              <a:gd name="connsiteY24" fmla="*/ 626078 h 809625"/>
              <a:gd name="connsiteX25" fmla="*/ 601789 w 809625"/>
              <a:gd name="connsiteY25" fmla="*/ 626078 h 809625"/>
              <a:gd name="connsiteX26" fmla="*/ 626173 w 809625"/>
              <a:gd name="connsiteY26" fmla="*/ 601694 h 809625"/>
              <a:gd name="connsiteX27" fmla="*/ 626173 w 809625"/>
              <a:gd name="connsiteY27" fmla="*/ 207835 h 809625"/>
              <a:gd name="connsiteX28" fmla="*/ 601789 w 809625"/>
              <a:gd name="connsiteY28" fmla="*/ 183451 h 809625"/>
              <a:gd name="connsiteX29" fmla="*/ 207835 w 809625"/>
              <a:gd name="connsiteY29" fmla="*/ 183451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207835" y="183451"/>
                </a:moveTo>
                <a:cubicBezTo>
                  <a:pt x="194368" y="183451"/>
                  <a:pt x="183451" y="194368"/>
                  <a:pt x="183451" y="207835"/>
                </a:cubicBezTo>
                <a:lnTo>
                  <a:pt x="183451" y="601789"/>
                </a:lnTo>
                <a:cubicBezTo>
                  <a:pt x="183451" y="615256"/>
                  <a:pt x="194368" y="626173"/>
                  <a:pt x="207835" y="626173"/>
                </a:cubicBezTo>
                <a:lnTo>
                  <a:pt x="419957" y="626173"/>
                </a:lnTo>
                <a:lnTo>
                  <a:pt x="419957" y="454723"/>
                </a:lnTo>
                <a:lnTo>
                  <a:pt x="361950" y="454723"/>
                </a:lnTo>
                <a:lnTo>
                  <a:pt x="361950" y="388048"/>
                </a:lnTo>
                <a:lnTo>
                  <a:pt x="419671" y="388048"/>
                </a:lnTo>
                <a:lnTo>
                  <a:pt x="419671" y="338613"/>
                </a:lnTo>
                <a:cubicBezTo>
                  <a:pt x="419671" y="281463"/>
                  <a:pt x="454533" y="250317"/>
                  <a:pt x="505396" y="250317"/>
                </a:cubicBezTo>
                <a:cubicBezTo>
                  <a:pt x="522609" y="250238"/>
                  <a:pt x="539813" y="251128"/>
                  <a:pt x="556926" y="252984"/>
                </a:cubicBezTo>
                <a:lnTo>
                  <a:pt x="556926" y="312705"/>
                </a:lnTo>
                <a:lnTo>
                  <a:pt x="522065" y="312705"/>
                </a:lnTo>
                <a:cubicBezTo>
                  <a:pt x="494252" y="312705"/>
                  <a:pt x="488918" y="325945"/>
                  <a:pt x="488918" y="345281"/>
                </a:cubicBezTo>
                <a:lnTo>
                  <a:pt x="488918" y="387953"/>
                </a:lnTo>
                <a:lnTo>
                  <a:pt x="555593" y="387953"/>
                </a:lnTo>
                <a:lnTo>
                  <a:pt x="546925" y="454628"/>
                </a:lnTo>
                <a:lnTo>
                  <a:pt x="489775" y="454628"/>
                </a:lnTo>
                <a:lnTo>
                  <a:pt x="489775" y="626078"/>
                </a:lnTo>
                <a:lnTo>
                  <a:pt x="601789" y="626078"/>
                </a:lnTo>
                <a:cubicBezTo>
                  <a:pt x="615256" y="626078"/>
                  <a:pt x="626173" y="615161"/>
                  <a:pt x="626173" y="601694"/>
                </a:cubicBezTo>
                <a:lnTo>
                  <a:pt x="626173" y="207835"/>
                </a:lnTo>
                <a:cubicBezTo>
                  <a:pt x="626173" y="194368"/>
                  <a:pt x="615256" y="183451"/>
                  <a:pt x="601789" y="183451"/>
                </a:cubicBezTo>
                <a:lnTo>
                  <a:pt x="207835" y="183451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49106F87-54D7-E8EE-C6CA-26ECF7B74B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14484" y="2549185"/>
            <a:ext cx="1976093" cy="879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911884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76849F14-4971-4208-82A8-1F0513897926}"/>
              </a:ext>
            </a:extLst>
          </p:cNvPr>
          <p:cNvSpPr/>
          <p:nvPr userDrawn="1"/>
        </p:nvSpPr>
        <p:spPr>
          <a:xfrm>
            <a:off x="719400" y="-2"/>
            <a:ext cx="107532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096AA35B-6D3E-4809-9D78-9CF31081E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9400" y="-2"/>
            <a:ext cx="4680000" cy="4068000"/>
          </a:xfrm>
          <a:solidFill>
            <a:schemeClr val="tx2"/>
          </a:solidFill>
        </p:spPr>
        <p:txBody>
          <a:bodyPr lIns="342000" tIns="342000" rIns="0" bIns="504000" anchor="b" anchorCtr="0"/>
          <a:lstStyle>
            <a:lvl1pPr>
              <a:defRPr sz="4500">
                <a:solidFill>
                  <a:schemeClr val="accent1"/>
                </a:solidFill>
              </a:defRPr>
            </a:lvl1pPr>
          </a:lstStyle>
          <a:p>
            <a:r>
              <a:rPr lang="en-US"/>
              <a:t>Thank you</a:t>
            </a:r>
            <a:endParaRPr lang="en-AU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FD95F930-CD55-469B-9FD0-1150DA73B39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-2"/>
            <a:ext cx="12192000" cy="6876000"/>
          </a:xfrm>
          <a:custGeom>
            <a:avLst/>
            <a:gdLst>
              <a:gd name="connsiteX0" fmla="*/ 114726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472600 w 12192000"/>
              <a:gd name="connsiteY3" fmla="*/ 6858000 h 6858000"/>
              <a:gd name="connsiteX4" fmla="*/ 0 w 12192000"/>
              <a:gd name="connsiteY4" fmla="*/ 0 h 6858000"/>
              <a:gd name="connsiteX5" fmla="*/ 719400 w 12192000"/>
              <a:gd name="connsiteY5" fmla="*/ 0 h 6858000"/>
              <a:gd name="connsiteX6" fmla="*/ 7194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14726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472600" y="6858000"/>
                </a:lnTo>
                <a:close/>
                <a:moveTo>
                  <a:pt x="0" y="0"/>
                </a:moveTo>
                <a:lnTo>
                  <a:pt x="719400" y="0"/>
                </a:lnTo>
                <a:lnTo>
                  <a:pt x="7194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08000" tIns="108000" rIns="115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4417D20-4CB7-471C-A5C4-50706D404792}"/>
              </a:ext>
            </a:extLst>
          </p:cNvPr>
          <p:cNvSpPr txBox="1"/>
          <p:nvPr userDrawn="1"/>
        </p:nvSpPr>
        <p:spPr>
          <a:xfrm>
            <a:off x="7877158" y="3841087"/>
            <a:ext cx="3321238" cy="25564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 cap="none" baseline="0">
                <a:solidFill>
                  <a:schemeClr val="bg1"/>
                </a:solidFill>
              </a:defRPr>
            </a:lvl1pPr>
            <a:lvl2pPr marL="0" lvl="1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b="1" cap="all" baseline="0">
                <a:solidFill>
                  <a:schemeClr val="bg1"/>
                </a:solidFill>
              </a:defRPr>
            </a:lvl2pPr>
            <a:lvl3pPr marL="0" lvl="2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3pPr>
            <a:lvl4pPr marL="0" lvl="3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4pPr>
            <a:lvl5pPr marL="0" lvl="4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5pPr>
            <a:lvl6pPr marL="0" lvl="5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6pPr>
            <a:lvl7pPr marL="0" lvl="6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7pPr>
            <a:lvl8pPr marL="0" lvl="7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8pPr>
            <a:lvl9pPr marL="0" lvl="8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9pPr>
          </a:lstStyle>
          <a:p>
            <a:pPr lvl="0">
              <a:spcBef>
                <a:spcPts val="400"/>
              </a:spcBef>
            </a:pPr>
            <a:r>
              <a:rPr lang="en-US" altLang="en-US" sz="1600" b="0">
                <a:solidFill>
                  <a:schemeClr val="bg2"/>
                </a:solidFill>
                <a:latin typeface="+mj-lt"/>
              </a:rPr>
              <a:t>Forest Stewardship Council®</a:t>
            </a:r>
          </a:p>
          <a:p>
            <a:pPr lvl="0">
              <a:spcBef>
                <a:spcPts val="400"/>
              </a:spcBef>
              <a:spcAft>
                <a:spcPts val="1200"/>
              </a:spcAft>
            </a:pPr>
            <a:r>
              <a:rPr lang="en-US" altLang="en-US" sz="1500" b="1">
                <a:solidFill>
                  <a:schemeClr val="bg2"/>
                </a:solidFill>
              </a:rPr>
              <a:t>FSC® Asociación Civil </a:t>
            </a:r>
          </a:p>
          <a:p>
            <a:pPr lvl="0"/>
            <a:endParaRPr lang="en-US" altLang="en-US" sz="1600" b="0"/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Calle Margarita </a:t>
            </a:r>
            <a:r>
              <a:rPr lang="en-US" altLang="en-US" sz="1200" b="0" err="1">
                <a:solidFill>
                  <a:schemeClr val="bg2"/>
                </a:solidFill>
              </a:rPr>
              <a:t>Maza</a:t>
            </a:r>
            <a:r>
              <a:rPr lang="en-US" altLang="en-US" sz="1200" b="0">
                <a:solidFill>
                  <a:schemeClr val="bg2"/>
                </a:solidFill>
              </a:rPr>
              <a:t> de Juárez 422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Colonia Centro,  Oaxaca, México, CP. 68000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Phone: +52 951 502 6533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Fax: +52 951 502 6594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FSC Asociación Civil © All rights reserved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 err="1">
                <a:solidFill>
                  <a:schemeClr val="bg2"/>
                </a:solidFill>
              </a:rPr>
              <a:t>FSC</a:t>
            </a:r>
            <a:r>
              <a:rPr lang="en-US" altLang="en-US" sz="1200" b="0">
                <a:solidFill>
                  <a:schemeClr val="bg2"/>
                </a:solidFill>
              </a:rPr>
              <a:t>® </a:t>
            </a:r>
            <a:r>
              <a:rPr lang="en-US" altLang="en-US" sz="1200" b="0" err="1">
                <a:solidFill>
                  <a:schemeClr val="bg2"/>
                </a:solidFill>
              </a:rPr>
              <a:t>F000100</a:t>
            </a:r>
            <a:r>
              <a:rPr lang="en-US" altLang="en-US" sz="1200" b="0">
                <a:solidFill>
                  <a:schemeClr val="bg2"/>
                </a:solidFill>
              </a:rPr>
              <a:t> </a:t>
            </a:r>
          </a:p>
          <a:p>
            <a:pPr lvl="0"/>
            <a:r>
              <a:rPr lang="en-US" altLang="en-US" sz="1400" b="0" err="1">
                <a:solidFill>
                  <a:schemeClr val="bg2"/>
                </a:solidFill>
                <a:latin typeface="+mj-lt"/>
              </a:rPr>
              <a:t>www.fsc.org</a:t>
            </a:r>
            <a:endParaRPr lang="en-US" altLang="en-US" sz="1400" b="0">
              <a:solidFill>
                <a:schemeClr val="bg2"/>
              </a:solidFill>
              <a:latin typeface="+mj-lt"/>
            </a:endParaRPr>
          </a:p>
          <a:p>
            <a:pPr lvl="0"/>
            <a:endParaRPr lang="en-US" altLang="en-US" sz="1600" b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F8BC909C-567D-4F9C-A0DF-D05DE8F82075}"/>
              </a:ext>
            </a:extLst>
          </p:cNvPr>
          <p:cNvSpPr>
            <a:spLocks noChangeAspect="1"/>
          </p:cNvSpPr>
          <p:nvPr/>
        </p:nvSpPr>
        <p:spPr>
          <a:xfrm>
            <a:off x="7916652" y="4501548"/>
            <a:ext cx="242382" cy="242382"/>
          </a:xfrm>
          <a:custGeom>
            <a:avLst/>
            <a:gdLst>
              <a:gd name="connsiteX0" fmla="*/ 357950 w 809625"/>
              <a:gd name="connsiteY0" fmla="*/ 333375 h 809625"/>
              <a:gd name="connsiteX1" fmla="*/ 480537 w 809625"/>
              <a:gd name="connsiteY1" fmla="*/ 397002 h 809625"/>
              <a:gd name="connsiteX2" fmla="*/ 357950 w 809625"/>
              <a:gd name="connsiteY2" fmla="*/ 460439 h 809625"/>
              <a:gd name="connsiteX3" fmla="*/ 242887 w 809625"/>
              <a:gd name="connsiteY3" fmla="*/ 249555 h 809625"/>
              <a:gd name="connsiteX4" fmla="*/ 178117 w 809625"/>
              <a:gd name="connsiteY4" fmla="*/ 314325 h 809625"/>
              <a:gd name="connsiteX5" fmla="*/ 178117 w 809625"/>
              <a:gd name="connsiteY5" fmla="*/ 495300 h 809625"/>
              <a:gd name="connsiteX6" fmla="*/ 242887 w 809625"/>
              <a:gd name="connsiteY6" fmla="*/ 560070 h 809625"/>
              <a:gd name="connsiteX7" fmla="*/ 566737 w 809625"/>
              <a:gd name="connsiteY7" fmla="*/ 560070 h 809625"/>
              <a:gd name="connsiteX8" fmla="*/ 631507 w 809625"/>
              <a:gd name="connsiteY8" fmla="*/ 495300 h 809625"/>
              <a:gd name="connsiteX9" fmla="*/ 631507 w 809625"/>
              <a:gd name="connsiteY9" fmla="*/ 314325 h 809625"/>
              <a:gd name="connsiteX10" fmla="*/ 566737 w 809625"/>
              <a:gd name="connsiteY10" fmla="*/ 249555 h 809625"/>
              <a:gd name="connsiteX11" fmla="*/ 404813 w 809625"/>
              <a:gd name="connsiteY11" fmla="*/ 0 h 809625"/>
              <a:gd name="connsiteX12" fmla="*/ 809625 w 809625"/>
              <a:gd name="connsiteY12" fmla="*/ 404813 h 809625"/>
              <a:gd name="connsiteX13" fmla="*/ 404813 w 809625"/>
              <a:gd name="connsiteY13" fmla="*/ 809625 h 809625"/>
              <a:gd name="connsiteX14" fmla="*/ 0 w 809625"/>
              <a:gd name="connsiteY14" fmla="*/ 404813 h 809625"/>
              <a:gd name="connsiteX15" fmla="*/ 404813 w 809625"/>
              <a:gd name="connsiteY15" fmla="*/ 0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809625" h="809625">
                <a:moveTo>
                  <a:pt x="357950" y="333375"/>
                </a:moveTo>
                <a:lnTo>
                  <a:pt x="480537" y="397002"/>
                </a:lnTo>
                <a:lnTo>
                  <a:pt x="357950" y="460439"/>
                </a:lnTo>
                <a:close/>
                <a:moveTo>
                  <a:pt x="242887" y="249555"/>
                </a:moveTo>
                <a:cubicBezTo>
                  <a:pt x="207159" y="249660"/>
                  <a:pt x="178222" y="278597"/>
                  <a:pt x="178117" y="314325"/>
                </a:cubicBezTo>
                <a:lnTo>
                  <a:pt x="178117" y="495300"/>
                </a:lnTo>
                <a:cubicBezTo>
                  <a:pt x="178222" y="531028"/>
                  <a:pt x="207159" y="559965"/>
                  <a:pt x="242887" y="560070"/>
                </a:cubicBezTo>
                <a:lnTo>
                  <a:pt x="566737" y="560070"/>
                </a:lnTo>
                <a:cubicBezTo>
                  <a:pt x="602465" y="559965"/>
                  <a:pt x="631402" y="531028"/>
                  <a:pt x="631507" y="495300"/>
                </a:cubicBezTo>
                <a:lnTo>
                  <a:pt x="631507" y="314325"/>
                </a:lnTo>
                <a:cubicBezTo>
                  <a:pt x="631402" y="278597"/>
                  <a:pt x="602465" y="249660"/>
                  <a:pt x="566737" y="249555"/>
                </a:cubicBezTo>
                <a:close/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2487C176-18A9-4BB0-BD80-DEC34233A800}"/>
              </a:ext>
            </a:extLst>
          </p:cNvPr>
          <p:cNvSpPr>
            <a:spLocks noChangeAspect="1"/>
          </p:cNvSpPr>
          <p:nvPr/>
        </p:nvSpPr>
        <p:spPr>
          <a:xfrm>
            <a:off x="8298996" y="4501548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495146 w 809625"/>
              <a:gd name="connsiteY5" fmla="*/ 220645 h 809625"/>
              <a:gd name="connsiteX6" fmla="*/ 428527 w 809625"/>
              <a:gd name="connsiteY6" fmla="*/ 245841 h 809625"/>
              <a:gd name="connsiteX7" fmla="*/ 399192 w 809625"/>
              <a:gd name="connsiteY7" fmla="*/ 313563 h 809625"/>
              <a:gd name="connsiteX8" fmla="*/ 401573 w 809625"/>
              <a:gd name="connsiteY8" fmla="*/ 334803 h 809625"/>
              <a:gd name="connsiteX9" fmla="*/ 209549 w 809625"/>
              <a:gd name="connsiteY9" fmla="*/ 238125 h 809625"/>
              <a:gd name="connsiteX10" fmla="*/ 238124 w 809625"/>
              <a:gd name="connsiteY10" fmla="*/ 361950 h 809625"/>
              <a:gd name="connsiteX11" fmla="*/ 195928 w 809625"/>
              <a:gd name="connsiteY11" fmla="*/ 350329 h 809625"/>
              <a:gd name="connsiteX12" fmla="*/ 195929 w 809625"/>
              <a:gd name="connsiteY12" fmla="*/ 351567 h 809625"/>
              <a:gd name="connsiteX13" fmla="*/ 270605 w 809625"/>
              <a:gd name="connsiteY13" fmla="*/ 442722 h 809625"/>
              <a:gd name="connsiteX14" fmla="*/ 228599 w 809625"/>
              <a:gd name="connsiteY14" fmla="*/ 444341 h 809625"/>
              <a:gd name="connsiteX15" fmla="*/ 315467 w 809625"/>
              <a:gd name="connsiteY15" fmla="*/ 508920 h 809625"/>
              <a:gd name="connsiteX16" fmla="*/ 200024 w 809625"/>
              <a:gd name="connsiteY16" fmla="*/ 548544 h 809625"/>
              <a:gd name="connsiteX17" fmla="*/ 177831 w 809625"/>
              <a:gd name="connsiteY17" fmla="*/ 547211 h 809625"/>
              <a:gd name="connsiteX18" fmla="*/ 320706 w 809625"/>
              <a:gd name="connsiteY18" fmla="*/ 589026 h 809625"/>
              <a:gd name="connsiteX19" fmla="*/ 585406 w 809625"/>
              <a:gd name="connsiteY19" fmla="*/ 324421 h 809625"/>
              <a:gd name="connsiteX20" fmla="*/ 585406 w 809625"/>
              <a:gd name="connsiteY20" fmla="*/ 312324 h 809625"/>
              <a:gd name="connsiteX21" fmla="*/ 631507 w 809625"/>
              <a:gd name="connsiteY21" fmla="*/ 264223 h 809625"/>
              <a:gd name="connsiteX22" fmla="*/ 578072 w 809625"/>
              <a:gd name="connsiteY22" fmla="*/ 278892 h 809625"/>
              <a:gd name="connsiteX23" fmla="*/ 619124 w 809625"/>
              <a:gd name="connsiteY23" fmla="*/ 227361 h 809625"/>
              <a:gd name="connsiteX24" fmla="*/ 560069 w 809625"/>
              <a:gd name="connsiteY24" fmla="*/ 249936 h 809625"/>
              <a:gd name="connsiteX25" fmla="*/ 495146 w 809625"/>
              <a:gd name="connsiteY25" fmla="*/ 220645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495146" y="220645"/>
                </a:moveTo>
                <a:cubicBezTo>
                  <a:pt x="471342" y="219904"/>
                  <a:pt x="447255" y="228245"/>
                  <a:pt x="428527" y="245841"/>
                </a:cubicBezTo>
                <a:cubicBezTo>
                  <a:pt x="409833" y="263407"/>
                  <a:pt x="399219" y="287911"/>
                  <a:pt x="399192" y="313563"/>
                </a:cubicBezTo>
                <a:cubicBezTo>
                  <a:pt x="399204" y="320709"/>
                  <a:pt x="400003" y="327832"/>
                  <a:pt x="401573" y="334803"/>
                </a:cubicBezTo>
                <a:cubicBezTo>
                  <a:pt x="326768" y="331204"/>
                  <a:pt x="256991" y="296073"/>
                  <a:pt x="209549" y="238125"/>
                </a:cubicBezTo>
                <a:cubicBezTo>
                  <a:pt x="185023" y="280491"/>
                  <a:pt x="197513" y="334615"/>
                  <a:pt x="238124" y="361950"/>
                </a:cubicBezTo>
                <a:cubicBezTo>
                  <a:pt x="223336" y="361482"/>
                  <a:pt x="208871" y="357499"/>
                  <a:pt x="195928" y="350329"/>
                </a:cubicBezTo>
                <a:lnTo>
                  <a:pt x="195929" y="351567"/>
                </a:lnTo>
                <a:cubicBezTo>
                  <a:pt x="195962" y="395849"/>
                  <a:pt x="227195" y="433974"/>
                  <a:pt x="270605" y="442722"/>
                </a:cubicBezTo>
                <a:cubicBezTo>
                  <a:pt x="256901" y="446399"/>
                  <a:pt x="242546" y="446952"/>
                  <a:pt x="228599" y="444341"/>
                </a:cubicBezTo>
                <a:cubicBezTo>
                  <a:pt x="240745" y="482243"/>
                  <a:pt x="275672" y="508209"/>
                  <a:pt x="315467" y="508920"/>
                </a:cubicBezTo>
                <a:cubicBezTo>
                  <a:pt x="282513" y="534690"/>
                  <a:pt x="241858" y="548644"/>
                  <a:pt x="200024" y="548544"/>
                </a:cubicBezTo>
                <a:cubicBezTo>
                  <a:pt x="192607" y="548536"/>
                  <a:pt x="185196" y="548091"/>
                  <a:pt x="177831" y="547211"/>
                </a:cubicBezTo>
                <a:cubicBezTo>
                  <a:pt x="220421" y="574649"/>
                  <a:pt x="270043" y="589172"/>
                  <a:pt x="320706" y="589026"/>
                </a:cubicBezTo>
                <a:cubicBezTo>
                  <a:pt x="492156" y="589026"/>
                  <a:pt x="585406" y="447294"/>
                  <a:pt x="585406" y="324421"/>
                </a:cubicBezTo>
                <a:cubicBezTo>
                  <a:pt x="585406" y="320325"/>
                  <a:pt x="585406" y="316325"/>
                  <a:pt x="585406" y="312324"/>
                </a:cubicBezTo>
                <a:cubicBezTo>
                  <a:pt x="603503" y="299151"/>
                  <a:pt x="619113" y="282863"/>
                  <a:pt x="631507" y="264223"/>
                </a:cubicBezTo>
                <a:cubicBezTo>
                  <a:pt x="614513" y="271713"/>
                  <a:pt x="596508" y="276656"/>
                  <a:pt x="578072" y="278892"/>
                </a:cubicBezTo>
                <a:cubicBezTo>
                  <a:pt x="597588" y="267302"/>
                  <a:pt x="612190" y="248974"/>
                  <a:pt x="619124" y="227361"/>
                </a:cubicBezTo>
                <a:cubicBezTo>
                  <a:pt x="600877" y="238213"/>
                  <a:pt x="580902" y="245848"/>
                  <a:pt x="560069" y="249936"/>
                </a:cubicBezTo>
                <a:cubicBezTo>
                  <a:pt x="542473" y="231209"/>
                  <a:pt x="518951" y="221387"/>
                  <a:pt x="495146" y="22064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41393088-2A2D-4F19-A536-4C5B46718A69}"/>
              </a:ext>
            </a:extLst>
          </p:cNvPr>
          <p:cNvSpPr>
            <a:spLocks noChangeAspect="1"/>
          </p:cNvSpPr>
          <p:nvPr/>
        </p:nvSpPr>
        <p:spPr>
          <a:xfrm>
            <a:off x="8681340" y="4501548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230981 w 809625"/>
              <a:gd name="connsiteY5" fmla="*/ 177069 h 809625"/>
              <a:gd name="connsiteX6" fmla="*/ 176498 w 809625"/>
              <a:gd name="connsiteY6" fmla="*/ 231552 h 809625"/>
              <a:gd name="connsiteX7" fmla="*/ 230981 w 809625"/>
              <a:gd name="connsiteY7" fmla="*/ 286035 h 809625"/>
              <a:gd name="connsiteX8" fmla="*/ 285464 w 809625"/>
              <a:gd name="connsiteY8" fmla="*/ 231552 h 809625"/>
              <a:gd name="connsiteX9" fmla="*/ 230981 w 809625"/>
              <a:gd name="connsiteY9" fmla="*/ 177069 h 809625"/>
              <a:gd name="connsiteX10" fmla="*/ 517493 w 809625"/>
              <a:gd name="connsiteY10" fmla="*/ 319849 h 809625"/>
              <a:gd name="connsiteX11" fmla="*/ 428625 w 809625"/>
              <a:gd name="connsiteY11" fmla="*/ 368617 h 809625"/>
              <a:gd name="connsiteX12" fmla="*/ 426910 w 809625"/>
              <a:gd name="connsiteY12" fmla="*/ 368617 h 809625"/>
              <a:gd name="connsiteX13" fmla="*/ 426910 w 809625"/>
              <a:gd name="connsiteY13" fmla="*/ 327278 h 809625"/>
              <a:gd name="connsiteX14" fmla="*/ 336899 w 809625"/>
              <a:gd name="connsiteY14" fmla="*/ 327278 h 809625"/>
              <a:gd name="connsiteX15" fmla="*/ 336899 w 809625"/>
              <a:gd name="connsiteY15" fmla="*/ 629602 h 809625"/>
              <a:gd name="connsiteX16" fmla="*/ 430720 w 809625"/>
              <a:gd name="connsiteY16" fmla="*/ 629602 h 809625"/>
              <a:gd name="connsiteX17" fmla="*/ 430720 w 809625"/>
              <a:gd name="connsiteY17" fmla="*/ 480059 h 809625"/>
              <a:gd name="connsiteX18" fmla="*/ 487108 w 809625"/>
              <a:gd name="connsiteY18" fmla="*/ 402430 h 809625"/>
              <a:gd name="connsiteX19" fmla="*/ 535876 w 809625"/>
              <a:gd name="connsiteY19" fmla="*/ 482631 h 809625"/>
              <a:gd name="connsiteX20" fmla="*/ 535876 w 809625"/>
              <a:gd name="connsiteY20" fmla="*/ 629602 h 809625"/>
              <a:gd name="connsiteX21" fmla="*/ 630174 w 809625"/>
              <a:gd name="connsiteY21" fmla="*/ 629602 h 809625"/>
              <a:gd name="connsiteX22" fmla="*/ 630174 w 809625"/>
              <a:gd name="connsiteY22" fmla="*/ 463771 h 809625"/>
              <a:gd name="connsiteX23" fmla="*/ 517493 w 809625"/>
              <a:gd name="connsiteY23" fmla="*/ 319849 h 809625"/>
              <a:gd name="connsiteX24" fmla="*/ 183927 w 809625"/>
              <a:gd name="connsiteY24" fmla="*/ 327278 h 809625"/>
              <a:gd name="connsiteX25" fmla="*/ 183927 w 809625"/>
              <a:gd name="connsiteY25" fmla="*/ 629602 h 809625"/>
              <a:gd name="connsiteX26" fmla="*/ 277939 w 809625"/>
              <a:gd name="connsiteY26" fmla="*/ 629602 h 809625"/>
              <a:gd name="connsiteX27" fmla="*/ 277939 w 809625"/>
              <a:gd name="connsiteY27" fmla="*/ 327278 h 809625"/>
              <a:gd name="connsiteX28" fmla="*/ 183927 w 809625"/>
              <a:gd name="connsiteY28" fmla="*/ 327278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230981" y="177069"/>
                </a:moveTo>
                <a:cubicBezTo>
                  <a:pt x="200891" y="177069"/>
                  <a:pt x="176498" y="201462"/>
                  <a:pt x="176498" y="231552"/>
                </a:cubicBezTo>
                <a:cubicBezTo>
                  <a:pt x="176498" y="261642"/>
                  <a:pt x="200891" y="286035"/>
                  <a:pt x="230981" y="286035"/>
                </a:cubicBezTo>
                <a:cubicBezTo>
                  <a:pt x="261071" y="286035"/>
                  <a:pt x="285464" y="261642"/>
                  <a:pt x="285464" y="231552"/>
                </a:cubicBezTo>
                <a:cubicBezTo>
                  <a:pt x="285464" y="201462"/>
                  <a:pt x="261071" y="177069"/>
                  <a:pt x="230981" y="177069"/>
                </a:cubicBezTo>
                <a:close/>
                <a:moveTo>
                  <a:pt x="517493" y="319849"/>
                </a:moveTo>
                <a:cubicBezTo>
                  <a:pt x="481146" y="318484"/>
                  <a:pt x="446996" y="337225"/>
                  <a:pt x="428625" y="368617"/>
                </a:cubicBezTo>
                <a:lnTo>
                  <a:pt x="426910" y="368617"/>
                </a:lnTo>
                <a:lnTo>
                  <a:pt x="426910" y="327278"/>
                </a:lnTo>
                <a:lnTo>
                  <a:pt x="336899" y="327278"/>
                </a:lnTo>
                <a:lnTo>
                  <a:pt x="336899" y="629602"/>
                </a:lnTo>
                <a:lnTo>
                  <a:pt x="430720" y="629602"/>
                </a:lnTo>
                <a:lnTo>
                  <a:pt x="430720" y="480059"/>
                </a:lnTo>
                <a:cubicBezTo>
                  <a:pt x="430720" y="440530"/>
                  <a:pt x="438912" y="402430"/>
                  <a:pt x="487108" y="402430"/>
                </a:cubicBezTo>
                <a:cubicBezTo>
                  <a:pt x="535305" y="402430"/>
                  <a:pt x="535876" y="447579"/>
                  <a:pt x="535876" y="482631"/>
                </a:cubicBezTo>
                <a:lnTo>
                  <a:pt x="535876" y="629602"/>
                </a:lnTo>
                <a:lnTo>
                  <a:pt x="630174" y="629602"/>
                </a:lnTo>
                <a:lnTo>
                  <a:pt x="630174" y="463771"/>
                </a:lnTo>
                <a:cubicBezTo>
                  <a:pt x="630174" y="382428"/>
                  <a:pt x="612743" y="319849"/>
                  <a:pt x="517493" y="319849"/>
                </a:cubicBezTo>
                <a:close/>
                <a:moveTo>
                  <a:pt x="183927" y="327278"/>
                </a:moveTo>
                <a:lnTo>
                  <a:pt x="183927" y="629602"/>
                </a:lnTo>
                <a:lnTo>
                  <a:pt x="277939" y="629602"/>
                </a:lnTo>
                <a:lnTo>
                  <a:pt x="277939" y="327278"/>
                </a:lnTo>
                <a:lnTo>
                  <a:pt x="183927" y="32727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F1F78FC3-536A-4C34-B2A3-95085DF38A8D}"/>
              </a:ext>
            </a:extLst>
          </p:cNvPr>
          <p:cNvSpPr>
            <a:spLocks noChangeAspect="1"/>
          </p:cNvSpPr>
          <p:nvPr/>
        </p:nvSpPr>
        <p:spPr>
          <a:xfrm>
            <a:off x="9063685" y="4501548"/>
            <a:ext cx="242382" cy="242382"/>
          </a:xfrm>
          <a:custGeom>
            <a:avLst/>
            <a:gdLst>
              <a:gd name="connsiteX0" fmla="*/ 404812 w 809625"/>
              <a:gd name="connsiteY0" fmla="*/ 288417 h 809625"/>
              <a:gd name="connsiteX1" fmla="*/ 288417 w 809625"/>
              <a:gd name="connsiteY1" fmla="*/ 404812 h 809625"/>
              <a:gd name="connsiteX2" fmla="*/ 404812 w 809625"/>
              <a:gd name="connsiteY2" fmla="*/ 521208 h 809625"/>
              <a:gd name="connsiteX3" fmla="*/ 521208 w 809625"/>
              <a:gd name="connsiteY3" fmla="*/ 404812 h 809625"/>
              <a:gd name="connsiteX4" fmla="*/ 404812 w 809625"/>
              <a:gd name="connsiteY4" fmla="*/ 288417 h 809625"/>
              <a:gd name="connsiteX5" fmla="*/ 525780 w 809625"/>
              <a:gd name="connsiteY5" fmla="*/ 256603 h 809625"/>
              <a:gd name="connsiteX6" fmla="*/ 498538 w 809625"/>
              <a:gd name="connsiteY6" fmla="*/ 283844 h 809625"/>
              <a:gd name="connsiteX7" fmla="*/ 525780 w 809625"/>
              <a:gd name="connsiteY7" fmla="*/ 311086 h 809625"/>
              <a:gd name="connsiteX8" fmla="*/ 553021 w 809625"/>
              <a:gd name="connsiteY8" fmla="*/ 283844 h 809625"/>
              <a:gd name="connsiteX9" fmla="*/ 525780 w 809625"/>
              <a:gd name="connsiteY9" fmla="*/ 256603 h 809625"/>
              <a:gd name="connsiteX10" fmla="*/ 404812 w 809625"/>
              <a:gd name="connsiteY10" fmla="*/ 219075 h 809625"/>
              <a:gd name="connsiteX11" fmla="*/ 496443 w 809625"/>
              <a:gd name="connsiteY11" fmla="*/ 220408 h 809625"/>
              <a:gd name="connsiteX12" fmla="*/ 538543 w 809625"/>
              <a:gd name="connsiteY12" fmla="*/ 228218 h 809625"/>
              <a:gd name="connsiteX13" fmla="*/ 581501 w 809625"/>
              <a:gd name="connsiteY13" fmla="*/ 271176 h 809625"/>
              <a:gd name="connsiteX14" fmla="*/ 589311 w 809625"/>
              <a:gd name="connsiteY14" fmla="*/ 313277 h 809625"/>
              <a:gd name="connsiteX15" fmla="*/ 590645 w 809625"/>
              <a:gd name="connsiteY15" fmla="*/ 404907 h 809625"/>
              <a:gd name="connsiteX16" fmla="*/ 589311 w 809625"/>
              <a:gd name="connsiteY16" fmla="*/ 496538 h 809625"/>
              <a:gd name="connsiteX17" fmla="*/ 581501 w 809625"/>
              <a:gd name="connsiteY17" fmla="*/ 538638 h 809625"/>
              <a:gd name="connsiteX18" fmla="*/ 538543 w 809625"/>
              <a:gd name="connsiteY18" fmla="*/ 581596 h 809625"/>
              <a:gd name="connsiteX19" fmla="*/ 496443 w 809625"/>
              <a:gd name="connsiteY19" fmla="*/ 589406 h 809625"/>
              <a:gd name="connsiteX20" fmla="*/ 404812 w 809625"/>
              <a:gd name="connsiteY20" fmla="*/ 590740 h 809625"/>
              <a:gd name="connsiteX21" fmla="*/ 313182 w 809625"/>
              <a:gd name="connsiteY21" fmla="*/ 589407 h 809625"/>
              <a:gd name="connsiteX22" fmla="*/ 271081 w 809625"/>
              <a:gd name="connsiteY22" fmla="*/ 581596 h 809625"/>
              <a:gd name="connsiteX23" fmla="*/ 228600 w 809625"/>
              <a:gd name="connsiteY23" fmla="*/ 538543 h 809625"/>
              <a:gd name="connsiteX24" fmla="*/ 220789 w 809625"/>
              <a:gd name="connsiteY24" fmla="*/ 496443 h 809625"/>
              <a:gd name="connsiteX25" fmla="*/ 219075 w 809625"/>
              <a:gd name="connsiteY25" fmla="*/ 404812 h 809625"/>
              <a:gd name="connsiteX26" fmla="*/ 220408 w 809625"/>
              <a:gd name="connsiteY26" fmla="*/ 313182 h 809625"/>
              <a:gd name="connsiteX27" fmla="*/ 228600 w 809625"/>
              <a:gd name="connsiteY27" fmla="*/ 271081 h 809625"/>
              <a:gd name="connsiteX28" fmla="*/ 271081 w 809625"/>
              <a:gd name="connsiteY28" fmla="*/ 228600 h 809625"/>
              <a:gd name="connsiteX29" fmla="*/ 313181 w 809625"/>
              <a:gd name="connsiteY29" fmla="*/ 220789 h 809625"/>
              <a:gd name="connsiteX30" fmla="*/ 404812 w 809625"/>
              <a:gd name="connsiteY30" fmla="*/ 219075 h 809625"/>
              <a:gd name="connsiteX31" fmla="*/ 405669 w 809625"/>
              <a:gd name="connsiteY31" fmla="*/ 177736 h 809625"/>
              <a:gd name="connsiteX32" fmla="*/ 404812 w 809625"/>
              <a:gd name="connsiteY32" fmla="*/ 178212 h 809625"/>
              <a:gd name="connsiteX33" fmla="*/ 311372 w 809625"/>
              <a:gd name="connsiteY33" fmla="*/ 179546 h 809625"/>
              <a:gd name="connsiteX34" fmla="*/ 256317 w 809625"/>
              <a:gd name="connsiteY34" fmla="*/ 190500 h 809625"/>
              <a:gd name="connsiteX35" fmla="*/ 189642 w 809625"/>
              <a:gd name="connsiteY35" fmla="*/ 257175 h 809625"/>
              <a:gd name="connsiteX36" fmla="*/ 179069 w 809625"/>
              <a:gd name="connsiteY36" fmla="*/ 312229 h 809625"/>
              <a:gd name="connsiteX37" fmla="*/ 177736 w 809625"/>
              <a:gd name="connsiteY37" fmla="*/ 405669 h 809625"/>
              <a:gd name="connsiteX38" fmla="*/ 179069 w 809625"/>
              <a:gd name="connsiteY38" fmla="*/ 499110 h 809625"/>
              <a:gd name="connsiteX39" fmla="*/ 190500 w 809625"/>
              <a:gd name="connsiteY39" fmla="*/ 553307 h 809625"/>
              <a:gd name="connsiteX40" fmla="*/ 257175 w 809625"/>
              <a:gd name="connsiteY40" fmla="*/ 619982 h 809625"/>
              <a:gd name="connsiteX41" fmla="*/ 312229 w 809625"/>
              <a:gd name="connsiteY41" fmla="*/ 630554 h 809625"/>
              <a:gd name="connsiteX42" fmla="*/ 405669 w 809625"/>
              <a:gd name="connsiteY42" fmla="*/ 631888 h 809625"/>
              <a:gd name="connsiteX43" fmla="*/ 499110 w 809625"/>
              <a:gd name="connsiteY43" fmla="*/ 630554 h 809625"/>
              <a:gd name="connsiteX44" fmla="*/ 554164 w 809625"/>
              <a:gd name="connsiteY44" fmla="*/ 619982 h 809625"/>
              <a:gd name="connsiteX45" fmla="*/ 620839 w 809625"/>
              <a:gd name="connsiteY45" fmla="*/ 553307 h 809625"/>
              <a:gd name="connsiteX46" fmla="*/ 631412 w 809625"/>
              <a:gd name="connsiteY46" fmla="*/ 498252 h 809625"/>
              <a:gd name="connsiteX47" fmla="*/ 632745 w 809625"/>
              <a:gd name="connsiteY47" fmla="*/ 404812 h 809625"/>
              <a:gd name="connsiteX48" fmla="*/ 631412 w 809625"/>
              <a:gd name="connsiteY48" fmla="*/ 311372 h 809625"/>
              <a:gd name="connsiteX49" fmla="*/ 620839 w 809625"/>
              <a:gd name="connsiteY49" fmla="*/ 256317 h 809625"/>
              <a:gd name="connsiteX50" fmla="*/ 554164 w 809625"/>
              <a:gd name="connsiteY50" fmla="*/ 189642 h 809625"/>
              <a:gd name="connsiteX51" fmla="*/ 499110 w 809625"/>
              <a:gd name="connsiteY51" fmla="*/ 179069 h 809625"/>
              <a:gd name="connsiteX52" fmla="*/ 405669 w 809625"/>
              <a:gd name="connsiteY52" fmla="*/ 177736 h 809625"/>
              <a:gd name="connsiteX53" fmla="*/ 404813 w 809625"/>
              <a:gd name="connsiteY53" fmla="*/ 0 h 809625"/>
              <a:gd name="connsiteX54" fmla="*/ 809625 w 809625"/>
              <a:gd name="connsiteY54" fmla="*/ 404813 h 809625"/>
              <a:gd name="connsiteX55" fmla="*/ 404813 w 809625"/>
              <a:gd name="connsiteY55" fmla="*/ 809625 h 809625"/>
              <a:gd name="connsiteX56" fmla="*/ 0 w 809625"/>
              <a:gd name="connsiteY56" fmla="*/ 404813 h 809625"/>
              <a:gd name="connsiteX57" fmla="*/ 404813 w 809625"/>
              <a:gd name="connsiteY57" fmla="*/ 0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809625" h="809625">
                <a:moveTo>
                  <a:pt x="404812" y="288417"/>
                </a:moveTo>
                <a:cubicBezTo>
                  <a:pt x="340529" y="288417"/>
                  <a:pt x="288417" y="340529"/>
                  <a:pt x="288417" y="404812"/>
                </a:cubicBezTo>
                <a:cubicBezTo>
                  <a:pt x="288417" y="469096"/>
                  <a:pt x="340529" y="521208"/>
                  <a:pt x="404812" y="521208"/>
                </a:cubicBezTo>
                <a:cubicBezTo>
                  <a:pt x="469096" y="521208"/>
                  <a:pt x="521208" y="469096"/>
                  <a:pt x="521208" y="404812"/>
                </a:cubicBezTo>
                <a:cubicBezTo>
                  <a:pt x="521208" y="340529"/>
                  <a:pt x="469096" y="288417"/>
                  <a:pt x="404812" y="288417"/>
                </a:cubicBezTo>
                <a:close/>
                <a:moveTo>
                  <a:pt x="525780" y="256603"/>
                </a:moveTo>
                <a:cubicBezTo>
                  <a:pt x="510734" y="256603"/>
                  <a:pt x="498538" y="268799"/>
                  <a:pt x="498538" y="283844"/>
                </a:cubicBezTo>
                <a:cubicBezTo>
                  <a:pt x="498538" y="298890"/>
                  <a:pt x="510734" y="311086"/>
                  <a:pt x="525780" y="311086"/>
                </a:cubicBezTo>
                <a:cubicBezTo>
                  <a:pt x="540825" y="311086"/>
                  <a:pt x="553021" y="298890"/>
                  <a:pt x="553021" y="283844"/>
                </a:cubicBezTo>
                <a:cubicBezTo>
                  <a:pt x="553021" y="268799"/>
                  <a:pt x="540825" y="256603"/>
                  <a:pt x="525780" y="256603"/>
                </a:cubicBezTo>
                <a:close/>
                <a:moveTo>
                  <a:pt x="404812" y="219075"/>
                </a:moveTo>
                <a:cubicBezTo>
                  <a:pt x="465296" y="219075"/>
                  <a:pt x="472535" y="219075"/>
                  <a:pt x="496443" y="220408"/>
                </a:cubicBezTo>
                <a:cubicBezTo>
                  <a:pt x="510824" y="220533"/>
                  <a:pt x="525073" y="223177"/>
                  <a:pt x="538543" y="228218"/>
                </a:cubicBezTo>
                <a:cubicBezTo>
                  <a:pt x="558257" y="235874"/>
                  <a:pt x="573845" y="251463"/>
                  <a:pt x="581501" y="271176"/>
                </a:cubicBezTo>
                <a:cubicBezTo>
                  <a:pt x="586542" y="284646"/>
                  <a:pt x="589186" y="298895"/>
                  <a:pt x="589311" y="313277"/>
                </a:cubicBezTo>
                <a:cubicBezTo>
                  <a:pt x="590454" y="337185"/>
                  <a:pt x="590645" y="344424"/>
                  <a:pt x="590645" y="404907"/>
                </a:cubicBezTo>
                <a:cubicBezTo>
                  <a:pt x="590645" y="465391"/>
                  <a:pt x="590645" y="472630"/>
                  <a:pt x="589311" y="496538"/>
                </a:cubicBezTo>
                <a:cubicBezTo>
                  <a:pt x="589186" y="510920"/>
                  <a:pt x="586543" y="525168"/>
                  <a:pt x="581501" y="538638"/>
                </a:cubicBezTo>
                <a:cubicBezTo>
                  <a:pt x="573845" y="558352"/>
                  <a:pt x="558257" y="573940"/>
                  <a:pt x="538543" y="581596"/>
                </a:cubicBezTo>
                <a:cubicBezTo>
                  <a:pt x="525073" y="586638"/>
                  <a:pt x="510824" y="589281"/>
                  <a:pt x="496443" y="589406"/>
                </a:cubicBezTo>
                <a:cubicBezTo>
                  <a:pt x="472535" y="590550"/>
                  <a:pt x="465391" y="590740"/>
                  <a:pt x="404812" y="590740"/>
                </a:cubicBezTo>
                <a:cubicBezTo>
                  <a:pt x="344233" y="590740"/>
                  <a:pt x="337089" y="590740"/>
                  <a:pt x="313182" y="589407"/>
                </a:cubicBezTo>
                <a:cubicBezTo>
                  <a:pt x="298800" y="589281"/>
                  <a:pt x="284551" y="586638"/>
                  <a:pt x="271081" y="581596"/>
                </a:cubicBezTo>
                <a:cubicBezTo>
                  <a:pt x="251529" y="573808"/>
                  <a:pt x="236125" y="558197"/>
                  <a:pt x="228600" y="538543"/>
                </a:cubicBezTo>
                <a:cubicBezTo>
                  <a:pt x="223558" y="525073"/>
                  <a:pt x="220914" y="510824"/>
                  <a:pt x="220789" y="496443"/>
                </a:cubicBezTo>
                <a:cubicBezTo>
                  <a:pt x="219075" y="472535"/>
                  <a:pt x="219075" y="465296"/>
                  <a:pt x="219075" y="404812"/>
                </a:cubicBezTo>
                <a:cubicBezTo>
                  <a:pt x="219075" y="344328"/>
                  <a:pt x="219075" y="337089"/>
                  <a:pt x="220408" y="313182"/>
                </a:cubicBezTo>
                <a:cubicBezTo>
                  <a:pt x="220655" y="298777"/>
                  <a:pt x="223428" y="284527"/>
                  <a:pt x="228600" y="271081"/>
                </a:cubicBezTo>
                <a:cubicBezTo>
                  <a:pt x="236258" y="251643"/>
                  <a:pt x="251643" y="236258"/>
                  <a:pt x="271081" y="228600"/>
                </a:cubicBezTo>
                <a:cubicBezTo>
                  <a:pt x="284551" y="223558"/>
                  <a:pt x="298800" y="220914"/>
                  <a:pt x="313181" y="220789"/>
                </a:cubicBezTo>
                <a:cubicBezTo>
                  <a:pt x="337089" y="219075"/>
                  <a:pt x="344328" y="219075"/>
                  <a:pt x="404812" y="219075"/>
                </a:cubicBezTo>
                <a:close/>
                <a:moveTo>
                  <a:pt x="405669" y="177736"/>
                </a:moveTo>
                <a:lnTo>
                  <a:pt x="404812" y="178212"/>
                </a:lnTo>
                <a:cubicBezTo>
                  <a:pt x="343281" y="178212"/>
                  <a:pt x="335565" y="178212"/>
                  <a:pt x="311372" y="179546"/>
                </a:cubicBezTo>
                <a:cubicBezTo>
                  <a:pt x="292533" y="180057"/>
                  <a:pt x="273917" y="183760"/>
                  <a:pt x="256317" y="190500"/>
                </a:cubicBezTo>
                <a:cubicBezTo>
                  <a:pt x="225602" y="202200"/>
                  <a:pt x="201343" y="226459"/>
                  <a:pt x="189642" y="257175"/>
                </a:cubicBezTo>
                <a:cubicBezTo>
                  <a:pt x="183033" y="274797"/>
                  <a:pt x="179458" y="293412"/>
                  <a:pt x="179069" y="312229"/>
                </a:cubicBezTo>
                <a:cubicBezTo>
                  <a:pt x="178022" y="336423"/>
                  <a:pt x="177736" y="344138"/>
                  <a:pt x="177736" y="405669"/>
                </a:cubicBezTo>
                <a:cubicBezTo>
                  <a:pt x="177736" y="467201"/>
                  <a:pt x="177736" y="474916"/>
                  <a:pt x="179069" y="499110"/>
                </a:cubicBezTo>
                <a:cubicBezTo>
                  <a:pt x="179828" y="517687"/>
                  <a:pt x="183692" y="536005"/>
                  <a:pt x="190500" y="553307"/>
                </a:cubicBezTo>
                <a:cubicBezTo>
                  <a:pt x="202200" y="584022"/>
                  <a:pt x="226459" y="608281"/>
                  <a:pt x="257175" y="619982"/>
                </a:cubicBezTo>
                <a:cubicBezTo>
                  <a:pt x="274797" y="626591"/>
                  <a:pt x="293412" y="630165"/>
                  <a:pt x="312229" y="630554"/>
                </a:cubicBezTo>
                <a:cubicBezTo>
                  <a:pt x="336423" y="631602"/>
                  <a:pt x="344138" y="631888"/>
                  <a:pt x="405669" y="631888"/>
                </a:cubicBezTo>
                <a:cubicBezTo>
                  <a:pt x="467201" y="631888"/>
                  <a:pt x="474916" y="631888"/>
                  <a:pt x="499110" y="630554"/>
                </a:cubicBezTo>
                <a:cubicBezTo>
                  <a:pt x="517927" y="630165"/>
                  <a:pt x="536542" y="626591"/>
                  <a:pt x="554164" y="619982"/>
                </a:cubicBezTo>
                <a:cubicBezTo>
                  <a:pt x="584880" y="608281"/>
                  <a:pt x="609138" y="584022"/>
                  <a:pt x="620839" y="553307"/>
                </a:cubicBezTo>
                <a:cubicBezTo>
                  <a:pt x="627448" y="535684"/>
                  <a:pt x="631023" y="517069"/>
                  <a:pt x="631412" y="498252"/>
                </a:cubicBezTo>
                <a:cubicBezTo>
                  <a:pt x="632460" y="474059"/>
                  <a:pt x="632745" y="466344"/>
                  <a:pt x="632745" y="404812"/>
                </a:cubicBezTo>
                <a:cubicBezTo>
                  <a:pt x="632745" y="343281"/>
                  <a:pt x="632745" y="335565"/>
                  <a:pt x="631412" y="311372"/>
                </a:cubicBezTo>
                <a:cubicBezTo>
                  <a:pt x="631023" y="292555"/>
                  <a:pt x="627448" y="273940"/>
                  <a:pt x="620839" y="256317"/>
                </a:cubicBezTo>
                <a:cubicBezTo>
                  <a:pt x="609138" y="225602"/>
                  <a:pt x="584880" y="201343"/>
                  <a:pt x="554164" y="189642"/>
                </a:cubicBezTo>
                <a:cubicBezTo>
                  <a:pt x="536542" y="183033"/>
                  <a:pt x="517927" y="179458"/>
                  <a:pt x="499110" y="179069"/>
                </a:cubicBezTo>
                <a:cubicBezTo>
                  <a:pt x="474916" y="178022"/>
                  <a:pt x="467201" y="177736"/>
                  <a:pt x="405669" y="177736"/>
                </a:cubicBezTo>
                <a:close/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37645F6A-EDD9-42D2-A01C-F8414798D57C}"/>
              </a:ext>
            </a:extLst>
          </p:cNvPr>
          <p:cNvSpPr>
            <a:spLocks noChangeAspect="1"/>
          </p:cNvSpPr>
          <p:nvPr/>
        </p:nvSpPr>
        <p:spPr>
          <a:xfrm>
            <a:off x="9446029" y="4501548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207835 w 809625"/>
              <a:gd name="connsiteY5" fmla="*/ 183451 h 809625"/>
              <a:gd name="connsiteX6" fmla="*/ 183451 w 809625"/>
              <a:gd name="connsiteY6" fmla="*/ 207835 h 809625"/>
              <a:gd name="connsiteX7" fmla="*/ 183451 w 809625"/>
              <a:gd name="connsiteY7" fmla="*/ 601789 h 809625"/>
              <a:gd name="connsiteX8" fmla="*/ 207835 w 809625"/>
              <a:gd name="connsiteY8" fmla="*/ 626173 h 809625"/>
              <a:gd name="connsiteX9" fmla="*/ 419957 w 809625"/>
              <a:gd name="connsiteY9" fmla="*/ 626173 h 809625"/>
              <a:gd name="connsiteX10" fmla="*/ 419957 w 809625"/>
              <a:gd name="connsiteY10" fmla="*/ 454723 h 809625"/>
              <a:gd name="connsiteX11" fmla="*/ 361950 w 809625"/>
              <a:gd name="connsiteY11" fmla="*/ 454723 h 809625"/>
              <a:gd name="connsiteX12" fmla="*/ 361950 w 809625"/>
              <a:gd name="connsiteY12" fmla="*/ 388048 h 809625"/>
              <a:gd name="connsiteX13" fmla="*/ 419671 w 809625"/>
              <a:gd name="connsiteY13" fmla="*/ 388048 h 809625"/>
              <a:gd name="connsiteX14" fmla="*/ 419671 w 809625"/>
              <a:gd name="connsiteY14" fmla="*/ 338613 h 809625"/>
              <a:gd name="connsiteX15" fmla="*/ 505396 w 809625"/>
              <a:gd name="connsiteY15" fmla="*/ 250317 h 809625"/>
              <a:gd name="connsiteX16" fmla="*/ 556926 w 809625"/>
              <a:gd name="connsiteY16" fmla="*/ 252984 h 809625"/>
              <a:gd name="connsiteX17" fmla="*/ 556926 w 809625"/>
              <a:gd name="connsiteY17" fmla="*/ 312705 h 809625"/>
              <a:gd name="connsiteX18" fmla="*/ 522065 w 809625"/>
              <a:gd name="connsiteY18" fmla="*/ 312705 h 809625"/>
              <a:gd name="connsiteX19" fmla="*/ 488918 w 809625"/>
              <a:gd name="connsiteY19" fmla="*/ 345281 h 809625"/>
              <a:gd name="connsiteX20" fmla="*/ 488918 w 809625"/>
              <a:gd name="connsiteY20" fmla="*/ 387953 h 809625"/>
              <a:gd name="connsiteX21" fmla="*/ 555593 w 809625"/>
              <a:gd name="connsiteY21" fmla="*/ 387953 h 809625"/>
              <a:gd name="connsiteX22" fmla="*/ 546925 w 809625"/>
              <a:gd name="connsiteY22" fmla="*/ 454628 h 809625"/>
              <a:gd name="connsiteX23" fmla="*/ 489775 w 809625"/>
              <a:gd name="connsiteY23" fmla="*/ 454628 h 809625"/>
              <a:gd name="connsiteX24" fmla="*/ 489775 w 809625"/>
              <a:gd name="connsiteY24" fmla="*/ 626078 h 809625"/>
              <a:gd name="connsiteX25" fmla="*/ 601789 w 809625"/>
              <a:gd name="connsiteY25" fmla="*/ 626078 h 809625"/>
              <a:gd name="connsiteX26" fmla="*/ 626173 w 809625"/>
              <a:gd name="connsiteY26" fmla="*/ 601694 h 809625"/>
              <a:gd name="connsiteX27" fmla="*/ 626173 w 809625"/>
              <a:gd name="connsiteY27" fmla="*/ 207835 h 809625"/>
              <a:gd name="connsiteX28" fmla="*/ 601789 w 809625"/>
              <a:gd name="connsiteY28" fmla="*/ 183451 h 809625"/>
              <a:gd name="connsiteX29" fmla="*/ 207835 w 809625"/>
              <a:gd name="connsiteY29" fmla="*/ 183451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207835" y="183451"/>
                </a:moveTo>
                <a:cubicBezTo>
                  <a:pt x="194368" y="183451"/>
                  <a:pt x="183451" y="194368"/>
                  <a:pt x="183451" y="207835"/>
                </a:cubicBezTo>
                <a:lnTo>
                  <a:pt x="183451" y="601789"/>
                </a:lnTo>
                <a:cubicBezTo>
                  <a:pt x="183451" y="615256"/>
                  <a:pt x="194368" y="626173"/>
                  <a:pt x="207835" y="626173"/>
                </a:cubicBezTo>
                <a:lnTo>
                  <a:pt x="419957" y="626173"/>
                </a:lnTo>
                <a:lnTo>
                  <a:pt x="419957" y="454723"/>
                </a:lnTo>
                <a:lnTo>
                  <a:pt x="361950" y="454723"/>
                </a:lnTo>
                <a:lnTo>
                  <a:pt x="361950" y="388048"/>
                </a:lnTo>
                <a:lnTo>
                  <a:pt x="419671" y="388048"/>
                </a:lnTo>
                <a:lnTo>
                  <a:pt x="419671" y="338613"/>
                </a:lnTo>
                <a:cubicBezTo>
                  <a:pt x="419671" y="281463"/>
                  <a:pt x="454533" y="250317"/>
                  <a:pt x="505396" y="250317"/>
                </a:cubicBezTo>
                <a:cubicBezTo>
                  <a:pt x="522609" y="250238"/>
                  <a:pt x="539813" y="251128"/>
                  <a:pt x="556926" y="252984"/>
                </a:cubicBezTo>
                <a:lnTo>
                  <a:pt x="556926" y="312705"/>
                </a:lnTo>
                <a:lnTo>
                  <a:pt x="522065" y="312705"/>
                </a:lnTo>
                <a:cubicBezTo>
                  <a:pt x="494252" y="312705"/>
                  <a:pt x="488918" y="325945"/>
                  <a:pt x="488918" y="345281"/>
                </a:cubicBezTo>
                <a:lnTo>
                  <a:pt x="488918" y="387953"/>
                </a:lnTo>
                <a:lnTo>
                  <a:pt x="555593" y="387953"/>
                </a:lnTo>
                <a:lnTo>
                  <a:pt x="546925" y="454628"/>
                </a:lnTo>
                <a:lnTo>
                  <a:pt x="489775" y="454628"/>
                </a:lnTo>
                <a:lnTo>
                  <a:pt x="489775" y="626078"/>
                </a:lnTo>
                <a:lnTo>
                  <a:pt x="601789" y="626078"/>
                </a:lnTo>
                <a:cubicBezTo>
                  <a:pt x="615256" y="626078"/>
                  <a:pt x="626173" y="615161"/>
                  <a:pt x="626173" y="601694"/>
                </a:cubicBezTo>
                <a:lnTo>
                  <a:pt x="626173" y="207835"/>
                </a:lnTo>
                <a:cubicBezTo>
                  <a:pt x="626173" y="194368"/>
                  <a:pt x="615256" y="183451"/>
                  <a:pt x="601789" y="183451"/>
                </a:cubicBezTo>
                <a:lnTo>
                  <a:pt x="207835" y="183451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35DA1C13-417D-70D7-BC88-4FD67A39D2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14484" y="2549185"/>
            <a:ext cx="1976093" cy="879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925872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-full ble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0">
            <a:extLst>
              <a:ext uri="{FF2B5EF4-FFF2-40B4-BE49-F238E27FC236}">
                <a16:creationId xmlns:a16="http://schemas.microsoft.com/office/drawing/2014/main" id="{5AF6F1E8-5ECE-4267-92B5-43C3523BCBE3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1062000" tIns="360000" rIns="4320000" bIns="360000" anchor="ctr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8390923A-6BDB-44C8-9456-CEB6E0A0A293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7540580" y="1"/>
            <a:ext cx="4651420" cy="1673605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1740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36FF9FCE-BF48-40F0-8FF3-3252AB1CF679}"/>
              </a:ext>
            </a:extLst>
          </p:cNvPr>
          <p:cNvSpPr>
            <a:spLocks noGrp="1" noChangeAspect="1"/>
          </p:cNvSpPr>
          <p:nvPr>
            <p:ph type="body" sz="quarter" idx="16"/>
          </p:nvPr>
        </p:nvSpPr>
        <p:spPr>
          <a:xfrm>
            <a:off x="10849038" y="333375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6E7A7DD-8C14-4B85-B39F-1E990E1FFE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333375"/>
            <a:ext cx="5761038" cy="108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7D8FAF2-858C-419E-A577-F0425218264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15444" y="333375"/>
            <a:ext cx="3600000" cy="126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  <a:lvl6pPr>
              <a:defRPr>
                <a:solidFill>
                  <a:schemeClr val="bg2"/>
                </a:solidFill>
              </a:defRPr>
            </a:lvl6pPr>
            <a:lvl7pPr>
              <a:defRPr>
                <a:solidFill>
                  <a:schemeClr val="bg2"/>
                </a:solidFill>
              </a:defRPr>
            </a:lvl7pPr>
            <a:lvl8pPr>
              <a:defRPr>
                <a:solidFill>
                  <a:schemeClr val="bg2"/>
                </a:solidFill>
              </a:defRPr>
            </a:lvl8pPr>
            <a:lvl9pPr>
              <a:defRPr>
                <a:solidFill>
                  <a:schemeClr val="bg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E0AD6A4-0D42-4CCD-B0CB-498EE201FE4E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21E9B0E-B319-4C6F-97AF-0F8D83942F0C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65D74DCF-D99B-4098-B297-0BD016160D35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4713580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76849F14-4971-4208-82A8-1F0513897926}"/>
              </a:ext>
            </a:extLst>
          </p:cNvPr>
          <p:cNvSpPr/>
          <p:nvPr userDrawn="1"/>
        </p:nvSpPr>
        <p:spPr>
          <a:xfrm>
            <a:off x="719400" y="-2"/>
            <a:ext cx="107532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096AA35B-6D3E-4809-9D78-9CF31081E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9400" y="-2"/>
            <a:ext cx="4680000" cy="4068000"/>
          </a:xfrm>
          <a:solidFill>
            <a:schemeClr val="tx2"/>
          </a:solidFill>
        </p:spPr>
        <p:txBody>
          <a:bodyPr lIns="342000" tIns="342000" rIns="0" bIns="504000" anchor="b" anchorCtr="0"/>
          <a:lstStyle>
            <a:lvl1pPr>
              <a:defRPr sz="4500">
                <a:solidFill>
                  <a:schemeClr val="accent1"/>
                </a:solidFill>
              </a:defRPr>
            </a:lvl1pPr>
          </a:lstStyle>
          <a:p>
            <a:r>
              <a:rPr lang="en-US"/>
              <a:t>Thank you</a:t>
            </a:r>
            <a:endParaRPr lang="en-AU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FD95F930-CD55-469B-9FD0-1150DA73B39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-2"/>
            <a:ext cx="12192000" cy="6876000"/>
          </a:xfrm>
          <a:custGeom>
            <a:avLst/>
            <a:gdLst>
              <a:gd name="connsiteX0" fmla="*/ 114726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472600 w 12192000"/>
              <a:gd name="connsiteY3" fmla="*/ 6858000 h 6858000"/>
              <a:gd name="connsiteX4" fmla="*/ 0 w 12192000"/>
              <a:gd name="connsiteY4" fmla="*/ 0 h 6858000"/>
              <a:gd name="connsiteX5" fmla="*/ 719400 w 12192000"/>
              <a:gd name="connsiteY5" fmla="*/ 0 h 6858000"/>
              <a:gd name="connsiteX6" fmla="*/ 7194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14726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472600" y="6858000"/>
                </a:lnTo>
                <a:close/>
                <a:moveTo>
                  <a:pt x="0" y="0"/>
                </a:moveTo>
                <a:lnTo>
                  <a:pt x="719400" y="0"/>
                </a:lnTo>
                <a:lnTo>
                  <a:pt x="7194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08000" tIns="108000" rIns="115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4417D20-4CB7-471C-A5C4-50706D404792}"/>
              </a:ext>
            </a:extLst>
          </p:cNvPr>
          <p:cNvSpPr txBox="1"/>
          <p:nvPr userDrawn="1"/>
        </p:nvSpPr>
        <p:spPr>
          <a:xfrm>
            <a:off x="7877158" y="3841087"/>
            <a:ext cx="3321238" cy="25564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 cap="none" baseline="0">
                <a:solidFill>
                  <a:schemeClr val="bg1"/>
                </a:solidFill>
              </a:defRPr>
            </a:lvl1pPr>
            <a:lvl2pPr marL="0" lvl="1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b="1" cap="all" baseline="0">
                <a:solidFill>
                  <a:schemeClr val="bg1"/>
                </a:solidFill>
              </a:defRPr>
            </a:lvl2pPr>
            <a:lvl3pPr marL="0" lvl="2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3pPr>
            <a:lvl4pPr marL="0" lvl="3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4pPr>
            <a:lvl5pPr marL="0" lvl="4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5pPr>
            <a:lvl6pPr marL="0" lvl="5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6pPr>
            <a:lvl7pPr marL="0" lvl="6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7pPr>
            <a:lvl8pPr marL="0" lvl="7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8pPr>
            <a:lvl9pPr marL="0" lvl="8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9pPr>
          </a:lstStyle>
          <a:p>
            <a:pPr lvl="0">
              <a:spcBef>
                <a:spcPts val="400"/>
              </a:spcBef>
            </a:pPr>
            <a:r>
              <a:rPr lang="en-US" altLang="en-US" sz="1600" b="0">
                <a:solidFill>
                  <a:schemeClr val="bg2"/>
                </a:solidFill>
                <a:latin typeface="+mj-lt"/>
              </a:rPr>
              <a:t>Forest Stewardship Council®</a:t>
            </a:r>
          </a:p>
          <a:p>
            <a:pPr lvl="0">
              <a:spcBef>
                <a:spcPts val="400"/>
              </a:spcBef>
              <a:spcAft>
                <a:spcPts val="1200"/>
              </a:spcAft>
            </a:pPr>
            <a:r>
              <a:rPr lang="en-US" altLang="en-US" sz="1500" b="1">
                <a:solidFill>
                  <a:schemeClr val="bg2"/>
                </a:solidFill>
              </a:rPr>
              <a:t>FSC® Asociación Civil </a:t>
            </a:r>
          </a:p>
          <a:p>
            <a:pPr lvl="0"/>
            <a:endParaRPr lang="en-US" altLang="en-US" sz="1600" b="0"/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Calle Margarita </a:t>
            </a:r>
            <a:r>
              <a:rPr lang="en-US" altLang="en-US" sz="1200" b="0" err="1">
                <a:solidFill>
                  <a:schemeClr val="bg2"/>
                </a:solidFill>
              </a:rPr>
              <a:t>Maza</a:t>
            </a:r>
            <a:r>
              <a:rPr lang="en-US" altLang="en-US" sz="1200" b="0">
                <a:solidFill>
                  <a:schemeClr val="bg2"/>
                </a:solidFill>
              </a:rPr>
              <a:t> de Juárez 422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Colonia Centro,  Oaxaca, México, CP. 68000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Phone: +52 951 502 6533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Fax: +52 951 502 6594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FSC Asociación Civil © All rights reserved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 err="1">
                <a:solidFill>
                  <a:schemeClr val="bg2"/>
                </a:solidFill>
              </a:rPr>
              <a:t>FSC</a:t>
            </a:r>
            <a:r>
              <a:rPr lang="en-US" altLang="en-US" sz="1200" b="0">
                <a:solidFill>
                  <a:schemeClr val="bg2"/>
                </a:solidFill>
              </a:rPr>
              <a:t>® </a:t>
            </a:r>
            <a:r>
              <a:rPr lang="en-US" altLang="en-US" sz="1200" b="0" err="1">
                <a:solidFill>
                  <a:schemeClr val="bg2"/>
                </a:solidFill>
              </a:rPr>
              <a:t>F000100</a:t>
            </a:r>
            <a:r>
              <a:rPr lang="en-US" altLang="en-US" sz="1200" b="0">
                <a:solidFill>
                  <a:schemeClr val="bg2"/>
                </a:solidFill>
              </a:rPr>
              <a:t> </a:t>
            </a:r>
          </a:p>
          <a:p>
            <a:pPr lvl="0"/>
            <a:r>
              <a:rPr lang="en-US" altLang="en-US" sz="1400" b="0" err="1">
                <a:solidFill>
                  <a:schemeClr val="bg2"/>
                </a:solidFill>
                <a:latin typeface="+mj-lt"/>
              </a:rPr>
              <a:t>www.fsc.org</a:t>
            </a:r>
            <a:endParaRPr lang="en-US" altLang="en-US" sz="1400" b="0">
              <a:solidFill>
                <a:schemeClr val="bg2"/>
              </a:solidFill>
              <a:latin typeface="+mj-lt"/>
            </a:endParaRPr>
          </a:p>
          <a:p>
            <a:pPr lvl="0"/>
            <a:endParaRPr lang="en-US" altLang="en-US" sz="1600" b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F8BC909C-567D-4F9C-A0DF-D05DE8F82075}"/>
              </a:ext>
            </a:extLst>
          </p:cNvPr>
          <p:cNvSpPr>
            <a:spLocks noChangeAspect="1"/>
          </p:cNvSpPr>
          <p:nvPr/>
        </p:nvSpPr>
        <p:spPr>
          <a:xfrm>
            <a:off x="7916652" y="4501548"/>
            <a:ext cx="242382" cy="242382"/>
          </a:xfrm>
          <a:custGeom>
            <a:avLst/>
            <a:gdLst>
              <a:gd name="connsiteX0" fmla="*/ 357950 w 809625"/>
              <a:gd name="connsiteY0" fmla="*/ 333375 h 809625"/>
              <a:gd name="connsiteX1" fmla="*/ 480537 w 809625"/>
              <a:gd name="connsiteY1" fmla="*/ 397002 h 809625"/>
              <a:gd name="connsiteX2" fmla="*/ 357950 w 809625"/>
              <a:gd name="connsiteY2" fmla="*/ 460439 h 809625"/>
              <a:gd name="connsiteX3" fmla="*/ 242887 w 809625"/>
              <a:gd name="connsiteY3" fmla="*/ 249555 h 809625"/>
              <a:gd name="connsiteX4" fmla="*/ 178117 w 809625"/>
              <a:gd name="connsiteY4" fmla="*/ 314325 h 809625"/>
              <a:gd name="connsiteX5" fmla="*/ 178117 w 809625"/>
              <a:gd name="connsiteY5" fmla="*/ 495300 h 809625"/>
              <a:gd name="connsiteX6" fmla="*/ 242887 w 809625"/>
              <a:gd name="connsiteY6" fmla="*/ 560070 h 809625"/>
              <a:gd name="connsiteX7" fmla="*/ 566737 w 809625"/>
              <a:gd name="connsiteY7" fmla="*/ 560070 h 809625"/>
              <a:gd name="connsiteX8" fmla="*/ 631507 w 809625"/>
              <a:gd name="connsiteY8" fmla="*/ 495300 h 809625"/>
              <a:gd name="connsiteX9" fmla="*/ 631507 w 809625"/>
              <a:gd name="connsiteY9" fmla="*/ 314325 h 809625"/>
              <a:gd name="connsiteX10" fmla="*/ 566737 w 809625"/>
              <a:gd name="connsiteY10" fmla="*/ 249555 h 809625"/>
              <a:gd name="connsiteX11" fmla="*/ 404813 w 809625"/>
              <a:gd name="connsiteY11" fmla="*/ 0 h 809625"/>
              <a:gd name="connsiteX12" fmla="*/ 809625 w 809625"/>
              <a:gd name="connsiteY12" fmla="*/ 404813 h 809625"/>
              <a:gd name="connsiteX13" fmla="*/ 404813 w 809625"/>
              <a:gd name="connsiteY13" fmla="*/ 809625 h 809625"/>
              <a:gd name="connsiteX14" fmla="*/ 0 w 809625"/>
              <a:gd name="connsiteY14" fmla="*/ 404813 h 809625"/>
              <a:gd name="connsiteX15" fmla="*/ 404813 w 809625"/>
              <a:gd name="connsiteY15" fmla="*/ 0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809625" h="809625">
                <a:moveTo>
                  <a:pt x="357950" y="333375"/>
                </a:moveTo>
                <a:lnTo>
                  <a:pt x="480537" y="397002"/>
                </a:lnTo>
                <a:lnTo>
                  <a:pt x="357950" y="460439"/>
                </a:lnTo>
                <a:close/>
                <a:moveTo>
                  <a:pt x="242887" y="249555"/>
                </a:moveTo>
                <a:cubicBezTo>
                  <a:pt x="207159" y="249660"/>
                  <a:pt x="178222" y="278597"/>
                  <a:pt x="178117" y="314325"/>
                </a:cubicBezTo>
                <a:lnTo>
                  <a:pt x="178117" y="495300"/>
                </a:lnTo>
                <a:cubicBezTo>
                  <a:pt x="178222" y="531028"/>
                  <a:pt x="207159" y="559965"/>
                  <a:pt x="242887" y="560070"/>
                </a:cubicBezTo>
                <a:lnTo>
                  <a:pt x="566737" y="560070"/>
                </a:lnTo>
                <a:cubicBezTo>
                  <a:pt x="602465" y="559965"/>
                  <a:pt x="631402" y="531028"/>
                  <a:pt x="631507" y="495300"/>
                </a:cubicBezTo>
                <a:lnTo>
                  <a:pt x="631507" y="314325"/>
                </a:lnTo>
                <a:cubicBezTo>
                  <a:pt x="631402" y="278597"/>
                  <a:pt x="602465" y="249660"/>
                  <a:pt x="566737" y="249555"/>
                </a:cubicBezTo>
                <a:close/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2487C176-18A9-4BB0-BD80-DEC34233A800}"/>
              </a:ext>
            </a:extLst>
          </p:cNvPr>
          <p:cNvSpPr>
            <a:spLocks noChangeAspect="1"/>
          </p:cNvSpPr>
          <p:nvPr/>
        </p:nvSpPr>
        <p:spPr>
          <a:xfrm>
            <a:off x="8298996" y="4501548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495146 w 809625"/>
              <a:gd name="connsiteY5" fmla="*/ 220645 h 809625"/>
              <a:gd name="connsiteX6" fmla="*/ 428527 w 809625"/>
              <a:gd name="connsiteY6" fmla="*/ 245841 h 809625"/>
              <a:gd name="connsiteX7" fmla="*/ 399192 w 809625"/>
              <a:gd name="connsiteY7" fmla="*/ 313563 h 809625"/>
              <a:gd name="connsiteX8" fmla="*/ 401573 w 809625"/>
              <a:gd name="connsiteY8" fmla="*/ 334803 h 809625"/>
              <a:gd name="connsiteX9" fmla="*/ 209549 w 809625"/>
              <a:gd name="connsiteY9" fmla="*/ 238125 h 809625"/>
              <a:gd name="connsiteX10" fmla="*/ 238124 w 809625"/>
              <a:gd name="connsiteY10" fmla="*/ 361950 h 809625"/>
              <a:gd name="connsiteX11" fmla="*/ 195928 w 809625"/>
              <a:gd name="connsiteY11" fmla="*/ 350329 h 809625"/>
              <a:gd name="connsiteX12" fmla="*/ 195929 w 809625"/>
              <a:gd name="connsiteY12" fmla="*/ 351567 h 809625"/>
              <a:gd name="connsiteX13" fmla="*/ 270605 w 809625"/>
              <a:gd name="connsiteY13" fmla="*/ 442722 h 809625"/>
              <a:gd name="connsiteX14" fmla="*/ 228599 w 809625"/>
              <a:gd name="connsiteY14" fmla="*/ 444341 h 809625"/>
              <a:gd name="connsiteX15" fmla="*/ 315467 w 809625"/>
              <a:gd name="connsiteY15" fmla="*/ 508920 h 809625"/>
              <a:gd name="connsiteX16" fmla="*/ 200024 w 809625"/>
              <a:gd name="connsiteY16" fmla="*/ 548544 h 809625"/>
              <a:gd name="connsiteX17" fmla="*/ 177831 w 809625"/>
              <a:gd name="connsiteY17" fmla="*/ 547211 h 809625"/>
              <a:gd name="connsiteX18" fmla="*/ 320706 w 809625"/>
              <a:gd name="connsiteY18" fmla="*/ 589026 h 809625"/>
              <a:gd name="connsiteX19" fmla="*/ 585406 w 809625"/>
              <a:gd name="connsiteY19" fmla="*/ 324421 h 809625"/>
              <a:gd name="connsiteX20" fmla="*/ 585406 w 809625"/>
              <a:gd name="connsiteY20" fmla="*/ 312324 h 809625"/>
              <a:gd name="connsiteX21" fmla="*/ 631507 w 809625"/>
              <a:gd name="connsiteY21" fmla="*/ 264223 h 809625"/>
              <a:gd name="connsiteX22" fmla="*/ 578072 w 809625"/>
              <a:gd name="connsiteY22" fmla="*/ 278892 h 809625"/>
              <a:gd name="connsiteX23" fmla="*/ 619124 w 809625"/>
              <a:gd name="connsiteY23" fmla="*/ 227361 h 809625"/>
              <a:gd name="connsiteX24" fmla="*/ 560069 w 809625"/>
              <a:gd name="connsiteY24" fmla="*/ 249936 h 809625"/>
              <a:gd name="connsiteX25" fmla="*/ 495146 w 809625"/>
              <a:gd name="connsiteY25" fmla="*/ 220645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495146" y="220645"/>
                </a:moveTo>
                <a:cubicBezTo>
                  <a:pt x="471342" y="219904"/>
                  <a:pt x="447255" y="228245"/>
                  <a:pt x="428527" y="245841"/>
                </a:cubicBezTo>
                <a:cubicBezTo>
                  <a:pt x="409833" y="263407"/>
                  <a:pt x="399219" y="287911"/>
                  <a:pt x="399192" y="313563"/>
                </a:cubicBezTo>
                <a:cubicBezTo>
                  <a:pt x="399204" y="320709"/>
                  <a:pt x="400003" y="327832"/>
                  <a:pt x="401573" y="334803"/>
                </a:cubicBezTo>
                <a:cubicBezTo>
                  <a:pt x="326768" y="331204"/>
                  <a:pt x="256991" y="296073"/>
                  <a:pt x="209549" y="238125"/>
                </a:cubicBezTo>
                <a:cubicBezTo>
                  <a:pt x="185023" y="280491"/>
                  <a:pt x="197513" y="334615"/>
                  <a:pt x="238124" y="361950"/>
                </a:cubicBezTo>
                <a:cubicBezTo>
                  <a:pt x="223336" y="361482"/>
                  <a:pt x="208871" y="357499"/>
                  <a:pt x="195928" y="350329"/>
                </a:cubicBezTo>
                <a:lnTo>
                  <a:pt x="195929" y="351567"/>
                </a:lnTo>
                <a:cubicBezTo>
                  <a:pt x="195962" y="395849"/>
                  <a:pt x="227195" y="433974"/>
                  <a:pt x="270605" y="442722"/>
                </a:cubicBezTo>
                <a:cubicBezTo>
                  <a:pt x="256901" y="446399"/>
                  <a:pt x="242546" y="446952"/>
                  <a:pt x="228599" y="444341"/>
                </a:cubicBezTo>
                <a:cubicBezTo>
                  <a:pt x="240745" y="482243"/>
                  <a:pt x="275672" y="508209"/>
                  <a:pt x="315467" y="508920"/>
                </a:cubicBezTo>
                <a:cubicBezTo>
                  <a:pt x="282513" y="534690"/>
                  <a:pt x="241858" y="548644"/>
                  <a:pt x="200024" y="548544"/>
                </a:cubicBezTo>
                <a:cubicBezTo>
                  <a:pt x="192607" y="548536"/>
                  <a:pt x="185196" y="548091"/>
                  <a:pt x="177831" y="547211"/>
                </a:cubicBezTo>
                <a:cubicBezTo>
                  <a:pt x="220421" y="574649"/>
                  <a:pt x="270043" y="589172"/>
                  <a:pt x="320706" y="589026"/>
                </a:cubicBezTo>
                <a:cubicBezTo>
                  <a:pt x="492156" y="589026"/>
                  <a:pt x="585406" y="447294"/>
                  <a:pt x="585406" y="324421"/>
                </a:cubicBezTo>
                <a:cubicBezTo>
                  <a:pt x="585406" y="320325"/>
                  <a:pt x="585406" y="316325"/>
                  <a:pt x="585406" y="312324"/>
                </a:cubicBezTo>
                <a:cubicBezTo>
                  <a:pt x="603503" y="299151"/>
                  <a:pt x="619113" y="282863"/>
                  <a:pt x="631507" y="264223"/>
                </a:cubicBezTo>
                <a:cubicBezTo>
                  <a:pt x="614513" y="271713"/>
                  <a:pt x="596508" y="276656"/>
                  <a:pt x="578072" y="278892"/>
                </a:cubicBezTo>
                <a:cubicBezTo>
                  <a:pt x="597588" y="267302"/>
                  <a:pt x="612190" y="248974"/>
                  <a:pt x="619124" y="227361"/>
                </a:cubicBezTo>
                <a:cubicBezTo>
                  <a:pt x="600877" y="238213"/>
                  <a:pt x="580902" y="245848"/>
                  <a:pt x="560069" y="249936"/>
                </a:cubicBezTo>
                <a:cubicBezTo>
                  <a:pt x="542473" y="231209"/>
                  <a:pt x="518951" y="221387"/>
                  <a:pt x="495146" y="22064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41393088-2A2D-4F19-A536-4C5B46718A69}"/>
              </a:ext>
            </a:extLst>
          </p:cNvPr>
          <p:cNvSpPr>
            <a:spLocks noChangeAspect="1"/>
          </p:cNvSpPr>
          <p:nvPr userDrawn="1"/>
        </p:nvSpPr>
        <p:spPr>
          <a:xfrm>
            <a:off x="8681340" y="4501548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230981 w 809625"/>
              <a:gd name="connsiteY5" fmla="*/ 177069 h 809625"/>
              <a:gd name="connsiteX6" fmla="*/ 176498 w 809625"/>
              <a:gd name="connsiteY6" fmla="*/ 231552 h 809625"/>
              <a:gd name="connsiteX7" fmla="*/ 230981 w 809625"/>
              <a:gd name="connsiteY7" fmla="*/ 286035 h 809625"/>
              <a:gd name="connsiteX8" fmla="*/ 285464 w 809625"/>
              <a:gd name="connsiteY8" fmla="*/ 231552 h 809625"/>
              <a:gd name="connsiteX9" fmla="*/ 230981 w 809625"/>
              <a:gd name="connsiteY9" fmla="*/ 177069 h 809625"/>
              <a:gd name="connsiteX10" fmla="*/ 517493 w 809625"/>
              <a:gd name="connsiteY10" fmla="*/ 319849 h 809625"/>
              <a:gd name="connsiteX11" fmla="*/ 428625 w 809625"/>
              <a:gd name="connsiteY11" fmla="*/ 368617 h 809625"/>
              <a:gd name="connsiteX12" fmla="*/ 426910 w 809625"/>
              <a:gd name="connsiteY12" fmla="*/ 368617 h 809625"/>
              <a:gd name="connsiteX13" fmla="*/ 426910 w 809625"/>
              <a:gd name="connsiteY13" fmla="*/ 327278 h 809625"/>
              <a:gd name="connsiteX14" fmla="*/ 336899 w 809625"/>
              <a:gd name="connsiteY14" fmla="*/ 327278 h 809625"/>
              <a:gd name="connsiteX15" fmla="*/ 336899 w 809625"/>
              <a:gd name="connsiteY15" fmla="*/ 629602 h 809625"/>
              <a:gd name="connsiteX16" fmla="*/ 430720 w 809625"/>
              <a:gd name="connsiteY16" fmla="*/ 629602 h 809625"/>
              <a:gd name="connsiteX17" fmla="*/ 430720 w 809625"/>
              <a:gd name="connsiteY17" fmla="*/ 480059 h 809625"/>
              <a:gd name="connsiteX18" fmla="*/ 487108 w 809625"/>
              <a:gd name="connsiteY18" fmla="*/ 402430 h 809625"/>
              <a:gd name="connsiteX19" fmla="*/ 535876 w 809625"/>
              <a:gd name="connsiteY19" fmla="*/ 482631 h 809625"/>
              <a:gd name="connsiteX20" fmla="*/ 535876 w 809625"/>
              <a:gd name="connsiteY20" fmla="*/ 629602 h 809625"/>
              <a:gd name="connsiteX21" fmla="*/ 630174 w 809625"/>
              <a:gd name="connsiteY21" fmla="*/ 629602 h 809625"/>
              <a:gd name="connsiteX22" fmla="*/ 630174 w 809625"/>
              <a:gd name="connsiteY22" fmla="*/ 463771 h 809625"/>
              <a:gd name="connsiteX23" fmla="*/ 517493 w 809625"/>
              <a:gd name="connsiteY23" fmla="*/ 319849 h 809625"/>
              <a:gd name="connsiteX24" fmla="*/ 183927 w 809625"/>
              <a:gd name="connsiteY24" fmla="*/ 327278 h 809625"/>
              <a:gd name="connsiteX25" fmla="*/ 183927 w 809625"/>
              <a:gd name="connsiteY25" fmla="*/ 629602 h 809625"/>
              <a:gd name="connsiteX26" fmla="*/ 277939 w 809625"/>
              <a:gd name="connsiteY26" fmla="*/ 629602 h 809625"/>
              <a:gd name="connsiteX27" fmla="*/ 277939 w 809625"/>
              <a:gd name="connsiteY27" fmla="*/ 327278 h 809625"/>
              <a:gd name="connsiteX28" fmla="*/ 183927 w 809625"/>
              <a:gd name="connsiteY28" fmla="*/ 327278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230981" y="177069"/>
                </a:moveTo>
                <a:cubicBezTo>
                  <a:pt x="200891" y="177069"/>
                  <a:pt x="176498" y="201462"/>
                  <a:pt x="176498" y="231552"/>
                </a:cubicBezTo>
                <a:cubicBezTo>
                  <a:pt x="176498" y="261642"/>
                  <a:pt x="200891" y="286035"/>
                  <a:pt x="230981" y="286035"/>
                </a:cubicBezTo>
                <a:cubicBezTo>
                  <a:pt x="261071" y="286035"/>
                  <a:pt x="285464" y="261642"/>
                  <a:pt x="285464" y="231552"/>
                </a:cubicBezTo>
                <a:cubicBezTo>
                  <a:pt x="285464" y="201462"/>
                  <a:pt x="261071" y="177069"/>
                  <a:pt x="230981" y="177069"/>
                </a:cubicBezTo>
                <a:close/>
                <a:moveTo>
                  <a:pt x="517493" y="319849"/>
                </a:moveTo>
                <a:cubicBezTo>
                  <a:pt x="481146" y="318484"/>
                  <a:pt x="446996" y="337225"/>
                  <a:pt x="428625" y="368617"/>
                </a:cubicBezTo>
                <a:lnTo>
                  <a:pt x="426910" y="368617"/>
                </a:lnTo>
                <a:lnTo>
                  <a:pt x="426910" y="327278"/>
                </a:lnTo>
                <a:lnTo>
                  <a:pt x="336899" y="327278"/>
                </a:lnTo>
                <a:lnTo>
                  <a:pt x="336899" y="629602"/>
                </a:lnTo>
                <a:lnTo>
                  <a:pt x="430720" y="629602"/>
                </a:lnTo>
                <a:lnTo>
                  <a:pt x="430720" y="480059"/>
                </a:lnTo>
                <a:cubicBezTo>
                  <a:pt x="430720" y="440530"/>
                  <a:pt x="438912" y="402430"/>
                  <a:pt x="487108" y="402430"/>
                </a:cubicBezTo>
                <a:cubicBezTo>
                  <a:pt x="535305" y="402430"/>
                  <a:pt x="535876" y="447579"/>
                  <a:pt x="535876" y="482631"/>
                </a:cubicBezTo>
                <a:lnTo>
                  <a:pt x="535876" y="629602"/>
                </a:lnTo>
                <a:lnTo>
                  <a:pt x="630174" y="629602"/>
                </a:lnTo>
                <a:lnTo>
                  <a:pt x="630174" y="463771"/>
                </a:lnTo>
                <a:cubicBezTo>
                  <a:pt x="630174" y="382428"/>
                  <a:pt x="612743" y="319849"/>
                  <a:pt x="517493" y="319849"/>
                </a:cubicBezTo>
                <a:close/>
                <a:moveTo>
                  <a:pt x="183927" y="327278"/>
                </a:moveTo>
                <a:lnTo>
                  <a:pt x="183927" y="629602"/>
                </a:lnTo>
                <a:lnTo>
                  <a:pt x="277939" y="629602"/>
                </a:lnTo>
                <a:lnTo>
                  <a:pt x="277939" y="327278"/>
                </a:lnTo>
                <a:lnTo>
                  <a:pt x="183927" y="32727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F1F78FC3-536A-4C34-B2A3-95085DF38A8D}"/>
              </a:ext>
            </a:extLst>
          </p:cNvPr>
          <p:cNvSpPr>
            <a:spLocks noChangeAspect="1"/>
          </p:cNvSpPr>
          <p:nvPr userDrawn="1"/>
        </p:nvSpPr>
        <p:spPr>
          <a:xfrm>
            <a:off x="9063685" y="4501548"/>
            <a:ext cx="242382" cy="242382"/>
          </a:xfrm>
          <a:custGeom>
            <a:avLst/>
            <a:gdLst>
              <a:gd name="connsiteX0" fmla="*/ 404812 w 809625"/>
              <a:gd name="connsiteY0" fmla="*/ 288417 h 809625"/>
              <a:gd name="connsiteX1" fmla="*/ 288417 w 809625"/>
              <a:gd name="connsiteY1" fmla="*/ 404812 h 809625"/>
              <a:gd name="connsiteX2" fmla="*/ 404812 w 809625"/>
              <a:gd name="connsiteY2" fmla="*/ 521208 h 809625"/>
              <a:gd name="connsiteX3" fmla="*/ 521208 w 809625"/>
              <a:gd name="connsiteY3" fmla="*/ 404812 h 809625"/>
              <a:gd name="connsiteX4" fmla="*/ 404812 w 809625"/>
              <a:gd name="connsiteY4" fmla="*/ 288417 h 809625"/>
              <a:gd name="connsiteX5" fmla="*/ 525780 w 809625"/>
              <a:gd name="connsiteY5" fmla="*/ 256603 h 809625"/>
              <a:gd name="connsiteX6" fmla="*/ 498538 w 809625"/>
              <a:gd name="connsiteY6" fmla="*/ 283844 h 809625"/>
              <a:gd name="connsiteX7" fmla="*/ 525780 w 809625"/>
              <a:gd name="connsiteY7" fmla="*/ 311086 h 809625"/>
              <a:gd name="connsiteX8" fmla="*/ 553021 w 809625"/>
              <a:gd name="connsiteY8" fmla="*/ 283844 h 809625"/>
              <a:gd name="connsiteX9" fmla="*/ 525780 w 809625"/>
              <a:gd name="connsiteY9" fmla="*/ 256603 h 809625"/>
              <a:gd name="connsiteX10" fmla="*/ 404812 w 809625"/>
              <a:gd name="connsiteY10" fmla="*/ 219075 h 809625"/>
              <a:gd name="connsiteX11" fmla="*/ 496443 w 809625"/>
              <a:gd name="connsiteY11" fmla="*/ 220408 h 809625"/>
              <a:gd name="connsiteX12" fmla="*/ 538543 w 809625"/>
              <a:gd name="connsiteY12" fmla="*/ 228218 h 809625"/>
              <a:gd name="connsiteX13" fmla="*/ 581501 w 809625"/>
              <a:gd name="connsiteY13" fmla="*/ 271176 h 809625"/>
              <a:gd name="connsiteX14" fmla="*/ 589311 w 809625"/>
              <a:gd name="connsiteY14" fmla="*/ 313277 h 809625"/>
              <a:gd name="connsiteX15" fmla="*/ 590645 w 809625"/>
              <a:gd name="connsiteY15" fmla="*/ 404907 h 809625"/>
              <a:gd name="connsiteX16" fmla="*/ 589311 w 809625"/>
              <a:gd name="connsiteY16" fmla="*/ 496538 h 809625"/>
              <a:gd name="connsiteX17" fmla="*/ 581501 w 809625"/>
              <a:gd name="connsiteY17" fmla="*/ 538638 h 809625"/>
              <a:gd name="connsiteX18" fmla="*/ 538543 w 809625"/>
              <a:gd name="connsiteY18" fmla="*/ 581596 h 809625"/>
              <a:gd name="connsiteX19" fmla="*/ 496443 w 809625"/>
              <a:gd name="connsiteY19" fmla="*/ 589406 h 809625"/>
              <a:gd name="connsiteX20" fmla="*/ 404812 w 809625"/>
              <a:gd name="connsiteY20" fmla="*/ 590740 h 809625"/>
              <a:gd name="connsiteX21" fmla="*/ 313182 w 809625"/>
              <a:gd name="connsiteY21" fmla="*/ 589407 h 809625"/>
              <a:gd name="connsiteX22" fmla="*/ 271081 w 809625"/>
              <a:gd name="connsiteY22" fmla="*/ 581596 h 809625"/>
              <a:gd name="connsiteX23" fmla="*/ 228600 w 809625"/>
              <a:gd name="connsiteY23" fmla="*/ 538543 h 809625"/>
              <a:gd name="connsiteX24" fmla="*/ 220789 w 809625"/>
              <a:gd name="connsiteY24" fmla="*/ 496443 h 809625"/>
              <a:gd name="connsiteX25" fmla="*/ 219075 w 809625"/>
              <a:gd name="connsiteY25" fmla="*/ 404812 h 809625"/>
              <a:gd name="connsiteX26" fmla="*/ 220408 w 809625"/>
              <a:gd name="connsiteY26" fmla="*/ 313182 h 809625"/>
              <a:gd name="connsiteX27" fmla="*/ 228600 w 809625"/>
              <a:gd name="connsiteY27" fmla="*/ 271081 h 809625"/>
              <a:gd name="connsiteX28" fmla="*/ 271081 w 809625"/>
              <a:gd name="connsiteY28" fmla="*/ 228600 h 809625"/>
              <a:gd name="connsiteX29" fmla="*/ 313181 w 809625"/>
              <a:gd name="connsiteY29" fmla="*/ 220789 h 809625"/>
              <a:gd name="connsiteX30" fmla="*/ 404812 w 809625"/>
              <a:gd name="connsiteY30" fmla="*/ 219075 h 809625"/>
              <a:gd name="connsiteX31" fmla="*/ 405669 w 809625"/>
              <a:gd name="connsiteY31" fmla="*/ 177736 h 809625"/>
              <a:gd name="connsiteX32" fmla="*/ 404812 w 809625"/>
              <a:gd name="connsiteY32" fmla="*/ 178212 h 809625"/>
              <a:gd name="connsiteX33" fmla="*/ 311372 w 809625"/>
              <a:gd name="connsiteY33" fmla="*/ 179546 h 809625"/>
              <a:gd name="connsiteX34" fmla="*/ 256317 w 809625"/>
              <a:gd name="connsiteY34" fmla="*/ 190500 h 809625"/>
              <a:gd name="connsiteX35" fmla="*/ 189642 w 809625"/>
              <a:gd name="connsiteY35" fmla="*/ 257175 h 809625"/>
              <a:gd name="connsiteX36" fmla="*/ 179069 w 809625"/>
              <a:gd name="connsiteY36" fmla="*/ 312229 h 809625"/>
              <a:gd name="connsiteX37" fmla="*/ 177736 w 809625"/>
              <a:gd name="connsiteY37" fmla="*/ 405669 h 809625"/>
              <a:gd name="connsiteX38" fmla="*/ 179069 w 809625"/>
              <a:gd name="connsiteY38" fmla="*/ 499110 h 809625"/>
              <a:gd name="connsiteX39" fmla="*/ 190500 w 809625"/>
              <a:gd name="connsiteY39" fmla="*/ 553307 h 809625"/>
              <a:gd name="connsiteX40" fmla="*/ 257175 w 809625"/>
              <a:gd name="connsiteY40" fmla="*/ 619982 h 809625"/>
              <a:gd name="connsiteX41" fmla="*/ 312229 w 809625"/>
              <a:gd name="connsiteY41" fmla="*/ 630554 h 809625"/>
              <a:gd name="connsiteX42" fmla="*/ 405669 w 809625"/>
              <a:gd name="connsiteY42" fmla="*/ 631888 h 809625"/>
              <a:gd name="connsiteX43" fmla="*/ 499110 w 809625"/>
              <a:gd name="connsiteY43" fmla="*/ 630554 h 809625"/>
              <a:gd name="connsiteX44" fmla="*/ 554164 w 809625"/>
              <a:gd name="connsiteY44" fmla="*/ 619982 h 809625"/>
              <a:gd name="connsiteX45" fmla="*/ 620839 w 809625"/>
              <a:gd name="connsiteY45" fmla="*/ 553307 h 809625"/>
              <a:gd name="connsiteX46" fmla="*/ 631412 w 809625"/>
              <a:gd name="connsiteY46" fmla="*/ 498252 h 809625"/>
              <a:gd name="connsiteX47" fmla="*/ 632745 w 809625"/>
              <a:gd name="connsiteY47" fmla="*/ 404812 h 809625"/>
              <a:gd name="connsiteX48" fmla="*/ 631412 w 809625"/>
              <a:gd name="connsiteY48" fmla="*/ 311372 h 809625"/>
              <a:gd name="connsiteX49" fmla="*/ 620839 w 809625"/>
              <a:gd name="connsiteY49" fmla="*/ 256317 h 809625"/>
              <a:gd name="connsiteX50" fmla="*/ 554164 w 809625"/>
              <a:gd name="connsiteY50" fmla="*/ 189642 h 809625"/>
              <a:gd name="connsiteX51" fmla="*/ 499110 w 809625"/>
              <a:gd name="connsiteY51" fmla="*/ 179069 h 809625"/>
              <a:gd name="connsiteX52" fmla="*/ 405669 w 809625"/>
              <a:gd name="connsiteY52" fmla="*/ 177736 h 809625"/>
              <a:gd name="connsiteX53" fmla="*/ 404813 w 809625"/>
              <a:gd name="connsiteY53" fmla="*/ 0 h 809625"/>
              <a:gd name="connsiteX54" fmla="*/ 809625 w 809625"/>
              <a:gd name="connsiteY54" fmla="*/ 404813 h 809625"/>
              <a:gd name="connsiteX55" fmla="*/ 404813 w 809625"/>
              <a:gd name="connsiteY55" fmla="*/ 809625 h 809625"/>
              <a:gd name="connsiteX56" fmla="*/ 0 w 809625"/>
              <a:gd name="connsiteY56" fmla="*/ 404813 h 809625"/>
              <a:gd name="connsiteX57" fmla="*/ 404813 w 809625"/>
              <a:gd name="connsiteY57" fmla="*/ 0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809625" h="809625">
                <a:moveTo>
                  <a:pt x="404812" y="288417"/>
                </a:moveTo>
                <a:cubicBezTo>
                  <a:pt x="340529" y="288417"/>
                  <a:pt x="288417" y="340529"/>
                  <a:pt x="288417" y="404812"/>
                </a:cubicBezTo>
                <a:cubicBezTo>
                  <a:pt x="288417" y="469096"/>
                  <a:pt x="340529" y="521208"/>
                  <a:pt x="404812" y="521208"/>
                </a:cubicBezTo>
                <a:cubicBezTo>
                  <a:pt x="469096" y="521208"/>
                  <a:pt x="521208" y="469096"/>
                  <a:pt x="521208" y="404812"/>
                </a:cubicBezTo>
                <a:cubicBezTo>
                  <a:pt x="521208" y="340529"/>
                  <a:pt x="469096" y="288417"/>
                  <a:pt x="404812" y="288417"/>
                </a:cubicBezTo>
                <a:close/>
                <a:moveTo>
                  <a:pt x="525780" y="256603"/>
                </a:moveTo>
                <a:cubicBezTo>
                  <a:pt x="510734" y="256603"/>
                  <a:pt x="498538" y="268799"/>
                  <a:pt x="498538" y="283844"/>
                </a:cubicBezTo>
                <a:cubicBezTo>
                  <a:pt x="498538" y="298890"/>
                  <a:pt x="510734" y="311086"/>
                  <a:pt x="525780" y="311086"/>
                </a:cubicBezTo>
                <a:cubicBezTo>
                  <a:pt x="540825" y="311086"/>
                  <a:pt x="553021" y="298890"/>
                  <a:pt x="553021" y="283844"/>
                </a:cubicBezTo>
                <a:cubicBezTo>
                  <a:pt x="553021" y="268799"/>
                  <a:pt x="540825" y="256603"/>
                  <a:pt x="525780" y="256603"/>
                </a:cubicBezTo>
                <a:close/>
                <a:moveTo>
                  <a:pt x="404812" y="219075"/>
                </a:moveTo>
                <a:cubicBezTo>
                  <a:pt x="465296" y="219075"/>
                  <a:pt x="472535" y="219075"/>
                  <a:pt x="496443" y="220408"/>
                </a:cubicBezTo>
                <a:cubicBezTo>
                  <a:pt x="510824" y="220533"/>
                  <a:pt x="525073" y="223177"/>
                  <a:pt x="538543" y="228218"/>
                </a:cubicBezTo>
                <a:cubicBezTo>
                  <a:pt x="558257" y="235874"/>
                  <a:pt x="573845" y="251463"/>
                  <a:pt x="581501" y="271176"/>
                </a:cubicBezTo>
                <a:cubicBezTo>
                  <a:pt x="586542" y="284646"/>
                  <a:pt x="589186" y="298895"/>
                  <a:pt x="589311" y="313277"/>
                </a:cubicBezTo>
                <a:cubicBezTo>
                  <a:pt x="590454" y="337185"/>
                  <a:pt x="590645" y="344424"/>
                  <a:pt x="590645" y="404907"/>
                </a:cubicBezTo>
                <a:cubicBezTo>
                  <a:pt x="590645" y="465391"/>
                  <a:pt x="590645" y="472630"/>
                  <a:pt x="589311" y="496538"/>
                </a:cubicBezTo>
                <a:cubicBezTo>
                  <a:pt x="589186" y="510920"/>
                  <a:pt x="586543" y="525168"/>
                  <a:pt x="581501" y="538638"/>
                </a:cubicBezTo>
                <a:cubicBezTo>
                  <a:pt x="573845" y="558352"/>
                  <a:pt x="558257" y="573940"/>
                  <a:pt x="538543" y="581596"/>
                </a:cubicBezTo>
                <a:cubicBezTo>
                  <a:pt x="525073" y="586638"/>
                  <a:pt x="510824" y="589281"/>
                  <a:pt x="496443" y="589406"/>
                </a:cubicBezTo>
                <a:cubicBezTo>
                  <a:pt x="472535" y="590550"/>
                  <a:pt x="465391" y="590740"/>
                  <a:pt x="404812" y="590740"/>
                </a:cubicBezTo>
                <a:cubicBezTo>
                  <a:pt x="344233" y="590740"/>
                  <a:pt x="337089" y="590740"/>
                  <a:pt x="313182" y="589407"/>
                </a:cubicBezTo>
                <a:cubicBezTo>
                  <a:pt x="298800" y="589281"/>
                  <a:pt x="284551" y="586638"/>
                  <a:pt x="271081" y="581596"/>
                </a:cubicBezTo>
                <a:cubicBezTo>
                  <a:pt x="251529" y="573808"/>
                  <a:pt x="236125" y="558197"/>
                  <a:pt x="228600" y="538543"/>
                </a:cubicBezTo>
                <a:cubicBezTo>
                  <a:pt x="223558" y="525073"/>
                  <a:pt x="220914" y="510824"/>
                  <a:pt x="220789" y="496443"/>
                </a:cubicBezTo>
                <a:cubicBezTo>
                  <a:pt x="219075" y="472535"/>
                  <a:pt x="219075" y="465296"/>
                  <a:pt x="219075" y="404812"/>
                </a:cubicBezTo>
                <a:cubicBezTo>
                  <a:pt x="219075" y="344328"/>
                  <a:pt x="219075" y="337089"/>
                  <a:pt x="220408" y="313182"/>
                </a:cubicBezTo>
                <a:cubicBezTo>
                  <a:pt x="220655" y="298777"/>
                  <a:pt x="223428" y="284527"/>
                  <a:pt x="228600" y="271081"/>
                </a:cubicBezTo>
                <a:cubicBezTo>
                  <a:pt x="236258" y="251643"/>
                  <a:pt x="251643" y="236258"/>
                  <a:pt x="271081" y="228600"/>
                </a:cubicBezTo>
                <a:cubicBezTo>
                  <a:pt x="284551" y="223558"/>
                  <a:pt x="298800" y="220914"/>
                  <a:pt x="313181" y="220789"/>
                </a:cubicBezTo>
                <a:cubicBezTo>
                  <a:pt x="337089" y="219075"/>
                  <a:pt x="344328" y="219075"/>
                  <a:pt x="404812" y="219075"/>
                </a:cubicBezTo>
                <a:close/>
                <a:moveTo>
                  <a:pt x="405669" y="177736"/>
                </a:moveTo>
                <a:lnTo>
                  <a:pt x="404812" y="178212"/>
                </a:lnTo>
                <a:cubicBezTo>
                  <a:pt x="343281" y="178212"/>
                  <a:pt x="335565" y="178212"/>
                  <a:pt x="311372" y="179546"/>
                </a:cubicBezTo>
                <a:cubicBezTo>
                  <a:pt x="292533" y="180057"/>
                  <a:pt x="273917" y="183760"/>
                  <a:pt x="256317" y="190500"/>
                </a:cubicBezTo>
                <a:cubicBezTo>
                  <a:pt x="225602" y="202200"/>
                  <a:pt x="201343" y="226459"/>
                  <a:pt x="189642" y="257175"/>
                </a:cubicBezTo>
                <a:cubicBezTo>
                  <a:pt x="183033" y="274797"/>
                  <a:pt x="179458" y="293412"/>
                  <a:pt x="179069" y="312229"/>
                </a:cubicBezTo>
                <a:cubicBezTo>
                  <a:pt x="178022" y="336423"/>
                  <a:pt x="177736" y="344138"/>
                  <a:pt x="177736" y="405669"/>
                </a:cubicBezTo>
                <a:cubicBezTo>
                  <a:pt x="177736" y="467201"/>
                  <a:pt x="177736" y="474916"/>
                  <a:pt x="179069" y="499110"/>
                </a:cubicBezTo>
                <a:cubicBezTo>
                  <a:pt x="179828" y="517687"/>
                  <a:pt x="183692" y="536005"/>
                  <a:pt x="190500" y="553307"/>
                </a:cubicBezTo>
                <a:cubicBezTo>
                  <a:pt x="202200" y="584022"/>
                  <a:pt x="226459" y="608281"/>
                  <a:pt x="257175" y="619982"/>
                </a:cubicBezTo>
                <a:cubicBezTo>
                  <a:pt x="274797" y="626591"/>
                  <a:pt x="293412" y="630165"/>
                  <a:pt x="312229" y="630554"/>
                </a:cubicBezTo>
                <a:cubicBezTo>
                  <a:pt x="336423" y="631602"/>
                  <a:pt x="344138" y="631888"/>
                  <a:pt x="405669" y="631888"/>
                </a:cubicBezTo>
                <a:cubicBezTo>
                  <a:pt x="467201" y="631888"/>
                  <a:pt x="474916" y="631888"/>
                  <a:pt x="499110" y="630554"/>
                </a:cubicBezTo>
                <a:cubicBezTo>
                  <a:pt x="517927" y="630165"/>
                  <a:pt x="536542" y="626591"/>
                  <a:pt x="554164" y="619982"/>
                </a:cubicBezTo>
                <a:cubicBezTo>
                  <a:pt x="584880" y="608281"/>
                  <a:pt x="609138" y="584022"/>
                  <a:pt x="620839" y="553307"/>
                </a:cubicBezTo>
                <a:cubicBezTo>
                  <a:pt x="627448" y="535684"/>
                  <a:pt x="631023" y="517069"/>
                  <a:pt x="631412" y="498252"/>
                </a:cubicBezTo>
                <a:cubicBezTo>
                  <a:pt x="632460" y="474059"/>
                  <a:pt x="632745" y="466344"/>
                  <a:pt x="632745" y="404812"/>
                </a:cubicBezTo>
                <a:cubicBezTo>
                  <a:pt x="632745" y="343281"/>
                  <a:pt x="632745" y="335565"/>
                  <a:pt x="631412" y="311372"/>
                </a:cubicBezTo>
                <a:cubicBezTo>
                  <a:pt x="631023" y="292555"/>
                  <a:pt x="627448" y="273940"/>
                  <a:pt x="620839" y="256317"/>
                </a:cubicBezTo>
                <a:cubicBezTo>
                  <a:pt x="609138" y="225602"/>
                  <a:pt x="584880" y="201343"/>
                  <a:pt x="554164" y="189642"/>
                </a:cubicBezTo>
                <a:cubicBezTo>
                  <a:pt x="536542" y="183033"/>
                  <a:pt x="517927" y="179458"/>
                  <a:pt x="499110" y="179069"/>
                </a:cubicBezTo>
                <a:cubicBezTo>
                  <a:pt x="474916" y="178022"/>
                  <a:pt x="467201" y="177736"/>
                  <a:pt x="405669" y="177736"/>
                </a:cubicBezTo>
                <a:close/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37645F6A-EDD9-42D2-A01C-F8414798D57C}"/>
              </a:ext>
            </a:extLst>
          </p:cNvPr>
          <p:cNvSpPr>
            <a:spLocks noChangeAspect="1"/>
          </p:cNvSpPr>
          <p:nvPr/>
        </p:nvSpPr>
        <p:spPr>
          <a:xfrm>
            <a:off x="9446029" y="4501548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207835 w 809625"/>
              <a:gd name="connsiteY5" fmla="*/ 183451 h 809625"/>
              <a:gd name="connsiteX6" fmla="*/ 183451 w 809625"/>
              <a:gd name="connsiteY6" fmla="*/ 207835 h 809625"/>
              <a:gd name="connsiteX7" fmla="*/ 183451 w 809625"/>
              <a:gd name="connsiteY7" fmla="*/ 601789 h 809625"/>
              <a:gd name="connsiteX8" fmla="*/ 207835 w 809625"/>
              <a:gd name="connsiteY8" fmla="*/ 626173 h 809625"/>
              <a:gd name="connsiteX9" fmla="*/ 419957 w 809625"/>
              <a:gd name="connsiteY9" fmla="*/ 626173 h 809625"/>
              <a:gd name="connsiteX10" fmla="*/ 419957 w 809625"/>
              <a:gd name="connsiteY10" fmla="*/ 454723 h 809625"/>
              <a:gd name="connsiteX11" fmla="*/ 361950 w 809625"/>
              <a:gd name="connsiteY11" fmla="*/ 454723 h 809625"/>
              <a:gd name="connsiteX12" fmla="*/ 361950 w 809625"/>
              <a:gd name="connsiteY12" fmla="*/ 388048 h 809625"/>
              <a:gd name="connsiteX13" fmla="*/ 419671 w 809625"/>
              <a:gd name="connsiteY13" fmla="*/ 388048 h 809625"/>
              <a:gd name="connsiteX14" fmla="*/ 419671 w 809625"/>
              <a:gd name="connsiteY14" fmla="*/ 338613 h 809625"/>
              <a:gd name="connsiteX15" fmla="*/ 505396 w 809625"/>
              <a:gd name="connsiteY15" fmla="*/ 250317 h 809625"/>
              <a:gd name="connsiteX16" fmla="*/ 556926 w 809625"/>
              <a:gd name="connsiteY16" fmla="*/ 252984 h 809625"/>
              <a:gd name="connsiteX17" fmla="*/ 556926 w 809625"/>
              <a:gd name="connsiteY17" fmla="*/ 312705 h 809625"/>
              <a:gd name="connsiteX18" fmla="*/ 522065 w 809625"/>
              <a:gd name="connsiteY18" fmla="*/ 312705 h 809625"/>
              <a:gd name="connsiteX19" fmla="*/ 488918 w 809625"/>
              <a:gd name="connsiteY19" fmla="*/ 345281 h 809625"/>
              <a:gd name="connsiteX20" fmla="*/ 488918 w 809625"/>
              <a:gd name="connsiteY20" fmla="*/ 387953 h 809625"/>
              <a:gd name="connsiteX21" fmla="*/ 555593 w 809625"/>
              <a:gd name="connsiteY21" fmla="*/ 387953 h 809625"/>
              <a:gd name="connsiteX22" fmla="*/ 546925 w 809625"/>
              <a:gd name="connsiteY22" fmla="*/ 454628 h 809625"/>
              <a:gd name="connsiteX23" fmla="*/ 489775 w 809625"/>
              <a:gd name="connsiteY23" fmla="*/ 454628 h 809625"/>
              <a:gd name="connsiteX24" fmla="*/ 489775 w 809625"/>
              <a:gd name="connsiteY24" fmla="*/ 626078 h 809625"/>
              <a:gd name="connsiteX25" fmla="*/ 601789 w 809625"/>
              <a:gd name="connsiteY25" fmla="*/ 626078 h 809625"/>
              <a:gd name="connsiteX26" fmla="*/ 626173 w 809625"/>
              <a:gd name="connsiteY26" fmla="*/ 601694 h 809625"/>
              <a:gd name="connsiteX27" fmla="*/ 626173 w 809625"/>
              <a:gd name="connsiteY27" fmla="*/ 207835 h 809625"/>
              <a:gd name="connsiteX28" fmla="*/ 601789 w 809625"/>
              <a:gd name="connsiteY28" fmla="*/ 183451 h 809625"/>
              <a:gd name="connsiteX29" fmla="*/ 207835 w 809625"/>
              <a:gd name="connsiteY29" fmla="*/ 183451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207835" y="183451"/>
                </a:moveTo>
                <a:cubicBezTo>
                  <a:pt x="194368" y="183451"/>
                  <a:pt x="183451" y="194368"/>
                  <a:pt x="183451" y="207835"/>
                </a:cubicBezTo>
                <a:lnTo>
                  <a:pt x="183451" y="601789"/>
                </a:lnTo>
                <a:cubicBezTo>
                  <a:pt x="183451" y="615256"/>
                  <a:pt x="194368" y="626173"/>
                  <a:pt x="207835" y="626173"/>
                </a:cubicBezTo>
                <a:lnTo>
                  <a:pt x="419957" y="626173"/>
                </a:lnTo>
                <a:lnTo>
                  <a:pt x="419957" y="454723"/>
                </a:lnTo>
                <a:lnTo>
                  <a:pt x="361950" y="454723"/>
                </a:lnTo>
                <a:lnTo>
                  <a:pt x="361950" y="388048"/>
                </a:lnTo>
                <a:lnTo>
                  <a:pt x="419671" y="388048"/>
                </a:lnTo>
                <a:lnTo>
                  <a:pt x="419671" y="338613"/>
                </a:lnTo>
                <a:cubicBezTo>
                  <a:pt x="419671" y="281463"/>
                  <a:pt x="454533" y="250317"/>
                  <a:pt x="505396" y="250317"/>
                </a:cubicBezTo>
                <a:cubicBezTo>
                  <a:pt x="522609" y="250238"/>
                  <a:pt x="539813" y="251128"/>
                  <a:pt x="556926" y="252984"/>
                </a:cubicBezTo>
                <a:lnTo>
                  <a:pt x="556926" y="312705"/>
                </a:lnTo>
                <a:lnTo>
                  <a:pt x="522065" y="312705"/>
                </a:lnTo>
                <a:cubicBezTo>
                  <a:pt x="494252" y="312705"/>
                  <a:pt x="488918" y="325945"/>
                  <a:pt x="488918" y="345281"/>
                </a:cubicBezTo>
                <a:lnTo>
                  <a:pt x="488918" y="387953"/>
                </a:lnTo>
                <a:lnTo>
                  <a:pt x="555593" y="387953"/>
                </a:lnTo>
                <a:lnTo>
                  <a:pt x="546925" y="454628"/>
                </a:lnTo>
                <a:lnTo>
                  <a:pt x="489775" y="454628"/>
                </a:lnTo>
                <a:lnTo>
                  <a:pt x="489775" y="626078"/>
                </a:lnTo>
                <a:lnTo>
                  <a:pt x="601789" y="626078"/>
                </a:lnTo>
                <a:cubicBezTo>
                  <a:pt x="615256" y="626078"/>
                  <a:pt x="626173" y="615161"/>
                  <a:pt x="626173" y="601694"/>
                </a:cubicBezTo>
                <a:lnTo>
                  <a:pt x="626173" y="207835"/>
                </a:lnTo>
                <a:cubicBezTo>
                  <a:pt x="626173" y="194368"/>
                  <a:pt x="615256" y="183451"/>
                  <a:pt x="601789" y="183451"/>
                </a:cubicBezTo>
                <a:lnTo>
                  <a:pt x="207835" y="183451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2C0FD023-579A-62CD-4A09-817C603D34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14484" y="2549185"/>
            <a:ext cx="1976093" cy="879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5339415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76849F14-4971-4208-82A8-1F0513897926}"/>
              </a:ext>
            </a:extLst>
          </p:cNvPr>
          <p:cNvSpPr/>
          <p:nvPr userDrawn="1"/>
        </p:nvSpPr>
        <p:spPr>
          <a:xfrm>
            <a:off x="719400" y="-2"/>
            <a:ext cx="107532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096AA35B-6D3E-4809-9D78-9CF31081E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9400" y="-2"/>
            <a:ext cx="4680000" cy="4068000"/>
          </a:xfrm>
          <a:solidFill>
            <a:schemeClr val="tx2"/>
          </a:solidFill>
        </p:spPr>
        <p:txBody>
          <a:bodyPr lIns="342000" tIns="342000" rIns="0" bIns="504000" anchor="b" anchorCtr="0"/>
          <a:lstStyle>
            <a:lvl1pPr>
              <a:defRPr sz="4500">
                <a:solidFill>
                  <a:schemeClr val="accent1"/>
                </a:solidFill>
              </a:defRPr>
            </a:lvl1pPr>
          </a:lstStyle>
          <a:p>
            <a:r>
              <a:rPr lang="en-US"/>
              <a:t>Thank you</a:t>
            </a:r>
            <a:endParaRPr lang="en-AU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FD95F930-CD55-469B-9FD0-1150DA73B39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-2"/>
            <a:ext cx="12192000" cy="6876000"/>
          </a:xfrm>
          <a:custGeom>
            <a:avLst/>
            <a:gdLst>
              <a:gd name="connsiteX0" fmla="*/ 114726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472600 w 12192000"/>
              <a:gd name="connsiteY3" fmla="*/ 6858000 h 6858000"/>
              <a:gd name="connsiteX4" fmla="*/ 0 w 12192000"/>
              <a:gd name="connsiteY4" fmla="*/ 0 h 6858000"/>
              <a:gd name="connsiteX5" fmla="*/ 719400 w 12192000"/>
              <a:gd name="connsiteY5" fmla="*/ 0 h 6858000"/>
              <a:gd name="connsiteX6" fmla="*/ 7194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14726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472600" y="6858000"/>
                </a:lnTo>
                <a:close/>
                <a:moveTo>
                  <a:pt x="0" y="0"/>
                </a:moveTo>
                <a:lnTo>
                  <a:pt x="719400" y="0"/>
                </a:lnTo>
                <a:lnTo>
                  <a:pt x="7194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08000" tIns="108000" rIns="115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F8BC909C-567D-4F9C-A0DF-D05DE8F82075}"/>
              </a:ext>
            </a:extLst>
          </p:cNvPr>
          <p:cNvSpPr>
            <a:spLocks noChangeAspect="1"/>
          </p:cNvSpPr>
          <p:nvPr/>
        </p:nvSpPr>
        <p:spPr>
          <a:xfrm>
            <a:off x="7916652" y="4501548"/>
            <a:ext cx="242382" cy="242382"/>
          </a:xfrm>
          <a:custGeom>
            <a:avLst/>
            <a:gdLst>
              <a:gd name="connsiteX0" fmla="*/ 357950 w 809625"/>
              <a:gd name="connsiteY0" fmla="*/ 333375 h 809625"/>
              <a:gd name="connsiteX1" fmla="*/ 480537 w 809625"/>
              <a:gd name="connsiteY1" fmla="*/ 397002 h 809625"/>
              <a:gd name="connsiteX2" fmla="*/ 357950 w 809625"/>
              <a:gd name="connsiteY2" fmla="*/ 460439 h 809625"/>
              <a:gd name="connsiteX3" fmla="*/ 242887 w 809625"/>
              <a:gd name="connsiteY3" fmla="*/ 249555 h 809625"/>
              <a:gd name="connsiteX4" fmla="*/ 178117 w 809625"/>
              <a:gd name="connsiteY4" fmla="*/ 314325 h 809625"/>
              <a:gd name="connsiteX5" fmla="*/ 178117 w 809625"/>
              <a:gd name="connsiteY5" fmla="*/ 495300 h 809625"/>
              <a:gd name="connsiteX6" fmla="*/ 242887 w 809625"/>
              <a:gd name="connsiteY6" fmla="*/ 560070 h 809625"/>
              <a:gd name="connsiteX7" fmla="*/ 566737 w 809625"/>
              <a:gd name="connsiteY7" fmla="*/ 560070 h 809625"/>
              <a:gd name="connsiteX8" fmla="*/ 631507 w 809625"/>
              <a:gd name="connsiteY8" fmla="*/ 495300 h 809625"/>
              <a:gd name="connsiteX9" fmla="*/ 631507 w 809625"/>
              <a:gd name="connsiteY9" fmla="*/ 314325 h 809625"/>
              <a:gd name="connsiteX10" fmla="*/ 566737 w 809625"/>
              <a:gd name="connsiteY10" fmla="*/ 249555 h 809625"/>
              <a:gd name="connsiteX11" fmla="*/ 404813 w 809625"/>
              <a:gd name="connsiteY11" fmla="*/ 0 h 809625"/>
              <a:gd name="connsiteX12" fmla="*/ 809625 w 809625"/>
              <a:gd name="connsiteY12" fmla="*/ 404813 h 809625"/>
              <a:gd name="connsiteX13" fmla="*/ 404813 w 809625"/>
              <a:gd name="connsiteY13" fmla="*/ 809625 h 809625"/>
              <a:gd name="connsiteX14" fmla="*/ 0 w 809625"/>
              <a:gd name="connsiteY14" fmla="*/ 404813 h 809625"/>
              <a:gd name="connsiteX15" fmla="*/ 404813 w 809625"/>
              <a:gd name="connsiteY15" fmla="*/ 0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809625" h="809625">
                <a:moveTo>
                  <a:pt x="357950" y="333375"/>
                </a:moveTo>
                <a:lnTo>
                  <a:pt x="480537" y="397002"/>
                </a:lnTo>
                <a:lnTo>
                  <a:pt x="357950" y="460439"/>
                </a:lnTo>
                <a:close/>
                <a:moveTo>
                  <a:pt x="242887" y="249555"/>
                </a:moveTo>
                <a:cubicBezTo>
                  <a:pt x="207159" y="249660"/>
                  <a:pt x="178222" y="278597"/>
                  <a:pt x="178117" y="314325"/>
                </a:cubicBezTo>
                <a:lnTo>
                  <a:pt x="178117" y="495300"/>
                </a:lnTo>
                <a:cubicBezTo>
                  <a:pt x="178222" y="531028"/>
                  <a:pt x="207159" y="559965"/>
                  <a:pt x="242887" y="560070"/>
                </a:cubicBezTo>
                <a:lnTo>
                  <a:pt x="566737" y="560070"/>
                </a:lnTo>
                <a:cubicBezTo>
                  <a:pt x="602465" y="559965"/>
                  <a:pt x="631402" y="531028"/>
                  <a:pt x="631507" y="495300"/>
                </a:cubicBezTo>
                <a:lnTo>
                  <a:pt x="631507" y="314325"/>
                </a:lnTo>
                <a:cubicBezTo>
                  <a:pt x="631402" y="278597"/>
                  <a:pt x="602465" y="249660"/>
                  <a:pt x="566737" y="249555"/>
                </a:cubicBezTo>
                <a:close/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2487C176-18A9-4BB0-BD80-DEC34233A800}"/>
              </a:ext>
            </a:extLst>
          </p:cNvPr>
          <p:cNvSpPr>
            <a:spLocks noChangeAspect="1"/>
          </p:cNvSpPr>
          <p:nvPr/>
        </p:nvSpPr>
        <p:spPr>
          <a:xfrm>
            <a:off x="8298996" y="4501548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495146 w 809625"/>
              <a:gd name="connsiteY5" fmla="*/ 220645 h 809625"/>
              <a:gd name="connsiteX6" fmla="*/ 428527 w 809625"/>
              <a:gd name="connsiteY6" fmla="*/ 245841 h 809625"/>
              <a:gd name="connsiteX7" fmla="*/ 399192 w 809625"/>
              <a:gd name="connsiteY7" fmla="*/ 313563 h 809625"/>
              <a:gd name="connsiteX8" fmla="*/ 401573 w 809625"/>
              <a:gd name="connsiteY8" fmla="*/ 334803 h 809625"/>
              <a:gd name="connsiteX9" fmla="*/ 209549 w 809625"/>
              <a:gd name="connsiteY9" fmla="*/ 238125 h 809625"/>
              <a:gd name="connsiteX10" fmla="*/ 238124 w 809625"/>
              <a:gd name="connsiteY10" fmla="*/ 361950 h 809625"/>
              <a:gd name="connsiteX11" fmla="*/ 195928 w 809625"/>
              <a:gd name="connsiteY11" fmla="*/ 350329 h 809625"/>
              <a:gd name="connsiteX12" fmla="*/ 195929 w 809625"/>
              <a:gd name="connsiteY12" fmla="*/ 351567 h 809625"/>
              <a:gd name="connsiteX13" fmla="*/ 270605 w 809625"/>
              <a:gd name="connsiteY13" fmla="*/ 442722 h 809625"/>
              <a:gd name="connsiteX14" fmla="*/ 228599 w 809625"/>
              <a:gd name="connsiteY14" fmla="*/ 444341 h 809625"/>
              <a:gd name="connsiteX15" fmla="*/ 315467 w 809625"/>
              <a:gd name="connsiteY15" fmla="*/ 508920 h 809625"/>
              <a:gd name="connsiteX16" fmla="*/ 200024 w 809625"/>
              <a:gd name="connsiteY16" fmla="*/ 548544 h 809625"/>
              <a:gd name="connsiteX17" fmla="*/ 177831 w 809625"/>
              <a:gd name="connsiteY17" fmla="*/ 547211 h 809625"/>
              <a:gd name="connsiteX18" fmla="*/ 320706 w 809625"/>
              <a:gd name="connsiteY18" fmla="*/ 589026 h 809625"/>
              <a:gd name="connsiteX19" fmla="*/ 585406 w 809625"/>
              <a:gd name="connsiteY19" fmla="*/ 324421 h 809625"/>
              <a:gd name="connsiteX20" fmla="*/ 585406 w 809625"/>
              <a:gd name="connsiteY20" fmla="*/ 312324 h 809625"/>
              <a:gd name="connsiteX21" fmla="*/ 631507 w 809625"/>
              <a:gd name="connsiteY21" fmla="*/ 264223 h 809625"/>
              <a:gd name="connsiteX22" fmla="*/ 578072 w 809625"/>
              <a:gd name="connsiteY22" fmla="*/ 278892 h 809625"/>
              <a:gd name="connsiteX23" fmla="*/ 619124 w 809625"/>
              <a:gd name="connsiteY23" fmla="*/ 227361 h 809625"/>
              <a:gd name="connsiteX24" fmla="*/ 560069 w 809625"/>
              <a:gd name="connsiteY24" fmla="*/ 249936 h 809625"/>
              <a:gd name="connsiteX25" fmla="*/ 495146 w 809625"/>
              <a:gd name="connsiteY25" fmla="*/ 220645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495146" y="220645"/>
                </a:moveTo>
                <a:cubicBezTo>
                  <a:pt x="471342" y="219904"/>
                  <a:pt x="447255" y="228245"/>
                  <a:pt x="428527" y="245841"/>
                </a:cubicBezTo>
                <a:cubicBezTo>
                  <a:pt x="409833" y="263407"/>
                  <a:pt x="399219" y="287911"/>
                  <a:pt x="399192" y="313563"/>
                </a:cubicBezTo>
                <a:cubicBezTo>
                  <a:pt x="399204" y="320709"/>
                  <a:pt x="400003" y="327832"/>
                  <a:pt x="401573" y="334803"/>
                </a:cubicBezTo>
                <a:cubicBezTo>
                  <a:pt x="326768" y="331204"/>
                  <a:pt x="256991" y="296073"/>
                  <a:pt x="209549" y="238125"/>
                </a:cubicBezTo>
                <a:cubicBezTo>
                  <a:pt x="185023" y="280491"/>
                  <a:pt x="197513" y="334615"/>
                  <a:pt x="238124" y="361950"/>
                </a:cubicBezTo>
                <a:cubicBezTo>
                  <a:pt x="223336" y="361482"/>
                  <a:pt x="208871" y="357499"/>
                  <a:pt x="195928" y="350329"/>
                </a:cubicBezTo>
                <a:lnTo>
                  <a:pt x="195929" y="351567"/>
                </a:lnTo>
                <a:cubicBezTo>
                  <a:pt x="195962" y="395849"/>
                  <a:pt x="227195" y="433974"/>
                  <a:pt x="270605" y="442722"/>
                </a:cubicBezTo>
                <a:cubicBezTo>
                  <a:pt x="256901" y="446399"/>
                  <a:pt x="242546" y="446952"/>
                  <a:pt x="228599" y="444341"/>
                </a:cubicBezTo>
                <a:cubicBezTo>
                  <a:pt x="240745" y="482243"/>
                  <a:pt x="275672" y="508209"/>
                  <a:pt x="315467" y="508920"/>
                </a:cubicBezTo>
                <a:cubicBezTo>
                  <a:pt x="282513" y="534690"/>
                  <a:pt x="241858" y="548644"/>
                  <a:pt x="200024" y="548544"/>
                </a:cubicBezTo>
                <a:cubicBezTo>
                  <a:pt x="192607" y="548536"/>
                  <a:pt x="185196" y="548091"/>
                  <a:pt x="177831" y="547211"/>
                </a:cubicBezTo>
                <a:cubicBezTo>
                  <a:pt x="220421" y="574649"/>
                  <a:pt x="270043" y="589172"/>
                  <a:pt x="320706" y="589026"/>
                </a:cubicBezTo>
                <a:cubicBezTo>
                  <a:pt x="492156" y="589026"/>
                  <a:pt x="585406" y="447294"/>
                  <a:pt x="585406" y="324421"/>
                </a:cubicBezTo>
                <a:cubicBezTo>
                  <a:pt x="585406" y="320325"/>
                  <a:pt x="585406" y="316325"/>
                  <a:pt x="585406" y="312324"/>
                </a:cubicBezTo>
                <a:cubicBezTo>
                  <a:pt x="603503" y="299151"/>
                  <a:pt x="619113" y="282863"/>
                  <a:pt x="631507" y="264223"/>
                </a:cubicBezTo>
                <a:cubicBezTo>
                  <a:pt x="614513" y="271713"/>
                  <a:pt x="596508" y="276656"/>
                  <a:pt x="578072" y="278892"/>
                </a:cubicBezTo>
                <a:cubicBezTo>
                  <a:pt x="597588" y="267302"/>
                  <a:pt x="612190" y="248974"/>
                  <a:pt x="619124" y="227361"/>
                </a:cubicBezTo>
                <a:cubicBezTo>
                  <a:pt x="600877" y="238213"/>
                  <a:pt x="580902" y="245848"/>
                  <a:pt x="560069" y="249936"/>
                </a:cubicBezTo>
                <a:cubicBezTo>
                  <a:pt x="542473" y="231209"/>
                  <a:pt x="518951" y="221387"/>
                  <a:pt x="495146" y="22064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41393088-2A2D-4F19-A536-4C5B46718A69}"/>
              </a:ext>
            </a:extLst>
          </p:cNvPr>
          <p:cNvSpPr>
            <a:spLocks noChangeAspect="1"/>
          </p:cNvSpPr>
          <p:nvPr userDrawn="1"/>
        </p:nvSpPr>
        <p:spPr>
          <a:xfrm>
            <a:off x="8681340" y="4501548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230981 w 809625"/>
              <a:gd name="connsiteY5" fmla="*/ 177069 h 809625"/>
              <a:gd name="connsiteX6" fmla="*/ 176498 w 809625"/>
              <a:gd name="connsiteY6" fmla="*/ 231552 h 809625"/>
              <a:gd name="connsiteX7" fmla="*/ 230981 w 809625"/>
              <a:gd name="connsiteY7" fmla="*/ 286035 h 809625"/>
              <a:gd name="connsiteX8" fmla="*/ 285464 w 809625"/>
              <a:gd name="connsiteY8" fmla="*/ 231552 h 809625"/>
              <a:gd name="connsiteX9" fmla="*/ 230981 w 809625"/>
              <a:gd name="connsiteY9" fmla="*/ 177069 h 809625"/>
              <a:gd name="connsiteX10" fmla="*/ 517493 w 809625"/>
              <a:gd name="connsiteY10" fmla="*/ 319849 h 809625"/>
              <a:gd name="connsiteX11" fmla="*/ 428625 w 809625"/>
              <a:gd name="connsiteY11" fmla="*/ 368617 h 809625"/>
              <a:gd name="connsiteX12" fmla="*/ 426910 w 809625"/>
              <a:gd name="connsiteY12" fmla="*/ 368617 h 809625"/>
              <a:gd name="connsiteX13" fmla="*/ 426910 w 809625"/>
              <a:gd name="connsiteY13" fmla="*/ 327278 h 809625"/>
              <a:gd name="connsiteX14" fmla="*/ 336899 w 809625"/>
              <a:gd name="connsiteY14" fmla="*/ 327278 h 809625"/>
              <a:gd name="connsiteX15" fmla="*/ 336899 w 809625"/>
              <a:gd name="connsiteY15" fmla="*/ 629602 h 809625"/>
              <a:gd name="connsiteX16" fmla="*/ 430720 w 809625"/>
              <a:gd name="connsiteY16" fmla="*/ 629602 h 809625"/>
              <a:gd name="connsiteX17" fmla="*/ 430720 w 809625"/>
              <a:gd name="connsiteY17" fmla="*/ 480059 h 809625"/>
              <a:gd name="connsiteX18" fmla="*/ 487108 w 809625"/>
              <a:gd name="connsiteY18" fmla="*/ 402430 h 809625"/>
              <a:gd name="connsiteX19" fmla="*/ 535876 w 809625"/>
              <a:gd name="connsiteY19" fmla="*/ 482631 h 809625"/>
              <a:gd name="connsiteX20" fmla="*/ 535876 w 809625"/>
              <a:gd name="connsiteY20" fmla="*/ 629602 h 809625"/>
              <a:gd name="connsiteX21" fmla="*/ 630174 w 809625"/>
              <a:gd name="connsiteY21" fmla="*/ 629602 h 809625"/>
              <a:gd name="connsiteX22" fmla="*/ 630174 w 809625"/>
              <a:gd name="connsiteY22" fmla="*/ 463771 h 809625"/>
              <a:gd name="connsiteX23" fmla="*/ 517493 w 809625"/>
              <a:gd name="connsiteY23" fmla="*/ 319849 h 809625"/>
              <a:gd name="connsiteX24" fmla="*/ 183927 w 809625"/>
              <a:gd name="connsiteY24" fmla="*/ 327278 h 809625"/>
              <a:gd name="connsiteX25" fmla="*/ 183927 w 809625"/>
              <a:gd name="connsiteY25" fmla="*/ 629602 h 809625"/>
              <a:gd name="connsiteX26" fmla="*/ 277939 w 809625"/>
              <a:gd name="connsiteY26" fmla="*/ 629602 h 809625"/>
              <a:gd name="connsiteX27" fmla="*/ 277939 w 809625"/>
              <a:gd name="connsiteY27" fmla="*/ 327278 h 809625"/>
              <a:gd name="connsiteX28" fmla="*/ 183927 w 809625"/>
              <a:gd name="connsiteY28" fmla="*/ 327278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230981" y="177069"/>
                </a:moveTo>
                <a:cubicBezTo>
                  <a:pt x="200891" y="177069"/>
                  <a:pt x="176498" y="201462"/>
                  <a:pt x="176498" y="231552"/>
                </a:cubicBezTo>
                <a:cubicBezTo>
                  <a:pt x="176498" y="261642"/>
                  <a:pt x="200891" y="286035"/>
                  <a:pt x="230981" y="286035"/>
                </a:cubicBezTo>
                <a:cubicBezTo>
                  <a:pt x="261071" y="286035"/>
                  <a:pt x="285464" y="261642"/>
                  <a:pt x="285464" y="231552"/>
                </a:cubicBezTo>
                <a:cubicBezTo>
                  <a:pt x="285464" y="201462"/>
                  <a:pt x="261071" y="177069"/>
                  <a:pt x="230981" y="177069"/>
                </a:cubicBezTo>
                <a:close/>
                <a:moveTo>
                  <a:pt x="517493" y="319849"/>
                </a:moveTo>
                <a:cubicBezTo>
                  <a:pt x="481146" y="318484"/>
                  <a:pt x="446996" y="337225"/>
                  <a:pt x="428625" y="368617"/>
                </a:cubicBezTo>
                <a:lnTo>
                  <a:pt x="426910" y="368617"/>
                </a:lnTo>
                <a:lnTo>
                  <a:pt x="426910" y="327278"/>
                </a:lnTo>
                <a:lnTo>
                  <a:pt x="336899" y="327278"/>
                </a:lnTo>
                <a:lnTo>
                  <a:pt x="336899" y="629602"/>
                </a:lnTo>
                <a:lnTo>
                  <a:pt x="430720" y="629602"/>
                </a:lnTo>
                <a:lnTo>
                  <a:pt x="430720" y="480059"/>
                </a:lnTo>
                <a:cubicBezTo>
                  <a:pt x="430720" y="440530"/>
                  <a:pt x="438912" y="402430"/>
                  <a:pt x="487108" y="402430"/>
                </a:cubicBezTo>
                <a:cubicBezTo>
                  <a:pt x="535305" y="402430"/>
                  <a:pt x="535876" y="447579"/>
                  <a:pt x="535876" y="482631"/>
                </a:cubicBezTo>
                <a:lnTo>
                  <a:pt x="535876" y="629602"/>
                </a:lnTo>
                <a:lnTo>
                  <a:pt x="630174" y="629602"/>
                </a:lnTo>
                <a:lnTo>
                  <a:pt x="630174" y="463771"/>
                </a:lnTo>
                <a:cubicBezTo>
                  <a:pt x="630174" y="382428"/>
                  <a:pt x="612743" y="319849"/>
                  <a:pt x="517493" y="319849"/>
                </a:cubicBezTo>
                <a:close/>
                <a:moveTo>
                  <a:pt x="183927" y="327278"/>
                </a:moveTo>
                <a:lnTo>
                  <a:pt x="183927" y="629602"/>
                </a:lnTo>
                <a:lnTo>
                  <a:pt x="277939" y="629602"/>
                </a:lnTo>
                <a:lnTo>
                  <a:pt x="277939" y="327278"/>
                </a:lnTo>
                <a:lnTo>
                  <a:pt x="183927" y="32727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F1F78FC3-536A-4C34-B2A3-95085DF38A8D}"/>
              </a:ext>
            </a:extLst>
          </p:cNvPr>
          <p:cNvSpPr>
            <a:spLocks noChangeAspect="1"/>
          </p:cNvSpPr>
          <p:nvPr userDrawn="1"/>
        </p:nvSpPr>
        <p:spPr>
          <a:xfrm>
            <a:off x="9063685" y="4501548"/>
            <a:ext cx="242382" cy="242382"/>
          </a:xfrm>
          <a:custGeom>
            <a:avLst/>
            <a:gdLst>
              <a:gd name="connsiteX0" fmla="*/ 404812 w 809625"/>
              <a:gd name="connsiteY0" fmla="*/ 288417 h 809625"/>
              <a:gd name="connsiteX1" fmla="*/ 288417 w 809625"/>
              <a:gd name="connsiteY1" fmla="*/ 404812 h 809625"/>
              <a:gd name="connsiteX2" fmla="*/ 404812 w 809625"/>
              <a:gd name="connsiteY2" fmla="*/ 521208 h 809625"/>
              <a:gd name="connsiteX3" fmla="*/ 521208 w 809625"/>
              <a:gd name="connsiteY3" fmla="*/ 404812 h 809625"/>
              <a:gd name="connsiteX4" fmla="*/ 404812 w 809625"/>
              <a:gd name="connsiteY4" fmla="*/ 288417 h 809625"/>
              <a:gd name="connsiteX5" fmla="*/ 525780 w 809625"/>
              <a:gd name="connsiteY5" fmla="*/ 256603 h 809625"/>
              <a:gd name="connsiteX6" fmla="*/ 498538 w 809625"/>
              <a:gd name="connsiteY6" fmla="*/ 283844 h 809625"/>
              <a:gd name="connsiteX7" fmla="*/ 525780 w 809625"/>
              <a:gd name="connsiteY7" fmla="*/ 311086 h 809625"/>
              <a:gd name="connsiteX8" fmla="*/ 553021 w 809625"/>
              <a:gd name="connsiteY8" fmla="*/ 283844 h 809625"/>
              <a:gd name="connsiteX9" fmla="*/ 525780 w 809625"/>
              <a:gd name="connsiteY9" fmla="*/ 256603 h 809625"/>
              <a:gd name="connsiteX10" fmla="*/ 404812 w 809625"/>
              <a:gd name="connsiteY10" fmla="*/ 219075 h 809625"/>
              <a:gd name="connsiteX11" fmla="*/ 496443 w 809625"/>
              <a:gd name="connsiteY11" fmla="*/ 220408 h 809625"/>
              <a:gd name="connsiteX12" fmla="*/ 538543 w 809625"/>
              <a:gd name="connsiteY12" fmla="*/ 228218 h 809625"/>
              <a:gd name="connsiteX13" fmla="*/ 581501 w 809625"/>
              <a:gd name="connsiteY13" fmla="*/ 271176 h 809625"/>
              <a:gd name="connsiteX14" fmla="*/ 589311 w 809625"/>
              <a:gd name="connsiteY14" fmla="*/ 313277 h 809625"/>
              <a:gd name="connsiteX15" fmla="*/ 590645 w 809625"/>
              <a:gd name="connsiteY15" fmla="*/ 404907 h 809625"/>
              <a:gd name="connsiteX16" fmla="*/ 589311 w 809625"/>
              <a:gd name="connsiteY16" fmla="*/ 496538 h 809625"/>
              <a:gd name="connsiteX17" fmla="*/ 581501 w 809625"/>
              <a:gd name="connsiteY17" fmla="*/ 538638 h 809625"/>
              <a:gd name="connsiteX18" fmla="*/ 538543 w 809625"/>
              <a:gd name="connsiteY18" fmla="*/ 581596 h 809625"/>
              <a:gd name="connsiteX19" fmla="*/ 496443 w 809625"/>
              <a:gd name="connsiteY19" fmla="*/ 589406 h 809625"/>
              <a:gd name="connsiteX20" fmla="*/ 404812 w 809625"/>
              <a:gd name="connsiteY20" fmla="*/ 590740 h 809625"/>
              <a:gd name="connsiteX21" fmla="*/ 313182 w 809625"/>
              <a:gd name="connsiteY21" fmla="*/ 589407 h 809625"/>
              <a:gd name="connsiteX22" fmla="*/ 271081 w 809625"/>
              <a:gd name="connsiteY22" fmla="*/ 581596 h 809625"/>
              <a:gd name="connsiteX23" fmla="*/ 228600 w 809625"/>
              <a:gd name="connsiteY23" fmla="*/ 538543 h 809625"/>
              <a:gd name="connsiteX24" fmla="*/ 220789 w 809625"/>
              <a:gd name="connsiteY24" fmla="*/ 496443 h 809625"/>
              <a:gd name="connsiteX25" fmla="*/ 219075 w 809625"/>
              <a:gd name="connsiteY25" fmla="*/ 404812 h 809625"/>
              <a:gd name="connsiteX26" fmla="*/ 220408 w 809625"/>
              <a:gd name="connsiteY26" fmla="*/ 313182 h 809625"/>
              <a:gd name="connsiteX27" fmla="*/ 228600 w 809625"/>
              <a:gd name="connsiteY27" fmla="*/ 271081 h 809625"/>
              <a:gd name="connsiteX28" fmla="*/ 271081 w 809625"/>
              <a:gd name="connsiteY28" fmla="*/ 228600 h 809625"/>
              <a:gd name="connsiteX29" fmla="*/ 313181 w 809625"/>
              <a:gd name="connsiteY29" fmla="*/ 220789 h 809625"/>
              <a:gd name="connsiteX30" fmla="*/ 404812 w 809625"/>
              <a:gd name="connsiteY30" fmla="*/ 219075 h 809625"/>
              <a:gd name="connsiteX31" fmla="*/ 405669 w 809625"/>
              <a:gd name="connsiteY31" fmla="*/ 177736 h 809625"/>
              <a:gd name="connsiteX32" fmla="*/ 404812 w 809625"/>
              <a:gd name="connsiteY32" fmla="*/ 178212 h 809625"/>
              <a:gd name="connsiteX33" fmla="*/ 311372 w 809625"/>
              <a:gd name="connsiteY33" fmla="*/ 179546 h 809625"/>
              <a:gd name="connsiteX34" fmla="*/ 256317 w 809625"/>
              <a:gd name="connsiteY34" fmla="*/ 190500 h 809625"/>
              <a:gd name="connsiteX35" fmla="*/ 189642 w 809625"/>
              <a:gd name="connsiteY35" fmla="*/ 257175 h 809625"/>
              <a:gd name="connsiteX36" fmla="*/ 179069 w 809625"/>
              <a:gd name="connsiteY36" fmla="*/ 312229 h 809625"/>
              <a:gd name="connsiteX37" fmla="*/ 177736 w 809625"/>
              <a:gd name="connsiteY37" fmla="*/ 405669 h 809625"/>
              <a:gd name="connsiteX38" fmla="*/ 179069 w 809625"/>
              <a:gd name="connsiteY38" fmla="*/ 499110 h 809625"/>
              <a:gd name="connsiteX39" fmla="*/ 190500 w 809625"/>
              <a:gd name="connsiteY39" fmla="*/ 553307 h 809625"/>
              <a:gd name="connsiteX40" fmla="*/ 257175 w 809625"/>
              <a:gd name="connsiteY40" fmla="*/ 619982 h 809625"/>
              <a:gd name="connsiteX41" fmla="*/ 312229 w 809625"/>
              <a:gd name="connsiteY41" fmla="*/ 630554 h 809625"/>
              <a:gd name="connsiteX42" fmla="*/ 405669 w 809625"/>
              <a:gd name="connsiteY42" fmla="*/ 631888 h 809625"/>
              <a:gd name="connsiteX43" fmla="*/ 499110 w 809625"/>
              <a:gd name="connsiteY43" fmla="*/ 630554 h 809625"/>
              <a:gd name="connsiteX44" fmla="*/ 554164 w 809625"/>
              <a:gd name="connsiteY44" fmla="*/ 619982 h 809625"/>
              <a:gd name="connsiteX45" fmla="*/ 620839 w 809625"/>
              <a:gd name="connsiteY45" fmla="*/ 553307 h 809625"/>
              <a:gd name="connsiteX46" fmla="*/ 631412 w 809625"/>
              <a:gd name="connsiteY46" fmla="*/ 498252 h 809625"/>
              <a:gd name="connsiteX47" fmla="*/ 632745 w 809625"/>
              <a:gd name="connsiteY47" fmla="*/ 404812 h 809625"/>
              <a:gd name="connsiteX48" fmla="*/ 631412 w 809625"/>
              <a:gd name="connsiteY48" fmla="*/ 311372 h 809625"/>
              <a:gd name="connsiteX49" fmla="*/ 620839 w 809625"/>
              <a:gd name="connsiteY49" fmla="*/ 256317 h 809625"/>
              <a:gd name="connsiteX50" fmla="*/ 554164 w 809625"/>
              <a:gd name="connsiteY50" fmla="*/ 189642 h 809625"/>
              <a:gd name="connsiteX51" fmla="*/ 499110 w 809625"/>
              <a:gd name="connsiteY51" fmla="*/ 179069 h 809625"/>
              <a:gd name="connsiteX52" fmla="*/ 405669 w 809625"/>
              <a:gd name="connsiteY52" fmla="*/ 177736 h 809625"/>
              <a:gd name="connsiteX53" fmla="*/ 404813 w 809625"/>
              <a:gd name="connsiteY53" fmla="*/ 0 h 809625"/>
              <a:gd name="connsiteX54" fmla="*/ 809625 w 809625"/>
              <a:gd name="connsiteY54" fmla="*/ 404813 h 809625"/>
              <a:gd name="connsiteX55" fmla="*/ 404813 w 809625"/>
              <a:gd name="connsiteY55" fmla="*/ 809625 h 809625"/>
              <a:gd name="connsiteX56" fmla="*/ 0 w 809625"/>
              <a:gd name="connsiteY56" fmla="*/ 404813 h 809625"/>
              <a:gd name="connsiteX57" fmla="*/ 404813 w 809625"/>
              <a:gd name="connsiteY57" fmla="*/ 0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809625" h="809625">
                <a:moveTo>
                  <a:pt x="404812" y="288417"/>
                </a:moveTo>
                <a:cubicBezTo>
                  <a:pt x="340529" y="288417"/>
                  <a:pt x="288417" y="340529"/>
                  <a:pt x="288417" y="404812"/>
                </a:cubicBezTo>
                <a:cubicBezTo>
                  <a:pt x="288417" y="469096"/>
                  <a:pt x="340529" y="521208"/>
                  <a:pt x="404812" y="521208"/>
                </a:cubicBezTo>
                <a:cubicBezTo>
                  <a:pt x="469096" y="521208"/>
                  <a:pt x="521208" y="469096"/>
                  <a:pt x="521208" y="404812"/>
                </a:cubicBezTo>
                <a:cubicBezTo>
                  <a:pt x="521208" y="340529"/>
                  <a:pt x="469096" y="288417"/>
                  <a:pt x="404812" y="288417"/>
                </a:cubicBezTo>
                <a:close/>
                <a:moveTo>
                  <a:pt x="525780" y="256603"/>
                </a:moveTo>
                <a:cubicBezTo>
                  <a:pt x="510734" y="256603"/>
                  <a:pt x="498538" y="268799"/>
                  <a:pt x="498538" y="283844"/>
                </a:cubicBezTo>
                <a:cubicBezTo>
                  <a:pt x="498538" y="298890"/>
                  <a:pt x="510734" y="311086"/>
                  <a:pt x="525780" y="311086"/>
                </a:cubicBezTo>
                <a:cubicBezTo>
                  <a:pt x="540825" y="311086"/>
                  <a:pt x="553021" y="298890"/>
                  <a:pt x="553021" y="283844"/>
                </a:cubicBezTo>
                <a:cubicBezTo>
                  <a:pt x="553021" y="268799"/>
                  <a:pt x="540825" y="256603"/>
                  <a:pt x="525780" y="256603"/>
                </a:cubicBezTo>
                <a:close/>
                <a:moveTo>
                  <a:pt x="404812" y="219075"/>
                </a:moveTo>
                <a:cubicBezTo>
                  <a:pt x="465296" y="219075"/>
                  <a:pt x="472535" y="219075"/>
                  <a:pt x="496443" y="220408"/>
                </a:cubicBezTo>
                <a:cubicBezTo>
                  <a:pt x="510824" y="220533"/>
                  <a:pt x="525073" y="223177"/>
                  <a:pt x="538543" y="228218"/>
                </a:cubicBezTo>
                <a:cubicBezTo>
                  <a:pt x="558257" y="235874"/>
                  <a:pt x="573845" y="251463"/>
                  <a:pt x="581501" y="271176"/>
                </a:cubicBezTo>
                <a:cubicBezTo>
                  <a:pt x="586542" y="284646"/>
                  <a:pt x="589186" y="298895"/>
                  <a:pt x="589311" y="313277"/>
                </a:cubicBezTo>
                <a:cubicBezTo>
                  <a:pt x="590454" y="337185"/>
                  <a:pt x="590645" y="344424"/>
                  <a:pt x="590645" y="404907"/>
                </a:cubicBezTo>
                <a:cubicBezTo>
                  <a:pt x="590645" y="465391"/>
                  <a:pt x="590645" y="472630"/>
                  <a:pt x="589311" y="496538"/>
                </a:cubicBezTo>
                <a:cubicBezTo>
                  <a:pt x="589186" y="510920"/>
                  <a:pt x="586543" y="525168"/>
                  <a:pt x="581501" y="538638"/>
                </a:cubicBezTo>
                <a:cubicBezTo>
                  <a:pt x="573845" y="558352"/>
                  <a:pt x="558257" y="573940"/>
                  <a:pt x="538543" y="581596"/>
                </a:cubicBezTo>
                <a:cubicBezTo>
                  <a:pt x="525073" y="586638"/>
                  <a:pt x="510824" y="589281"/>
                  <a:pt x="496443" y="589406"/>
                </a:cubicBezTo>
                <a:cubicBezTo>
                  <a:pt x="472535" y="590550"/>
                  <a:pt x="465391" y="590740"/>
                  <a:pt x="404812" y="590740"/>
                </a:cubicBezTo>
                <a:cubicBezTo>
                  <a:pt x="344233" y="590740"/>
                  <a:pt x="337089" y="590740"/>
                  <a:pt x="313182" y="589407"/>
                </a:cubicBezTo>
                <a:cubicBezTo>
                  <a:pt x="298800" y="589281"/>
                  <a:pt x="284551" y="586638"/>
                  <a:pt x="271081" y="581596"/>
                </a:cubicBezTo>
                <a:cubicBezTo>
                  <a:pt x="251529" y="573808"/>
                  <a:pt x="236125" y="558197"/>
                  <a:pt x="228600" y="538543"/>
                </a:cubicBezTo>
                <a:cubicBezTo>
                  <a:pt x="223558" y="525073"/>
                  <a:pt x="220914" y="510824"/>
                  <a:pt x="220789" y="496443"/>
                </a:cubicBezTo>
                <a:cubicBezTo>
                  <a:pt x="219075" y="472535"/>
                  <a:pt x="219075" y="465296"/>
                  <a:pt x="219075" y="404812"/>
                </a:cubicBezTo>
                <a:cubicBezTo>
                  <a:pt x="219075" y="344328"/>
                  <a:pt x="219075" y="337089"/>
                  <a:pt x="220408" y="313182"/>
                </a:cubicBezTo>
                <a:cubicBezTo>
                  <a:pt x="220655" y="298777"/>
                  <a:pt x="223428" y="284527"/>
                  <a:pt x="228600" y="271081"/>
                </a:cubicBezTo>
                <a:cubicBezTo>
                  <a:pt x="236258" y="251643"/>
                  <a:pt x="251643" y="236258"/>
                  <a:pt x="271081" y="228600"/>
                </a:cubicBezTo>
                <a:cubicBezTo>
                  <a:pt x="284551" y="223558"/>
                  <a:pt x="298800" y="220914"/>
                  <a:pt x="313181" y="220789"/>
                </a:cubicBezTo>
                <a:cubicBezTo>
                  <a:pt x="337089" y="219075"/>
                  <a:pt x="344328" y="219075"/>
                  <a:pt x="404812" y="219075"/>
                </a:cubicBezTo>
                <a:close/>
                <a:moveTo>
                  <a:pt x="405669" y="177736"/>
                </a:moveTo>
                <a:lnTo>
                  <a:pt x="404812" y="178212"/>
                </a:lnTo>
                <a:cubicBezTo>
                  <a:pt x="343281" y="178212"/>
                  <a:pt x="335565" y="178212"/>
                  <a:pt x="311372" y="179546"/>
                </a:cubicBezTo>
                <a:cubicBezTo>
                  <a:pt x="292533" y="180057"/>
                  <a:pt x="273917" y="183760"/>
                  <a:pt x="256317" y="190500"/>
                </a:cubicBezTo>
                <a:cubicBezTo>
                  <a:pt x="225602" y="202200"/>
                  <a:pt x="201343" y="226459"/>
                  <a:pt x="189642" y="257175"/>
                </a:cubicBezTo>
                <a:cubicBezTo>
                  <a:pt x="183033" y="274797"/>
                  <a:pt x="179458" y="293412"/>
                  <a:pt x="179069" y="312229"/>
                </a:cubicBezTo>
                <a:cubicBezTo>
                  <a:pt x="178022" y="336423"/>
                  <a:pt x="177736" y="344138"/>
                  <a:pt x="177736" y="405669"/>
                </a:cubicBezTo>
                <a:cubicBezTo>
                  <a:pt x="177736" y="467201"/>
                  <a:pt x="177736" y="474916"/>
                  <a:pt x="179069" y="499110"/>
                </a:cubicBezTo>
                <a:cubicBezTo>
                  <a:pt x="179828" y="517687"/>
                  <a:pt x="183692" y="536005"/>
                  <a:pt x="190500" y="553307"/>
                </a:cubicBezTo>
                <a:cubicBezTo>
                  <a:pt x="202200" y="584022"/>
                  <a:pt x="226459" y="608281"/>
                  <a:pt x="257175" y="619982"/>
                </a:cubicBezTo>
                <a:cubicBezTo>
                  <a:pt x="274797" y="626591"/>
                  <a:pt x="293412" y="630165"/>
                  <a:pt x="312229" y="630554"/>
                </a:cubicBezTo>
                <a:cubicBezTo>
                  <a:pt x="336423" y="631602"/>
                  <a:pt x="344138" y="631888"/>
                  <a:pt x="405669" y="631888"/>
                </a:cubicBezTo>
                <a:cubicBezTo>
                  <a:pt x="467201" y="631888"/>
                  <a:pt x="474916" y="631888"/>
                  <a:pt x="499110" y="630554"/>
                </a:cubicBezTo>
                <a:cubicBezTo>
                  <a:pt x="517927" y="630165"/>
                  <a:pt x="536542" y="626591"/>
                  <a:pt x="554164" y="619982"/>
                </a:cubicBezTo>
                <a:cubicBezTo>
                  <a:pt x="584880" y="608281"/>
                  <a:pt x="609138" y="584022"/>
                  <a:pt x="620839" y="553307"/>
                </a:cubicBezTo>
                <a:cubicBezTo>
                  <a:pt x="627448" y="535684"/>
                  <a:pt x="631023" y="517069"/>
                  <a:pt x="631412" y="498252"/>
                </a:cubicBezTo>
                <a:cubicBezTo>
                  <a:pt x="632460" y="474059"/>
                  <a:pt x="632745" y="466344"/>
                  <a:pt x="632745" y="404812"/>
                </a:cubicBezTo>
                <a:cubicBezTo>
                  <a:pt x="632745" y="343281"/>
                  <a:pt x="632745" y="335565"/>
                  <a:pt x="631412" y="311372"/>
                </a:cubicBezTo>
                <a:cubicBezTo>
                  <a:pt x="631023" y="292555"/>
                  <a:pt x="627448" y="273940"/>
                  <a:pt x="620839" y="256317"/>
                </a:cubicBezTo>
                <a:cubicBezTo>
                  <a:pt x="609138" y="225602"/>
                  <a:pt x="584880" y="201343"/>
                  <a:pt x="554164" y="189642"/>
                </a:cubicBezTo>
                <a:cubicBezTo>
                  <a:pt x="536542" y="183033"/>
                  <a:pt x="517927" y="179458"/>
                  <a:pt x="499110" y="179069"/>
                </a:cubicBezTo>
                <a:cubicBezTo>
                  <a:pt x="474916" y="178022"/>
                  <a:pt x="467201" y="177736"/>
                  <a:pt x="405669" y="177736"/>
                </a:cubicBezTo>
                <a:close/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37645F6A-EDD9-42D2-A01C-F8414798D57C}"/>
              </a:ext>
            </a:extLst>
          </p:cNvPr>
          <p:cNvSpPr>
            <a:spLocks noChangeAspect="1"/>
          </p:cNvSpPr>
          <p:nvPr/>
        </p:nvSpPr>
        <p:spPr>
          <a:xfrm>
            <a:off x="9446029" y="4501548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207835 w 809625"/>
              <a:gd name="connsiteY5" fmla="*/ 183451 h 809625"/>
              <a:gd name="connsiteX6" fmla="*/ 183451 w 809625"/>
              <a:gd name="connsiteY6" fmla="*/ 207835 h 809625"/>
              <a:gd name="connsiteX7" fmla="*/ 183451 w 809625"/>
              <a:gd name="connsiteY7" fmla="*/ 601789 h 809625"/>
              <a:gd name="connsiteX8" fmla="*/ 207835 w 809625"/>
              <a:gd name="connsiteY8" fmla="*/ 626173 h 809625"/>
              <a:gd name="connsiteX9" fmla="*/ 419957 w 809625"/>
              <a:gd name="connsiteY9" fmla="*/ 626173 h 809625"/>
              <a:gd name="connsiteX10" fmla="*/ 419957 w 809625"/>
              <a:gd name="connsiteY10" fmla="*/ 454723 h 809625"/>
              <a:gd name="connsiteX11" fmla="*/ 361950 w 809625"/>
              <a:gd name="connsiteY11" fmla="*/ 454723 h 809625"/>
              <a:gd name="connsiteX12" fmla="*/ 361950 w 809625"/>
              <a:gd name="connsiteY12" fmla="*/ 388048 h 809625"/>
              <a:gd name="connsiteX13" fmla="*/ 419671 w 809625"/>
              <a:gd name="connsiteY13" fmla="*/ 388048 h 809625"/>
              <a:gd name="connsiteX14" fmla="*/ 419671 w 809625"/>
              <a:gd name="connsiteY14" fmla="*/ 338613 h 809625"/>
              <a:gd name="connsiteX15" fmla="*/ 505396 w 809625"/>
              <a:gd name="connsiteY15" fmla="*/ 250317 h 809625"/>
              <a:gd name="connsiteX16" fmla="*/ 556926 w 809625"/>
              <a:gd name="connsiteY16" fmla="*/ 252984 h 809625"/>
              <a:gd name="connsiteX17" fmla="*/ 556926 w 809625"/>
              <a:gd name="connsiteY17" fmla="*/ 312705 h 809625"/>
              <a:gd name="connsiteX18" fmla="*/ 522065 w 809625"/>
              <a:gd name="connsiteY18" fmla="*/ 312705 h 809625"/>
              <a:gd name="connsiteX19" fmla="*/ 488918 w 809625"/>
              <a:gd name="connsiteY19" fmla="*/ 345281 h 809625"/>
              <a:gd name="connsiteX20" fmla="*/ 488918 w 809625"/>
              <a:gd name="connsiteY20" fmla="*/ 387953 h 809625"/>
              <a:gd name="connsiteX21" fmla="*/ 555593 w 809625"/>
              <a:gd name="connsiteY21" fmla="*/ 387953 h 809625"/>
              <a:gd name="connsiteX22" fmla="*/ 546925 w 809625"/>
              <a:gd name="connsiteY22" fmla="*/ 454628 h 809625"/>
              <a:gd name="connsiteX23" fmla="*/ 489775 w 809625"/>
              <a:gd name="connsiteY23" fmla="*/ 454628 h 809625"/>
              <a:gd name="connsiteX24" fmla="*/ 489775 w 809625"/>
              <a:gd name="connsiteY24" fmla="*/ 626078 h 809625"/>
              <a:gd name="connsiteX25" fmla="*/ 601789 w 809625"/>
              <a:gd name="connsiteY25" fmla="*/ 626078 h 809625"/>
              <a:gd name="connsiteX26" fmla="*/ 626173 w 809625"/>
              <a:gd name="connsiteY26" fmla="*/ 601694 h 809625"/>
              <a:gd name="connsiteX27" fmla="*/ 626173 w 809625"/>
              <a:gd name="connsiteY27" fmla="*/ 207835 h 809625"/>
              <a:gd name="connsiteX28" fmla="*/ 601789 w 809625"/>
              <a:gd name="connsiteY28" fmla="*/ 183451 h 809625"/>
              <a:gd name="connsiteX29" fmla="*/ 207835 w 809625"/>
              <a:gd name="connsiteY29" fmla="*/ 183451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207835" y="183451"/>
                </a:moveTo>
                <a:cubicBezTo>
                  <a:pt x="194368" y="183451"/>
                  <a:pt x="183451" y="194368"/>
                  <a:pt x="183451" y="207835"/>
                </a:cubicBezTo>
                <a:lnTo>
                  <a:pt x="183451" y="601789"/>
                </a:lnTo>
                <a:cubicBezTo>
                  <a:pt x="183451" y="615256"/>
                  <a:pt x="194368" y="626173"/>
                  <a:pt x="207835" y="626173"/>
                </a:cubicBezTo>
                <a:lnTo>
                  <a:pt x="419957" y="626173"/>
                </a:lnTo>
                <a:lnTo>
                  <a:pt x="419957" y="454723"/>
                </a:lnTo>
                <a:lnTo>
                  <a:pt x="361950" y="454723"/>
                </a:lnTo>
                <a:lnTo>
                  <a:pt x="361950" y="388048"/>
                </a:lnTo>
                <a:lnTo>
                  <a:pt x="419671" y="388048"/>
                </a:lnTo>
                <a:lnTo>
                  <a:pt x="419671" y="338613"/>
                </a:lnTo>
                <a:cubicBezTo>
                  <a:pt x="419671" y="281463"/>
                  <a:pt x="454533" y="250317"/>
                  <a:pt x="505396" y="250317"/>
                </a:cubicBezTo>
                <a:cubicBezTo>
                  <a:pt x="522609" y="250238"/>
                  <a:pt x="539813" y="251128"/>
                  <a:pt x="556926" y="252984"/>
                </a:cubicBezTo>
                <a:lnTo>
                  <a:pt x="556926" y="312705"/>
                </a:lnTo>
                <a:lnTo>
                  <a:pt x="522065" y="312705"/>
                </a:lnTo>
                <a:cubicBezTo>
                  <a:pt x="494252" y="312705"/>
                  <a:pt x="488918" y="325945"/>
                  <a:pt x="488918" y="345281"/>
                </a:cubicBezTo>
                <a:lnTo>
                  <a:pt x="488918" y="387953"/>
                </a:lnTo>
                <a:lnTo>
                  <a:pt x="555593" y="387953"/>
                </a:lnTo>
                <a:lnTo>
                  <a:pt x="546925" y="454628"/>
                </a:lnTo>
                <a:lnTo>
                  <a:pt x="489775" y="454628"/>
                </a:lnTo>
                <a:lnTo>
                  <a:pt x="489775" y="626078"/>
                </a:lnTo>
                <a:lnTo>
                  <a:pt x="601789" y="626078"/>
                </a:lnTo>
                <a:cubicBezTo>
                  <a:pt x="615256" y="626078"/>
                  <a:pt x="626173" y="615161"/>
                  <a:pt x="626173" y="601694"/>
                </a:cubicBezTo>
                <a:lnTo>
                  <a:pt x="626173" y="207835"/>
                </a:lnTo>
                <a:cubicBezTo>
                  <a:pt x="626173" y="194368"/>
                  <a:pt x="615256" y="183451"/>
                  <a:pt x="601789" y="183451"/>
                </a:cubicBezTo>
                <a:lnTo>
                  <a:pt x="207835" y="183451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3D3ABB1F-7F2A-4579-5538-F4815BCE518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14484" y="2549185"/>
            <a:ext cx="1976093" cy="879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543984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E9670259-4695-428B-A004-7FC80D7094B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1062000" tIns="3348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FCAC8505-DEDF-4C01-A608-94D176EC4352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7540580" y="1"/>
            <a:ext cx="4651420" cy="1673605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1740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5383366-B84A-4AF0-9ECA-0C40F072B9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7C2BF5B2-F39C-5692-1D90-615BA55F4F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2170" y="303442"/>
            <a:ext cx="979715" cy="43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5180771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D50AE23D-06D1-4F9E-B490-E50D424CE9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DFCCD94-C178-488E-A0A8-B9933C21C8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B6B25C7-EDE8-4C6A-A016-B0BC2F236A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3CEBA6-B1B6-4DE4-9914-AA9310C6B7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8951947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87CEE9C-A8AE-431B-A0E0-C79E2E22CC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0C04917-818A-4A3D-87A1-5D1A3CEF6E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14D6DCE-44D6-472C-8A31-1D8DC27A62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6175939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E396722-86FB-4B61-980E-29BB1A84BF5F}"/>
              </a:ext>
            </a:extLst>
          </p:cNvPr>
          <p:cNvSpPr/>
          <p:nvPr userDrawn="1"/>
        </p:nvSpPr>
        <p:spPr>
          <a:xfrm>
            <a:off x="0" y="-1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D50AE23D-06D1-4F9E-B490-E50D424CE9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892E96-6CF9-4BCC-9A9B-CB94EC6D1A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97B376B-D4F9-4143-A8AE-817EB0EA6B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84A53671-41EC-45C8-A0C1-D1426C22F9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3719458C-151F-A29A-A9A7-BEFD54AD56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2170" y="303442"/>
            <a:ext cx="979715" cy="43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4972516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E396722-86FB-4B61-980E-29BB1A84BF5F}"/>
              </a:ext>
            </a:extLst>
          </p:cNvPr>
          <p:cNvSpPr/>
          <p:nvPr userDrawn="1"/>
        </p:nvSpPr>
        <p:spPr>
          <a:xfrm>
            <a:off x="0" y="-1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892E96-6CF9-4BCC-9A9B-CB94EC6D1A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97B376B-D4F9-4143-A8AE-817EB0EA6B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84A53671-41EC-45C8-A0C1-D1426C22F9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EF831236-2046-FD7C-DFFA-DF8D44CC7F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2170" y="303442"/>
            <a:ext cx="979715" cy="43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287124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lank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E396722-86FB-4B61-980E-29BB1A84BF5F}"/>
              </a:ext>
            </a:extLst>
          </p:cNvPr>
          <p:cNvSpPr/>
          <p:nvPr userDrawn="1"/>
        </p:nvSpPr>
        <p:spPr>
          <a:xfrm>
            <a:off x="0" y="-1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892E96-6CF9-4BCC-9A9B-CB94EC6D1A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97B376B-D4F9-4143-A8AE-817EB0EA6B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84A53671-41EC-45C8-A0C1-D1426C22F9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8D9C795-633F-49DF-98A1-53A142CB8A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849886" y="333375"/>
            <a:ext cx="1006304" cy="448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0977418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1312C68-9CDC-4DDF-AFFD-F813984EE08A}"/>
              </a:ext>
            </a:extLst>
          </p:cNvPr>
          <p:cNvSpPr/>
          <p:nvPr userDrawn="1"/>
        </p:nvSpPr>
        <p:spPr>
          <a:xfrm>
            <a:off x="0" y="-11798"/>
            <a:ext cx="12192000" cy="690814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880315"/>
            <a:ext cx="10080000" cy="396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  <a:lvl6pPr>
              <a:defRPr>
                <a:solidFill>
                  <a:schemeClr val="bg2"/>
                </a:solidFill>
              </a:defRPr>
            </a:lvl6pPr>
            <a:lvl7pPr>
              <a:defRPr>
                <a:solidFill>
                  <a:schemeClr val="bg2"/>
                </a:solidFill>
              </a:defRPr>
            </a:lvl7pPr>
            <a:lvl8pPr>
              <a:defRPr>
                <a:solidFill>
                  <a:schemeClr val="bg2"/>
                </a:solidFill>
              </a:defRPr>
            </a:lvl8pPr>
            <a:lvl9pPr>
              <a:defRPr>
                <a:solidFill>
                  <a:schemeClr val="bg2"/>
                </a:solidFill>
              </a:defRPr>
            </a:lvl9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06AFE3-EE64-4522-825B-815C6A28E9F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CCCCDE7-B8EA-4773-A164-304D34F89D0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C4FDAA8-8585-4D16-87AD-3485D164648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EBAD129F-61B9-40EF-BB30-907F1E5EEA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849886" y="333375"/>
            <a:ext cx="1006304" cy="448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0120595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ing slide-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E9670259-4695-428B-A004-7FC80D7094B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19400" y="1"/>
            <a:ext cx="107532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342000" tIns="342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C3F7B8-0B35-40FF-8CB7-4337CBF123A9}"/>
              </a:ext>
            </a:extLst>
          </p:cNvPr>
          <p:cNvSpPr/>
          <p:nvPr userDrawn="1"/>
        </p:nvSpPr>
        <p:spPr>
          <a:xfrm>
            <a:off x="0" y="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CCB27E3-026E-4103-AE04-0346F7EF5C2F}"/>
              </a:ext>
            </a:extLst>
          </p:cNvPr>
          <p:cNvSpPr/>
          <p:nvPr userDrawn="1"/>
        </p:nvSpPr>
        <p:spPr>
          <a:xfrm>
            <a:off x="11472000" y="-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A69E0D77-12A6-1936-23BF-FD10A7ADB6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8950" y="2628900"/>
            <a:ext cx="3594100" cy="160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813348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right 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23DD628-AE63-4907-AF4B-6B53C077707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0"/>
            <a:ext cx="6096000" cy="6858000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</p:spPr>
        <p:txBody>
          <a:bodyPr lIns="342000" tIns="342000" rIns="1440000" bIns="342000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AU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EB2F477-266C-4C9D-A64F-287BA3F4CF3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4962" y="1880314"/>
            <a:ext cx="5220000" cy="396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771A36E-45E1-4553-9842-66EF392719C7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844884" y="1880314"/>
            <a:ext cx="2160000" cy="396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7D669EEE-6563-477F-A4CD-D425F6140F00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347256" y="1880314"/>
            <a:ext cx="2160000" cy="396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A5DE353-D720-4A1F-9ECC-89FB139059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2218" y="333375"/>
            <a:ext cx="5220000" cy="108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913AB32-E310-49A2-9A47-2348F6B61E52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6266A723-640D-4EFF-93D1-1E964694156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C4DEE883-581D-4AC9-9251-8929D0C8E380}"/>
              </a:ext>
            </a:extLst>
          </p:cNvPr>
          <p:cNvSpPr>
            <a:spLocks noGrp="1" noChangeAspect="1"/>
          </p:cNvSpPr>
          <p:nvPr>
            <p:ph type="body" sz="quarter" idx="25"/>
          </p:nvPr>
        </p:nvSpPr>
        <p:spPr>
          <a:xfrm>
            <a:off x="7540580" y="1"/>
            <a:ext cx="4651420" cy="1673605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1740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44C9A43E-093B-42AD-B427-BA16E45D56B6}"/>
              </a:ext>
            </a:extLst>
          </p:cNvPr>
          <p:cNvSpPr>
            <a:spLocks noGrp="1" noChangeAspect="1"/>
          </p:cNvSpPr>
          <p:nvPr>
            <p:ph type="body" sz="quarter" idx="26"/>
          </p:nvPr>
        </p:nvSpPr>
        <p:spPr>
          <a:xfrm>
            <a:off x="10849038" y="333375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191494277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3979AE5-365E-4EEB-8F4C-F4E45C728AEF}"/>
              </a:ext>
            </a:extLst>
          </p:cNvPr>
          <p:cNvSpPr/>
          <p:nvPr userDrawn="1"/>
        </p:nvSpPr>
        <p:spPr>
          <a:xfrm>
            <a:off x="719400" y="0"/>
            <a:ext cx="107532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E31FF5A-63AE-45A7-AF45-BF707B1A337A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14726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472600 w 12192000"/>
              <a:gd name="connsiteY3" fmla="*/ 6858000 h 6858000"/>
              <a:gd name="connsiteX4" fmla="*/ 0 w 12192000"/>
              <a:gd name="connsiteY4" fmla="*/ 0 h 6858000"/>
              <a:gd name="connsiteX5" fmla="*/ 719400 w 12192000"/>
              <a:gd name="connsiteY5" fmla="*/ 0 h 6858000"/>
              <a:gd name="connsiteX6" fmla="*/ 7194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14726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472600" y="6858000"/>
                </a:lnTo>
                <a:close/>
                <a:moveTo>
                  <a:pt x="0" y="0"/>
                </a:moveTo>
                <a:lnTo>
                  <a:pt x="719400" y="0"/>
                </a:lnTo>
                <a:lnTo>
                  <a:pt x="7194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08000" tIns="108000" rIns="115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113A054-12CB-4197-89CB-FBA21D5F89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5688" y="4097865"/>
            <a:ext cx="5040312" cy="14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800" b="1" cap="none">
                <a:solidFill>
                  <a:schemeClr val="bg1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6pPr>
            <a:lvl7pPr marL="0" indent="0" algn="l">
              <a:buNone/>
              <a:defRPr sz="1800" b="1">
                <a:solidFill>
                  <a:schemeClr val="bg1"/>
                </a:solidFill>
              </a:defRPr>
            </a:lvl7pPr>
            <a:lvl8pPr marL="0" indent="0" algn="l">
              <a:buNone/>
              <a:defRPr sz="1800" b="1">
                <a:solidFill>
                  <a:schemeClr val="bg1"/>
                </a:solidFill>
              </a:defRPr>
            </a:lvl8pPr>
            <a:lvl9pPr marL="0" indent="0" algn="l">
              <a:buNone/>
              <a:defRPr sz="1800" b="1">
                <a:solidFill>
                  <a:schemeClr val="bg1"/>
                </a:solidFill>
              </a:defRPr>
            </a:lvl9pPr>
          </a:lstStyle>
          <a:p>
            <a:r>
              <a:rPr lang="en-AU"/>
              <a:t>Subtitle or presenters name and date</a:t>
            </a:r>
            <a:endParaRPr lang="en-GB"/>
          </a:p>
          <a:p>
            <a:pPr lvl="1"/>
            <a:r>
              <a:rPr lang="en-US"/>
              <a:t>2</a:t>
            </a:r>
          </a:p>
          <a:p>
            <a:pPr lvl="2"/>
            <a:r>
              <a:rPr lang="en-US"/>
              <a:t>3</a:t>
            </a:r>
          </a:p>
          <a:p>
            <a:pPr lvl="3"/>
            <a:r>
              <a:rPr lang="en-US"/>
              <a:t>4</a:t>
            </a:r>
          </a:p>
          <a:p>
            <a:pPr lvl="4"/>
            <a:r>
              <a:rPr lang="en-US"/>
              <a:t>5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287AC88-A942-4E4F-A359-307B996A79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1946566"/>
            <a:ext cx="10753200" cy="1620000"/>
          </a:xfrm>
          <a:noFill/>
        </p:spPr>
        <p:txBody>
          <a:bodyPr lIns="342000" tIns="342000" rIns="2160000" bIns="0" anchor="b" anchorCtr="0"/>
          <a:lstStyle>
            <a:lvl1pPr>
              <a:defRPr sz="4500" cap="all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98BCAB1-59A8-4C66-87FD-A76DA0651EF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fr-FR"/>
              <a:t>FSC-IKEA Blockchain+EUDR Information Requirements 17-08-23</a:t>
            </a:r>
            <a:endParaRPr lang="en-GB"/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A19EADA1-ACC1-8BB7-CD58-D2C3B694F89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69628" y="5506147"/>
            <a:ext cx="2166684" cy="964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9290768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l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E9670259-4695-428B-A004-7FC80D7094B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19400" y="1"/>
            <a:ext cx="107532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342000" tIns="342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F9144E-5217-4B9A-B2C1-83385827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1946566"/>
            <a:ext cx="10753200" cy="1620000"/>
          </a:xfrm>
          <a:noFill/>
        </p:spPr>
        <p:txBody>
          <a:bodyPr lIns="342000" tIns="342000" rIns="2160000" bIns="0" anchor="b" anchorCtr="0"/>
          <a:lstStyle>
            <a:lvl1pPr>
              <a:defRPr sz="4500" cap="all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113A054-12CB-4197-89CB-FBA21D5F89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5688" y="4097865"/>
            <a:ext cx="5040312" cy="14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800" b="1" cap="none">
                <a:solidFill>
                  <a:schemeClr val="bg2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6pPr>
            <a:lvl7pPr marL="0" indent="0" algn="l">
              <a:buNone/>
              <a:defRPr sz="1800" b="1">
                <a:solidFill>
                  <a:schemeClr val="bg2"/>
                </a:solidFill>
              </a:defRPr>
            </a:lvl7pPr>
            <a:lvl8pPr marL="0" indent="0" algn="l">
              <a:buNone/>
              <a:defRPr sz="1800" b="1">
                <a:solidFill>
                  <a:schemeClr val="bg2"/>
                </a:solidFill>
              </a:defRPr>
            </a:lvl8pPr>
            <a:lvl9pPr marL="0" indent="0" algn="l">
              <a:buNone/>
              <a:defRPr sz="1800" b="1">
                <a:solidFill>
                  <a:schemeClr val="bg2"/>
                </a:solidFill>
              </a:defRPr>
            </a:lvl9pPr>
          </a:lstStyle>
          <a:p>
            <a:r>
              <a:rPr lang="en-AU"/>
              <a:t>Subtitle or presenters name and date</a:t>
            </a:r>
            <a:endParaRPr lang="en-GB"/>
          </a:p>
          <a:p>
            <a:pPr lvl="1"/>
            <a:r>
              <a:rPr lang="en-US"/>
              <a:t>2</a:t>
            </a:r>
          </a:p>
          <a:p>
            <a:pPr lvl="2"/>
            <a:r>
              <a:rPr lang="en-US"/>
              <a:t>3</a:t>
            </a:r>
          </a:p>
          <a:p>
            <a:pPr lvl="3"/>
            <a:r>
              <a:rPr lang="en-US"/>
              <a:t>4</a:t>
            </a:r>
          </a:p>
          <a:p>
            <a:pPr lvl="4"/>
            <a:r>
              <a:rPr lang="en-US"/>
              <a:t>5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C3F7B8-0B35-40FF-8CB7-4337CBF123A9}"/>
              </a:ext>
            </a:extLst>
          </p:cNvPr>
          <p:cNvSpPr/>
          <p:nvPr userDrawn="1"/>
        </p:nvSpPr>
        <p:spPr>
          <a:xfrm>
            <a:off x="0" y="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CCB27E3-026E-4103-AE04-0346F7EF5C2F}"/>
              </a:ext>
            </a:extLst>
          </p:cNvPr>
          <p:cNvSpPr/>
          <p:nvPr userDrawn="1"/>
        </p:nvSpPr>
        <p:spPr>
          <a:xfrm>
            <a:off x="11472000" y="-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C4A1CEB9-11E9-4D44-B10D-C1106153B09E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6096000" y="3940935"/>
            <a:ext cx="5376000" cy="2917066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40000"/>
                </a:schemeClr>
              </a:gs>
            </a:gsLst>
            <a:lin ang="372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6F98E5-C772-4C1B-AEA2-5FA88430480D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fr-FR"/>
              <a:t>FSC-IKEA Blockchain+EUDR Information Requirements 17-08-23</a:t>
            </a:r>
            <a:endParaRPr lang="en-GB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60988FE9-E51C-90D4-0D7D-70F07C7E3F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0219" y="5562698"/>
            <a:ext cx="1976093" cy="879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1071111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dark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E9670259-4695-428B-A004-7FC80D7094B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19400" y="1"/>
            <a:ext cx="107532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342000" tIns="342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FC044026-2D0A-4F4C-B231-B0EF94B3258C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6096000" y="3940935"/>
            <a:ext cx="5376000" cy="2917066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40000"/>
                </a:schemeClr>
              </a:gs>
            </a:gsLst>
            <a:lin ang="372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F9144E-5217-4B9A-B2C1-83385827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1946566"/>
            <a:ext cx="10753200" cy="1620000"/>
          </a:xfrm>
          <a:noFill/>
        </p:spPr>
        <p:txBody>
          <a:bodyPr lIns="342000" tIns="342000" rIns="2160000" bIns="0" anchor="b" anchorCtr="0"/>
          <a:lstStyle>
            <a:lvl1pPr>
              <a:defRPr sz="4500" cap="all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113A054-12CB-4197-89CB-FBA21D5F89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5688" y="4097865"/>
            <a:ext cx="5040312" cy="14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800" b="1" cap="none">
                <a:solidFill>
                  <a:schemeClr val="bg2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6pPr>
            <a:lvl7pPr marL="0" indent="0" algn="l">
              <a:buNone/>
              <a:defRPr sz="1800" b="1">
                <a:solidFill>
                  <a:schemeClr val="bg2"/>
                </a:solidFill>
              </a:defRPr>
            </a:lvl7pPr>
            <a:lvl8pPr marL="0" indent="0" algn="l">
              <a:buNone/>
              <a:defRPr sz="1800" b="1">
                <a:solidFill>
                  <a:schemeClr val="bg2"/>
                </a:solidFill>
              </a:defRPr>
            </a:lvl8pPr>
            <a:lvl9pPr marL="0" indent="0" algn="l">
              <a:buNone/>
              <a:defRPr sz="1800" b="1">
                <a:solidFill>
                  <a:schemeClr val="bg2"/>
                </a:solidFill>
              </a:defRPr>
            </a:lvl9pPr>
          </a:lstStyle>
          <a:p>
            <a:r>
              <a:rPr lang="en-AU"/>
              <a:t>Subtitle or presenters name and date</a:t>
            </a:r>
            <a:endParaRPr lang="en-GB"/>
          </a:p>
          <a:p>
            <a:pPr lvl="1"/>
            <a:r>
              <a:rPr lang="en-US"/>
              <a:t>2</a:t>
            </a:r>
          </a:p>
          <a:p>
            <a:pPr lvl="2"/>
            <a:r>
              <a:rPr lang="en-US"/>
              <a:t>3</a:t>
            </a:r>
          </a:p>
          <a:p>
            <a:pPr lvl="3"/>
            <a:r>
              <a:rPr lang="en-US"/>
              <a:t>4</a:t>
            </a:r>
          </a:p>
          <a:p>
            <a:pPr lvl="4"/>
            <a:r>
              <a:rPr lang="en-US"/>
              <a:t>5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C3F7B8-0B35-40FF-8CB7-4337CBF123A9}"/>
              </a:ext>
            </a:extLst>
          </p:cNvPr>
          <p:cNvSpPr/>
          <p:nvPr userDrawn="1"/>
        </p:nvSpPr>
        <p:spPr>
          <a:xfrm>
            <a:off x="0" y="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CCB27E3-026E-4103-AE04-0346F7EF5C2F}"/>
              </a:ext>
            </a:extLst>
          </p:cNvPr>
          <p:cNvSpPr/>
          <p:nvPr userDrawn="1"/>
        </p:nvSpPr>
        <p:spPr>
          <a:xfrm>
            <a:off x="11472000" y="-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1C0FFFF4-D9E3-4A0E-BB93-6DCF367821CD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1055688" y="6288257"/>
            <a:ext cx="7913940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fr-FR"/>
              <a:t>FSC-IKEA Blockchain+EUDR Information Requirements 17-08-23</a:t>
            </a:r>
            <a:endParaRPr lang="en-GB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11A8C781-A258-1E2D-729C-E8C06536492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0219" y="5562698"/>
            <a:ext cx="1976093" cy="879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5625155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E9670259-4695-428B-A004-7FC80D7094B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1062000" tIns="342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A57D46A-D8D7-49BF-9479-240175CDBE8A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7540580" y="1"/>
            <a:ext cx="4651420" cy="1673605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1740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F9144E-5217-4B9A-B2C1-83385827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2619000"/>
            <a:ext cx="9000000" cy="1620000"/>
          </a:xfrm>
          <a:noFill/>
        </p:spPr>
        <p:txBody>
          <a:bodyPr lIns="342000" tIns="0" rIns="2160000" bIns="0" anchor="ctr" anchorCtr="0"/>
          <a:lstStyle>
            <a:lvl1pPr>
              <a:defRPr sz="4500" cap="all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FE441B78-CDE5-32F4-9065-9B5A0B3E51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0286" y="303441"/>
            <a:ext cx="1371600" cy="6106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5992470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2DC463D-2F1B-4364-A3E4-F6CD28DDD6E5}"/>
              </a:ext>
            </a:extLst>
          </p:cNvPr>
          <p:cNvSpPr/>
          <p:nvPr userDrawn="1"/>
        </p:nvSpPr>
        <p:spPr>
          <a:xfrm>
            <a:off x="0" y="0"/>
            <a:ext cx="12192000" cy="687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F9144E-5217-4B9A-B2C1-83385827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2619000"/>
            <a:ext cx="9000000" cy="1620000"/>
          </a:xfrm>
          <a:noFill/>
        </p:spPr>
        <p:txBody>
          <a:bodyPr lIns="342000" tIns="0" rIns="2160000" bIns="0" anchor="ctr" anchorCtr="0"/>
          <a:lstStyle>
            <a:lvl1pPr>
              <a:defRPr sz="4500" cap="all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4FB3E14A-559D-E5F3-7EE2-00C437FD5B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0286" y="303441"/>
            <a:ext cx="1371600" cy="6106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3045392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61B3790-BDEB-43E5-BF9C-3E8D289EECE8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9628" y="333375"/>
            <a:ext cx="10080000" cy="1080000"/>
          </a:xfrm>
        </p:spPr>
        <p:txBody>
          <a:bodyPr/>
          <a:lstStyle>
            <a:lvl1pPr>
              <a:defRPr cap="all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FEB565-49CC-408C-BDD2-C2590A4A642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49629" y="1880314"/>
            <a:ext cx="4320000" cy="3960000"/>
          </a:xfrm>
        </p:spPr>
        <p:txBody>
          <a:bodyPr/>
          <a:lstStyle>
            <a:lvl1pPr marL="288000" indent="-288000">
              <a:spcBef>
                <a:spcPts val="1200"/>
              </a:spcBef>
              <a:buFont typeface="+mj-lt"/>
              <a:buAutoNum type="arabicPeriod"/>
              <a:defRPr sz="2200"/>
            </a:lvl1pPr>
            <a:lvl2pPr marL="288000">
              <a:spcBef>
                <a:spcPts val="600"/>
              </a:spcBef>
              <a:spcAft>
                <a:spcPts val="600"/>
              </a:spcAft>
              <a:defRPr b="0" cap="none" baseline="0">
                <a:solidFill>
                  <a:schemeClr val="tx2"/>
                </a:solidFill>
              </a:defRPr>
            </a:lvl2pPr>
            <a:lvl3pPr marL="468000">
              <a:defRPr/>
            </a:lvl3pPr>
            <a:lvl4pPr marL="0" indent="0">
              <a:buNone/>
              <a:defRPr cap="all" baseline="0">
                <a:solidFill>
                  <a:schemeClr val="accent1"/>
                </a:solidFill>
                <a:latin typeface="+mj-lt"/>
              </a:defRPr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add Agenda item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5E5FA15F-A1ED-4F06-8C67-E1D73CF85C8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1880314"/>
            <a:ext cx="4320000" cy="3960000"/>
          </a:xfrm>
        </p:spPr>
        <p:txBody>
          <a:bodyPr/>
          <a:lstStyle>
            <a:lvl1pPr marL="288000" indent="-288000">
              <a:spcBef>
                <a:spcPts val="1200"/>
              </a:spcBef>
              <a:buFont typeface="+mj-lt"/>
              <a:buAutoNum type="arabicPeriod"/>
              <a:defRPr sz="2200"/>
            </a:lvl1pPr>
            <a:lvl2pPr marL="288000">
              <a:spcBef>
                <a:spcPts val="600"/>
              </a:spcBef>
              <a:spcAft>
                <a:spcPts val="600"/>
              </a:spcAft>
              <a:defRPr b="0" cap="none" baseline="0">
                <a:solidFill>
                  <a:schemeClr val="tx2"/>
                </a:solidFill>
              </a:defRPr>
            </a:lvl2pPr>
            <a:lvl3pPr marL="468000">
              <a:defRPr/>
            </a:lvl3pPr>
            <a:lvl4pPr marL="0" indent="0">
              <a:buNone/>
              <a:defRPr cap="all" baseline="0">
                <a:solidFill>
                  <a:schemeClr val="accent1"/>
                </a:solidFill>
                <a:latin typeface="+mj-lt"/>
              </a:defRPr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add Agenda item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98866983-58A4-4EC2-ADBC-AEEA6B9D69AB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8248903" y="6288257"/>
            <a:ext cx="1183557" cy="365125"/>
          </a:xfrm>
        </p:spPr>
        <p:txBody>
          <a:bodyPr/>
          <a:lstStyle/>
          <a:p>
            <a:endParaRPr lang="en-GB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F6B299B-0652-4E6B-BB65-0DE715526B4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55688" y="6288257"/>
            <a:ext cx="7193215" cy="365125"/>
          </a:xfrm>
        </p:spPr>
        <p:txBody>
          <a:bodyPr/>
          <a:lstStyle/>
          <a:p>
            <a:r>
              <a:rPr lang="fr-FR"/>
              <a:t>FSC-IKEA Blockchain+EUDR Information Requirements 17-08-23</a:t>
            </a:r>
            <a:endParaRPr lang="en-GB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42DCA20-AF8B-4853-AA2C-E5E7CD8D26F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8B1AC7E-46EA-441D-9455-6E65525B6A5A}"/>
              </a:ext>
            </a:extLst>
          </p:cNvPr>
          <p:cNvSpPr/>
          <p:nvPr userDrawn="1"/>
        </p:nvSpPr>
        <p:spPr>
          <a:xfrm>
            <a:off x="0" y="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C9469F0-045F-4A85-8721-359D41A43D06}"/>
              </a:ext>
            </a:extLst>
          </p:cNvPr>
          <p:cNvSpPr/>
          <p:nvPr userDrawn="1"/>
        </p:nvSpPr>
        <p:spPr>
          <a:xfrm>
            <a:off x="11472000" y="-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2179EAA8-E18E-42F9-924F-98FF7A3E70C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128313" y="333375"/>
            <a:ext cx="1008000" cy="448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0521430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880315"/>
            <a:ext cx="10080000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06AFE3-EE64-4522-825B-815C6A28E9F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CCCCDE7-B8EA-4773-A164-304D34F89D0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r-FR"/>
              <a:t>FSC-IKEA Blockchain+EUDR Information Requirements 17-08-23</a:t>
            </a:r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C4FDAA8-8585-4D16-87AD-3485D164648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1404850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1312C68-9CDC-4DDF-AFFD-F813984EE08A}"/>
              </a:ext>
            </a:extLst>
          </p:cNvPr>
          <p:cNvSpPr/>
          <p:nvPr userDrawn="1"/>
        </p:nvSpPr>
        <p:spPr>
          <a:xfrm>
            <a:off x="0" y="-11798"/>
            <a:ext cx="12192000" cy="690814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880315"/>
            <a:ext cx="10080000" cy="396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  <a:lvl6pPr>
              <a:defRPr>
                <a:solidFill>
                  <a:schemeClr val="bg2"/>
                </a:solidFill>
              </a:defRPr>
            </a:lvl6pPr>
            <a:lvl7pPr>
              <a:defRPr>
                <a:solidFill>
                  <a:schemeClr val="bg2"/>
                </a:solidFill>
              </a:defRPr>
            </a:lvl7pPr>
            <a:lvl8pPr>
              <a:defRPr>
                <a:solidFill>
                  <a:schemeClr val="bg2"/>
                </a:solidFill>
              </a:defRPr>
            </a:lvl8pPr>
            <a:lvl9pPr>
              <a:defRPr>
                <a:solidFill>
                  <a:schemeClr val="bg2"/>
                </a:solidFill>
              </a:defRPr>
            </a:lvl9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06AFE3-EE64-4522-825B-815C6A28E9F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CCCCDE7-B8EA-4773-A164-304D34F89D0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fr-FR"/>
              <a:t>FSC-IKEA Blockchain+EUDR Information Requirements 17-08-23</a:t>
            </a:r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C4FDAA8-8585-4D16-87AD-3485D164648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DCB8BC7D-E0E4-0345-72B7-03D7CF44FD1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6375" y="303442"/>
            <a:ext cx="1115510" cy="496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6357055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880315"/>
            <a:ext cx="4680000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06AFE3-EE64-4522-825B-815C6A28E9F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CCCCDE7-B8EA-4773-A164-304D34F89D0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r-FR"/>
              <a:t>FSC-IKEA Blockchain+EUDR Information Requirements 17-08-23</a:t>
            </a:r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C4FDAA8-8585-4D16-87AD-3485D164648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9FAA2598-9FF1-4FD4-A0B9-1D5412ADF05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734962" y="1880315"/>
            <a:ext cx="4680000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68391712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F17809F-093D-4878-B686-CA14CFB80D98}"/>
              </a:ext>
            </a:extLst>
          </p:cNvPr>
          <p:cNvSpPr/>
          <p:nvPr userDrawn="1"/>
        </p:nvSpPr>
        <p:spPr>
          <a:xfrm>
            <a:off x="0" y="-1"/>
            <a:ext cx="12192000" cy="687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880315"/>
            <a:ext cx="4680000" cy="396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06AFE3-EE64-4522-825B-815C6A28E9F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CCCCDE7-B8EA-4773-A164-304D34F89D0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fr-FR"/>
              <a:t>FSC-IKEA Blockchain+EUDR Information Requirements 17-08-23</a:t>
            </a:r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C4FDAA8-8585-4D16-87AD-3485D164648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9FAA2598-9FF1-4FD4-A0B9-1D5412ADF05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734962" y="1880315"/>
            <a:ext cx="4680000" cy="396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E69570CD-4160-2778-6E55-3B05B83F138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9924" y="303441"/>
            <a:ext cx="1071962" cy="477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923654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7F07ECCF-5EE7-4BA4-BD7C-50DF82C3F5BF}"/>
              </a:ext>
            </a:extLst>
          </p:cNvPr>
          <p:cNvSpPr/>
          <p:nvPr userDrawn="1"/>
        </p:nvSpPr>
        <p:spPr>
          <a:xfrm>
            <a:off x="0" y="0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10080000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08DD2E7-C8BF-4E45-AE9F-C1389B7B38D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963" y="2600315"/>
            <a:ext cx="2160000" cy="3240000"/>
          </a:xfrm>
        </p:spPr>
        <p:txBody>
          <a:bodyPr/>
          <a:lstStyle>
            <a:lvl1pPr>
              <a:defRPr sz="1600" cap="all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 b="0" cap="none" baseline="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D7BC8491-CCAE-458C-BD6D-862F904604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979212" y="2600315"/>
            <a:ext cx="2160000" cy="3240000"/>
          </a:xfrm>
        </p:spPr>
        <p:txBody>
          <a:bodyPr/>
          <a:lstStyle>
            <a:lvl1pPr>
              <a:defRPr sz="1600" cap="all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 b="0" cap="none" baseline="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B036190F-67DD-4555-BB1F-179E8E9C46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23461" y="2600315"/>
            <a:ext cx="2160000" cy="3240000"/>
          </a:xfrm>
        </p:spPr>
        <p:txBody>
          <a:bodyPr/>
          <a:lstStyle>
            <a:lvl1pPr>
              <a:defRPr sz="1600" cap="all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 b="0" cap="none" baseline="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F1044E10-4BD7-47DE-8A5A-57C9557A0B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67709" y="2600315"/>
            <a:ext cx="2160000" cy="3240000"/>
          </a:xfrm>
        </p:spPr>
        <p:txBody>
          <a:bodyPr/>
          <a:lstStyle>
            <a:lvl1pPr>
              <a:defRPr sz="1600" cap="all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 b="0" cap="none" baseline="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B900929-35E2-4B6A-A4BF-9E02733E3AB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6B47C34-75D5-42A4-8A99-FADDAF9BBA6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67B0344-E805-4D5F-B3FB-AF95BC74870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577401C0-8DFD-414D-AF9E-CD906141229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849886" y="333375"/>
            <a:ext cx="1006304" cy="448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536073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lef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450744" y="1880315"/>
            <a:ext cx="4691628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23DD628-AE63-4907-AF4B-6B53C077707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4963" y="1880314"/>
            <a:ext cx="5761037" cy="4644311"/>
          </a:xfrm>
          <a:prstGeom prst="roundRect">
            <a:avLst>
              <a:gd name="adj" fmla="val 1982"/>
            </a:avLst>
          </a:prstGeom>
          <a:solidFill>
            <a:schemeClr val="bg1">
              <a:lumMod val="85000"/>
            </a:schemeClr>
          </a:solidFill>
        </p:spPr>
        <p:txBody>
          <a:bodyPr lIns="342000" tIns="342000" rIns="342000" bIns="342000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AU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6453E03-EC16-4564-B43B-27855EB9BD2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450744" y="6288257"/>
            <a:ext cx="4320000" cy="365125"/>
          </a:xfrm>
        </p:spPr>
        <p:txBody>
          <a:bodyPr/>
          <a:lstStyle/>
          <a:p>
            <a:r>
              <a:rPr lang="fr-FR"/>
              <a:t>FSC-IKEA Blockchain+EUDR Information Requirements 17-08-23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A913BC-780A-4949-92A0-B5967D36080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459140" y="6159500"/>
            <a:ext cx="727410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3689459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16EF975B-AD72-4CB0-A546-757A6175A51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83255" y="1880314"/>
            <a:ext cx="5761038" cy="4644311"/>
          </a:xfrm>
          <a:prstGeom prst="roundRect">
            <a:avLst>
              <a:gd name="adj" fmla="val 1982"/>
            </a:avLst>
          </a:prstGeom>
          <a:solidFill>
            <a:schemeClr val="bg1">
              <a:lumMod val="85000"/>
            </a:schemeClr>
          </a:solidFill>
        </p:spPr>
        <p:txBody>
          <a:bodyPr lIns="342000" tIns="342000" rIns="342000" bIns="342000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AU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880315"/>
            <a:ext cx="4691628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C94176C4-3B30-43F2-91DE-33D09AEA7B5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fr-FR"/>
              <a:t>FSC-IKEA Blockchain+EUDR Information Requirements 17-08-23</a:t>
            </a:r>
            <a:endParaRPr lang="en-GB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A95B7BCF-DC6C-46BC-B3D2-2F18F9BC75D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547064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-full wid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23DD628-AE63-4907-AF4B-6B53C077707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4963" y="1880314"/>
            <a:ext cx="11509330" cy="4644311"/>
          </a:xfrm>
          <a:prstGeom prst="roundRect">
            <a:avLst>
              <a:gd name="adj" fmla="val 1982"/>
            </a:avLst>
          </a:prstGeom>
          <a:solidFill>
            <a:schemeClr val="bg1">
              <a:lumMod val="85000"/>
            </a:schemeClr>
          </a:solidFill>
        </p:spPr>
        <p:txBody>
          <a:bodyPr lIns="342000" tIns="342000" rIns="342000" bIns="342000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AU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6E7A7DD-8C14-4B85-B39F-1E990E1FFE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333375"/>
            <a:ext cx="5761038" cy="108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7D8FAF2-858C-419E-A577-F0425218264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15444" y="333375"/>
            <a:ext cx="3600000" cy="126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D048DB48-6039-4A0D-ACBF-D5EB8DD358F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459140" y="6159500"/>
            <a:ext cx="727410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39370715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-full ble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0">
            <a:extLst>
              <a:ext uri="{FF2B5EF4-FFF2-40B4-BE49-F238E27FC236}">
                <a16:creationId xmlns:a16="http://schemas.microsoft.com/office/drawing/2014/main" id="{5AF6F1E8-5ECE-4267-92B5-43C3523BCBE3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1062000" tIns="360000" rIns="4320000" bIns="360000" anchor="ctr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8390923A-6BDB-44C8-9456-CEB6E0A0A293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7540580" y="1"/>
            <a:ext cx="4651420" cy="1673605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1740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6E7A7DD-8C14-4B85-B39F-1E990E1FFE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333375"/>
            <a:ext cx="5761038" cy="108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7D8FAF2-858C-419E-A577-F0425218264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15444" y="333375"/>
            <a:ext cx="3600000" cy="126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  <a:lvl6pPr>
              <a:defRPr>
                <a:solidFill>
                  <a:schemeClr val="bg2"/>
                </a:solidFill>
              </a:defRPr>
            </a:lvl6pPr>
            <a:lvl7pPr>
              <a:defRPr>
                <a:solidFill>
                  <a:schemeClr val="bg2"/>
                </a:solidFill>
              </a:defRPr>
            </a:lvl7pPr>
            <a:lvl8pPr>
              <a:defRPr>
                <a:solidFill>
                  <a:schemeClr val="bg2"/>
                </a:solidFill>
              </a:defRPr>
            </a:lvl8pPr>
            <a:lvl9pPr>
              <a:defRPr>
                <a:solidFill>
                  <a:schemeClr val="bg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E0AD6A4-0D42-4CCD-B0CB-498EE201FE4E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21E9B0E-B319-4C6F-97AF-0F8D83942F0C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fr-FR"/>
              <a:t>FSC-IKEA Blockchain+EUDR Information Requirements 17-08-23</a:t>
            </a:r>
            <a:endParaRPr lang="en-GB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65D74DCF-D99B-4098-B297-0BD016160D35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FB4A08B0-6A28-D04B-257D-013EC758BC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170" y="303442"/>
            <a:ext cx="979715" cy="43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6571394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right 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23DD628-AE63-4907-AF4B-6B53C077707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0"/>
            <a:ext cx="6096000" cy="6858000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</p:spPr>
        <p:txBody>
          <a:bodyPr lIns="342000" tIns="342000" rIns="1440000" bIns="342000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AU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EB2F477-266C-4C9D-A64F-287BA3F4CF3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4962" y="1880314"/>
            <a:ext cx="5220000" cy="396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771A36E-45E1-4553-9842-66EF392719C7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844884" y="1880314"/>
            <a:ext cx="2160000" cy="396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7D669EEE-6563-477F-A4CD-D425F6140F00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347256" y="1880314"/>
            <a:ext cx="2160000" cy="396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A5DE353-D720-4A1F-9ECC-89FB139059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2218" y="333375"/>
            <a:ext cx="5220000" cy="108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913AB32-E310-49A2-9A47-2348F6B61E52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fr-FR"/>
              <a:t>FSC-IKEA Blockchain+EUDR Information Requirements 17-08-23</a:t>
            </a:r>
            <a:endParaRPr lang="en-GB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6266A723-640D-4EFF-93D1-1E964694156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C4DEE883-581D-4AC9-9251-8929D0C8E380}"/>
              </a:ext>
            </a:extLst>
          </p:cNvPr>
          <p:cNvSpPr>
            <a:spLocks noGrp="1" noChangeAspect="1"/>
          </p:cNvSpPr>
          <p:nvPr>
            <p:ph type="body" sz="quarter" idx="25"/>
          </p:nvPr>
        </p:nvSpPr>
        <p:spPr>
          <a:xfrm>
            <a:off x="7540580" y="1"/>
            <a:ext cx="4651420" cy="1673605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1740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6C4035EB-46BA-D68D-EDAA-1CAC6D7697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170" y="303442"/>
            <a:ext cx="979715" cy="43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0052413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7F07ECCF-5EE7-4BA4-BD7C-50DF82C3F5BF}"/>
              </a:ext>
            </a:extLst>
          </p:cNvPr>
          <p:cNvSpPr/>
          <p:nvPr userDrawn="1"/>
        </p:nvSpPr>
        <p:spPr>
          <a:xfrm>
            <a:off x="0" y="0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10080000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08DD2E7-C8BF-4E45-AE9F-C1389B7B38D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963" y="2600315"/>
            <a:ext cx="2160000" cy="3240000"/>
          </a:xfrm>
        </p:spPr>
        <p:txBody>
          <a:bodyPr/>
          <a:lstStyle>
            <a:lvl1pPr>
              <a:defRPr sz="1600" cap="all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 b="0" cap="none" baseline="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D7BC8491-CCAE-458C-BD6D-862F904604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979212" y="2600315"/>
            <a:ext cx="2160000" cy="3240000"/>
          </a:xfrm>
        </p:spPr>
        <p:txBody>
          <a:bodyPr/>
          <a:lstStyle>
            <a:lvl1pPr>
              <a:defRPr sz="1600" cap="all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 b="0" cap="none" baseline="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B036190F-67DD-4555-BB1F-179E8E9C46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23461" y="2600315"/>
            <a:ext cx="2160000" cy="3240000"/>
          </a:xfrm>
        </p:spPr>
        <p:txBody>
          <a:bodyPr/>
          <a:lstStyle>
            <a:lvl1pPr>
              <a:defRPr sz="1600" cap="all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 b="0" cap="none" baseline="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F1044E10-4BD7-47DE-8A5A-57C9557A0B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67709" y="2600315"/>
            <a:ext cx="2160000" cy="3240000"/>
          </a:xfrm>
        </p:spPr>
        <p:txBody>
          <a:bodyPr/>
          <a:lstStyle>
            <a:lvl1pPr>
              <a:defRPr sz="1600" cap="all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 b="0" cap="none" baseline="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B900929-35E2-4B6A-A4BF-9E02733E3AB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6B47C34-75D5-42A4-8A99-FADDAF9BBA6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fr-FR"/>
              <a:t>FSC-IKEA Blockchain+EUDR Information Requirements 17-08-23</a:t>
            </a:r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67B0344-E805-4D5F-B3FB-AF95BC74870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5344C7BC-0E67-CA0F-39A7-28EB9FE063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170" y="303442"/>
            <a:ext cx="979715" cy="43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2617426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7F07ECCF-5EE7-4BA4-BD7C-50DF82C3F5BF}"/>
              </a:ext>
            </a:extLst>
          </p:cNvPr>
          <p:cNvSpPr/>
          <p:nvPr userDrawn="1"/>
        </p:nvSpPr>
        <p:spPr>
          <a:xfrm>
            <a:off x="0" y="0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F1044E10-4BD7-47DE-8A5A-57C9557A0B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42214" y="2106271"/>
            <a:ext cx="4507572" cy="2281251"/>
          </a:xfrm>
        </p:spPr>
        <p:txBody>
          <a:bodyPr/>
          <a:lstStyle>
            <a:lvl1pPr>
              <a:defRPr sz="2800" cap="none" baseline="0">
                <a:solidFill>
                  <a:schemeClr val="accent1"/>
                </a:solidFill>
                <a:latin typeface="+mj-lt"/>
              </a:defRPr>
            </a:lvl1pPr>
            <a:lvl2pPr algn="l">
              <a:spcBef>
                <a:spcPts val="600"/>
              </a:spcBef>
              <a:defRPr sz="1600" b="0" cap="none" baseline="0">
                <a:solidFill>
                  <a:schemeClr val="accent1"/>
                </a:solidFill>
              </a:defRPr>
            </a:lvl2pPr>
            <a:lvl3pPr algn="l">
              <a:defRPr sz="1600" cap="none">
                <a:solidFill>
                  <a:schemeClr val="accent1"/>
                </a:solidFill>
              </a:defRPr>
            </a:lvl3pPr>
            <a:lvl4pPr algn="l">
              <a:defRPr sz="1600" cap="none">
                <a:solidFill>
                  <a:schemeClr val="accent1"/>
                </a:solidFill>
              </a:defRPr>
            </a:lvl4pPr>
            <a:lvl5pPr algn="l">
              <a:defRPr sz="1600" cap="none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CCFA2A9-BC18-4CF8-AD38-42B263119472}"/>
              </a:ext>
            </a:extLst>
          </p:cNvPr>
          <p:cNvSpPr txBox="1"/>
          <p:nvPr userDrawn="1"/>
        </p:nvSpPr>
        <p:spPr>
          <a:xfrm>
            <a:off x="2756995" y="1307904"/>
            <a:ext cx="914033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2000">
                <a:solidFill>
                  <a:schemeClr val="accent1"/>
                </a:solidFill>
                <a:latin typeface="+mj-lt"/>
              </a:rPr>
              <a:t>“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9C98CC0-E077-4ADE-8BC2-9559518E22D8}"/>
              </a:ext>
            </a:extLst>
          </p:cNvPr>
          <p:cNvSpPr txBox="1"/>
          <p:nvPr userDrawn="1"/>
        </p:nvSpPr>
        <p:spPr>
          <a:xfrm>
            <a:off x="7755716" y="3692995"/>
            <a:ext cx="1643399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2000">
                <a:solidFill>
                  <a:schemeClr val="tx2"/>
                </a:solidFill>
                <a:latin typeface="+mj-lt"/>
              </a:rPr>
              <a:t>“</a:t>
            </a:r>
            <a:r>
              <a:rPr lang="en-AU" sz="12000">
                <a:solidFill>
                  <a:schemeClr val="accent1"/>
                </a:solidFill>
                <a:latin typeface="+mj-lt"/>
              </a:rPr>
              <a:t>”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25A78CB-C25F-477B-ACB8-7A8C3B33F7D7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0DC4922-3AFC-43D6-9996-17D5CAC06E9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fr-FR"/>
              <a:t>FSC-IKEA Blockchain+EUDR Information Requirements 17-08-23</a:t>
            </a:r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54801EF-D4C3-4D21-A7DC-76D432B0F00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7CB4A03A-94C8-BFEA-8068-9023E104F6B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170" y="303442"/>
            <a:ext cx="979715" cy="43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482830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10794666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5EE857-4C7E-47C5-A433-5F303A10690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963" y="1413375"/>
            <a:ext cx="10794665" cy="72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3" name="Table Placeholder 12">
            <a:extLst>
              <a:ext uri="{FF2B5EF4-FFF2-40B4-BE49-F238E27FC236}">
                <a16:creationId xmlns:a16="http://schemas.microsoft.com/office/drawing/2014/main" id="{12720170-841B-4714-B671-AE40B2FE0283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334963" y="2243443"/>
            <a:ext cx="10794665" cy="3600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table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4E7EDCB-670C-46CB-A20E-159535CC5C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D18779D-2EB2-4254-A93E-7459659F2BB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fr-FR"/>
              <a:t>FSC-IKEA Blockchain+EUDR Information Requirements 17-08-23</a:t>
            </a:r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8B347AD-5E50-42AC-AFB4-7F625291AB6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0407963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10801351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5EE857-4C7E-47C5-A433-5F303A10690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964" y="1413375"/>
            <a:ext cx="10801350" cy="72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D1ECE4F1-33EB-4137-BED8-59885BB39C47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334963" y="2243442"/>
            <a:ext cx="10801350" cy="3599999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778F5DE-1344-42BD-82D0-6611DD7B1FC6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D0D518F-1062-474E-BA48-10EA56B2C55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fr-FR"/>
              <a:t>FSC-IKEA Blockchain+EUDR Information Requirements 17-08-23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2C63567-251B-4660-ADF6-37AB6DCF01D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20556134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D583ABC-22A1-400D-B5EB-018BF7A1B892}"/>
              </a:ext>
            </a:extLst>
          </p:cNvPr>
          <p:cNvSpPr/>
          <p:nvPr userDrawn="1"/>
        </p:nvSpPr>
        <p:spPr>
          <a:xfrm>
            <a:off x="0" y="0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10794666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5EE857-4C7E-47C5-A433-5F303A10690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963" y="1413375"/>
            <a:ext cx="10794665" cy="72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3" name="Table Placeholder 12">
            <a:extLst>
              <a:ext uri="{FF2B5EF4-FFF2-40B4-BE49-F238E27FC236}">
                <a16:creationId xmlns:a16="http://schemas.microsoft.com/office/drawing/2014/main" id="{12720170-841B-4714-B671-AE40B2FE0283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334963" y="2243443"/>
            <a:ext cx="10794665" cy="3600000"/>
          </a:xfrm>
        </p:spPr>
        <p:txBody>
          <a:bodyPr anchor="ctr" anchorCtr="0"/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4E7EDCB-670C-46CB-A20E-159535CC5C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D18779D-2EB2-4254-A93E-7459659F2BB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fr-FR"/>
              <a:t>FSC-IKEA Blockchain+EUDR Information Requirements 17-08-23</a:t>
            </a:r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8B347AD-5E50-42AC-AFB4-7F625291AB6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2FA6FFA2-47D4-767C-57CD-472CB83562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170" y="303442"/>
            <a:ext cx="979715" cy="43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02491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tr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E396722-86FB-4B61-980E-29BB1A84BF5F}"/>
              </a:ext>
            </a:extLst>
          </p:cNvPr>
          <p:cNvSpPr/>
          <p:nvPr userDrawn="1"/>
        </p:nvSpPr>
        <p:spPr>
          <a:xfrm>
            <a:off x="0" y="-1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D50AE23D-06D1-4F9E-B490-E50D424CE9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892E96-6CF9-4BCC-9A9B-CB94EC6D1A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97B376B-D4F9-4143-A8AE-817EB0EA6B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84A53671-41EC-45C8-A0C1-D1426C22F9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2465D6CB-4864-45A8-BBF3-437CF55EAC16}"/>
              </a:ext>
            </a:extLst>
          </p:cNvPr>
          <p:cNvSpPr/>
          <p:nvPr userDrawn="1"/>
        </p:nvSpPr>
        <p:spPr>
          <a:xfrm>
            <a:off x="334964" y="1301332"/>
            <a:ext cx="7985636" cy="4841479"/>
          </a:xfrm>
          <a:prstGeom prst="roundRect">
            <a:avLst>
              <a:gd name="adj" fmla="val 1167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F8F1858-32FB-4251-8265-5AC98524EA8A}"/>
              </a:ext>
            </a:extLst>
          </p:cNvPr>
          <p:cNvCxnSpPr>
            <a:cxnSpLocks/>
          </p:cNvCxnSpPr>
          <p:nvPr userDrawn="1"/>
        </p:nvCxnSpPr>
        <p:spPr>
          <a:xfrm flipV="1">
            <a:off x="820851" y="1652866"/>
            <a:ext cx="0" cy="4004734"/>
          </a:xfrm>
          <a:prstGeom prst="line">
            <a:avLst/>
          </a:prstGeom>
          <a:ln w="12700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BA70369-660D-4DCA-B0FC-2749C2E58A40}"/>
              </a:ext>
            </a:extLst>
          </p:cNvPr>
          <p:cNvCxnSpPr>
            <a:cxnSpLocks/>
          </p:cNvCxnSpPr>
          <p:nvPr userDrawn="1"/>
        </p:nvCxnSpPr>
        <p:spPr>
          <a:xfrm>
            <a:off x="820851" y="5657600"/>
            <a:ext cx="7161084" cy="0"/>
          </a:xfrm>
          <a:prstGeom prst="line">
            <a:avLst/>
          </a:prstGeom>
          <a:ln w="12700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A04F3D51-FDE7-49C0-9411-1BA8018885F5}"/>
              </a:ext>
            </a:extLst>
          </p:cNvPr>
          <p:cNvSpPr txBox="1"/>
          <p:nvPr userDrawn="1"/>
        </p:nvSpPr>
        <p:spPr>
          <a:xfrm>
            <a:off x="334963" y="898522"/>
            <a:ext cx="763992" cy="338554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algn="l"/>
            <a:r>
              <a:rPr lang="en-AU" sz="1600">
                <a:solidFill>
                  <a:schemeClr val="bg2"/>
                </a:solidFill>
                <a:latin typeface="+mj-lt"/>
              </a:rPr>
              <a:t>Impac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DCAFC7F-47A8-4564-9F50-8B90053438B1}"/>
              </a:ext>
            </a:extLst>
          </p:cNvPr>
          <p:cNvSpPr txBox="1"/>
          <p:nvPr userDrawn="1"/>
        </p:nvSpPr>
        <p:spPr>
          <a:xfrm rot="16200000">
            <a:off x="371856" y="2087718"/>
            <a:ext cx="4988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200" b="1">
                <a:solidFill>
                  <a:schemeClr val="tx2"/>
                </a:solidFill>
              </a:rPr>
              <a:t>high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E5C50DC-C632-47B2-ADFB-BBCD52D2C82D}"/>
              </a:ext>
            </a:extLst>
          </p:cNvPr>
          <p:cNvSpPr txBox="1"/>
          <p:nvPr userDrawn="1"/>
        </p:nvSpPr>
        <p:spPr>
          <a:xfrm rot="16200000">
            <a:off x="395902" y="4817077"/>
            <a:ext cx="45076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200" b="1">
                <a:solidFill>
                  <a:schemeClr val="tx2"/>
                </a:solidFill>
              </a:rPr>
              <a:t>low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62AB432-5B81-4183-BD69-521F287E2369}"/>
              </a:ext>
            </a:extLst>
          </p:cNvPr>
          <p:cNvSpPr txBox="1"/>
          <p:nvPr userDrawn="1"/>
        </p:nvSpPr>
        <p:spPr>
          <a:xfrm>
            <a:off x="1469070" y="5721149"/>
            <a:ext cx="80983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AU" sz="1200" b="1">
                <a:solidFill>
                  <a:schemeClr val="tx2"/>
                </a:solidFill>
              </a:rPr>
              <a:t>Complex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527307B-0156-429B-9C00-0C8B21BD14C9}"/>
              </a:ext>
            </a:extLst>
          </p:cNvPr>
          <p:cNvSpPr txBox="1"/>
          <p:nvPr userDrawn="1"/>
        </p:nvSpPr>
        <p:spPr>
          <a:xfrm>
            <a:off x="6744728" y="5721149"/>
            <a:ext cx="51328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AU" sz="1200" b="1">
                <a:solidFill>
                  <a:schemeClr val="tx2"/>
                </a:solidFill>
              </a:rPr>
              <a:t>Easy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FC98F08-3647-430E-A964-E9B3F1B05B54}"/>
              </a:ext>
            </a:extLst>
          </p:cNvPr>
          <p:cNvSpPr txBox="1"/>
          <p:nvPr userDrawn="1"/>
        </p:nvSpPr>
        <p:spPr>
          <a:xfrm>
            <a:off x="8502936" y="5596891"/>
            <a:ext cx="1858411" cy="584775"/>
          </a:xfrm>
          <a:prstGeom prst="rect">
            <a:avLst/>
          </a:prstGeom>
          <a:noFill/>
        </p:spPr>
        <p:txBody>
          <a:bodyPr wrap="square" lIns="0" rtlCol="0" anchor="b" anchorCtr="0">
            <a:spAutoFit/>
          </a:bodyPr>
          <a:lstStyle/>
          <a:p>
            <a:pPr algn="l"/>
            <a:r>
              <a:rPr lang="en-AU" sz="1600">
                <a:solidFill>
                  <a:schemeClr val="bg2"/>
                </a:solidFill>
                <a:latin typeface="+mj-lt"/>
              </a:rPr>
              <a:t>Ease of implementation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FBDFBCA9-FD99-491F-89DF-4AC97AE3E116}"/>
              </a:ext>
            </a:extLst>
          </p:cNvPr>
          <p:cNvSpPr/>
          <p:nvPr userDrawn="1"/>
        </p:nvSpPr>
        <p:spPr>
          <a:xfrm>
            <a:off x="1042214" y="1675334"/>
            <a:ext cx="2231805" cy="1188000"/>
          </a:xfrm>
          <a:prstGeom prst="roundRect">
            <a:avLst>
              <a:gd name="adj" fmla="val 7472"/>
            </a:avLst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DEE76B15-E051-4997-AF08-C4F466FA8F6E}"/>
              </a:ext>
            </a:extLst>
          </p:cNvPr>
          <p:cNvSpPr/>
          <p:nvPr userDrawn="1"/>
        </p:nvSpPr>
        <p:spPr>
          <a:xfrm>
            <a:off x="3385008" y="1675334"/>
            <a:ext cx="2231805" cy="1188000"/>
          </a:xfrm>
          <a:prstGeom prst="roundRect">
            <a:avLst>
              <a:gd name="adj" fmla="val 8834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40FE7694-E738-4019-AF0B-7727B8794381}"/>
              </a:ext>
            </a:extLst>
          </p:cNvPr>
          <p:cNvSpPr/>
          <p:nvPr userDrawn="1"/>
        </p:nvSpPr>
        <p:spPr>
          <a:xfrm>
            <a:off x="5727802" y="1675333"/>
            <a:ext cx="2231805" cy="1188000"/>
          </a:xfrm>
          <a:prstGeom prst="roundRect">
            <a:avLst>
              <a:gd name="adj" fmla="val 8834"/>
            </a:avLst>
          </a:prstGeom>
          <a:solidFill>
            <a:schemeClr val="accent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EFA22970-8A68-49F2-AB88-2AEA221CE2BC}"/>
              </a:ext>
            </a:extLst>
          </p:cNvPr>
          <p:cNvSpPr/>
          <p:nvPr userDrawn="1"/>
        </p:nvSpPr>
        <p:spPr>
          <a:xfrm>
            <a:off x="1042214" y="2971443"/>
            <a:ext cx="2231805" cy="1188000"/>
          </a:xfrm>
          <a:prstGeom prst="roundRect">
            <a:avLst>
              <a:gd name="adj" fmla="val 7472"/>
            </a:avLst>
          </a:prstGeom>
          <a:solidFill>
            <a:schemeClr val="accent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C2521848-B421-4131-8617-FCCCBC93E050}"/>
              </a:ext>
            </a:extLst>
          </p:cNvPr>
          <p:cNvSpPr/>
          <p:nvPr userDrawn="1"/>
        </p:nvSpPr>
        <p:spPr>
          <a:xfrm>
            <a:off x="3385008" y="2971443"/>
            <a:ext cx="2231805" cy="1188000"/>
          </a:xfrm>
          <a:prstGeom prst="roundRect">
            <a:avLst>
              <a:gd name="adj" fmla="val 8834"/>
            </a:avLst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74EF66E-1001-471F-A4F5-1A75062904FE}"/>
              </a:ext>
            </a:extLst>
          </p:cNvPr>
          <p:cNvSpPr/>
          <p:nvPr userDrawn="1"/>
        </p:nvSpPr>
        <p:spPr>
          <a:xfrm>
            <a:off x="5727802" y="2971443"/>
            <a:ext cx="2231805" cy="1188000"/>
          </a:xfrm>
          <a:prstGeom prst="roundRect">
            <a:avLst>
              <a:gd name="adj" fmla="val 8834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594F7034-6A44-489D-8799-48EDD5EB2966}"/>
              </a:ext>
            </a:extLst>
          </p:cNvPr>
          <p:cNvSpPr/>
          <p:nvPr userDrawn="1"/>
        </p:nvSpPr>
        <p:spPr>
          <a:xfrm>
            <a:off x="1042214" y="4267552"/>
            <a:ext cx="2231805" cy="1188000"/>
          </a:xfrm>
          <a:prstGeom prst="roundRect">
            <a:avLst>
              <a:gd name="adj" fmla="val 7472"/>
            </a:avLst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CFC9D5C0-E6E3-4A0F-A579-D371C54429F9}"/>
              </a:ext>
            </a:extLst>
          </p:cNvPr>
          <p:cNvSpPr/>
          <p:nvPr userDrawn="1"/>
        </p:nvSpPr>
        <p:spPr>
          <a:xfrm>
            <a:off x="3385008" y="4267552"/>
            <a:ext cx="2231805" cy="1188000"/>
          </a:xfrm>
          <a:prstGeom prst="roundRect">
            <a:avLst>
              <a:gd name="adj" fmla="val 8834"/>
            </a:avLst>
          </a:prstGeom>
          <a:solidFill>
            <a:schemeClr val="accent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38327192-4EDE-4ECF-9B7F-79369E6FDF5A}"/>
              </a:ext>
            </a:extLst>
          </p:cNvPr>
          <p:cNvSpPr/>
          <p:nvPr userDrawn="1"/>
        </p:nvSpPr>
        <p:spPr>
          <a:xfrm>
            <a:off x="5727802" y="4267551"/>
            <a:ext cx="2231805" cy="1188000"/>
          </a:xfrm>
          <a:prstGeom prst="roundRect">
            <a:avLst>
              <a:gd name="adj" fmla="val 8834"/>
            </a:avLst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3FC76B0-FFF7-4829-BB16-AA0D48C7783F}"/>
              </a:ext>
            </a:extLst>
          </p:cNvPr>
          <p:cNvSpPr txBox="1"/>
          <p:nvPr userDrawn="1"/>
        </p:nvSpPr>
        <p:spPr>
          <a:xfrm rot="16200000">
            <a:off x="395902" y="3402433"/>
            <a:ext cx="45076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200" b="1">
                <a:solidFill>
                  <a:schemeClr val="tx2"/>
                </a:solidFill>
              </a:rPr>
              <a:t>low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F655A99-08E9-4F6D-A018-45609A43346B}"/>
              </a:ext>
            </a:extLst>
          </p:cNvPr>
          <p:cNvSpPr txBox="1"/>
          <p:nvPr userDrawn="1"/>
        </p:nvSpPr>
        <p:spPr>
          <a:xfrm>
            <a:off x="3978565" y="5721149"/>
            <a:ext cx="7633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AU" sz="1200" b="1">
                <a:solidFill>
                  <a:schemeClr val="tx2"/>
                </a:solidFill>
              </a:rPr>
              <a:t>Medium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38DEC77-BDB8-41D1-91E8-818100725A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899525" y="1317778"/>
            <a:ext cx="2957513" cy="388075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  <a:lvl6pPr>
              <a:defRPr>
                <a:solidFill>
                  <a:schemeClr val="bg2"/>
                </a:solidFill>
              </a:defRPr>
            </a:lvl6pPr>
            <a:lvl7pPr>
              <a:defRPr>
                <a:solidFill>
                  <a:schemeClr val="bg2"/>
                </a:solidFill>
              </a:defRPr>
            </a:lvl7pPr>
            <a:lvl8pPr>
              <a:defRPr>
                <a:solidFill>
                  <a:schemeClr val="bg2"/>
                </a:solidFill>
              </a:defRPr>
            </a:lvl8pPr>
            <a:lvl9pPr>
              <a:defRPr>
                <a:solidFill>
                  <a:schemeClr val="bg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5C1DC378-1F26-4641-9662-33E3EE8521A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849886" y="333375"/>
            <a:ext cx="1006304" cy="448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8550508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C60C8A8-1B70-4653-94B4-DE00B5C785B3}"/>
              </a:ext>
            </a:extLst>
          </p:cNvPr>
          <p:cNvSpPr/>
          <p:nvPr userDrawn="1"/>
        </p:nvSpPr>
        <p:spPr>
          <a:xfrm>
            <a:off x="0" y="0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10801351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5EE857-4C7E-47C5-A433-5F303A10690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964" y="1413375"/>
            <a:ext cx="10801350" cy="72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D1ECE4F1-33EB-4137-BED8-59885BB39C47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334963" y="2243442"/>
            <a:ext cx="10801350" cy="3599999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778F5DE-1344-42BD-82D0-6611DD7B1FC6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D0D518F-1062-474E-BA48-10EA56B2C55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fr-FR"/>
              <a:t>FSC-IKEA Blockchain+EUDR Information Requirements 17-08-23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2C63567-251B-4660-ADF6-37AB6DCF01D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55A299A2-94E0-10F6-A195-57A32A7EF3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170" y="303442"/>
            <a:ext cx="979715" cy="43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8169285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76849F14-4971-4208-82A8-1F0513897926}"/>
              </a:ext>
            </a:extLst>
          </p:cNvPr>
          <p:cNvSpPr/>
          <p:nvPr userDrawn="1"/>
        </p:nvSpPr>
        <p:spPr>
          <a:xfrm>
            <a:off x="719400" y="-2"/>
            <a:ext cx="107532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096AA35B-6D3E-4809-9D78-9CF31081E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9400" y="-2"/>
            <a:ext cx="4680000" cy="4068000"/>
          </a:xfrm>
          <a:solidFill>
            <a:schemeClr val="tx2"/>
          </a:solidFill>
        </p:spPr>
        <p:txBody>
          <a:bodyPr lIns="342000" tIns="342000" rIns="0" bIns="504000" anchor="b" anchorCtr="0"/>
          <a:lstStyle>
            <a:lvl1pPr>
              <a:defRPr sz="4500">
                <a:solidFill>
                  <a:schemeClr val="accent1"/>
                </a:solidFill>
              </a:defRPr>
            </a:lvl1pPr>
          </a:lstStyle>
          <a:p>
            <a:r>
              <a:rPr lang="en-US"/>
              <a:t>Thank you</a:t>
            </a:r>
            <a:endParaRPr lang="en-AU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FD95F930-CD55-469B-9FD0-1150DA73B39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-2"/>
            <a:ext cx="12192000" cy="6876000"/>
          </a:xfrm>
          <a:custGeom>
            <a:avLst/>
            <a:gdLst>
              <a:gd name="connsiteX0" fmla="*/ 114726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472600 w 12192000"/>
              <a:gd name="connsiteY3" fmla="*/ 6858000 h 6858000"/>
              <a:gd name="connsiteX4" fmla="*/ 0 w 12192000"/>
              <a:gd name="connsiteY4" fmla="*/ 0 h 6858000"/>
              <a:gd name="connsiteX5" fmla="*/ 719400 w 12192000"/>
              <a:gd name="connsiteY5" fmla="*/ 0 h 6858000"/>
              <a:gd name="connsiteX6" fmla="*/ 7194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14726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472600" y="6858000"/>
                </a:lnTo>
                <a:close/>
                <a:moveTo>
                  <a:pt x="0" y="0"/>
                </a:moveTo>
                <a:lnTo>
                  <a:pt x="719400" y="0"/>
                </a:lnTo>
                <a:lnTo>
                  <a:pt x="7194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08000" tIns="108000" rIns="115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F8BC909C-567D-4F9C-A0DF-D05DE8F82075}"/>
              </a:ext>
            </a:extLst>
          </p:cNvPr>
          <p:cNvSpPr>
            <a:spLocks noChangeAspect="1"/>
          </p:cNvSpPr>
          <p:nvPr/>
        </p:nvSpPr>
        <p:spPr>
          <a:xfrm>
            <a:off x="7916652" y="4591756"/>
            <a:ext cx="242382" cy="242382"/>
          </a:xfrm>
          <a:custGeom>
            <a:avLst/>
            <a:gdLst>
              <a:gd name="connsiteX0" fmla="*/ 357950 w 809625"/>
              <a:gd name="connsiteY0" fmla="*/ 333375 h 809625"/>
              <a:gd name="connsiteX1" fmla="*/ 480537 w 809625"/>
              <a:gd name="connsiteY1" fmla="*/ 397002 h 809625"/>
              <a:gd name="connsiteX2" fmla="*/ 357950 w 809625"/>
              <a:gd name="connsiteY2" fmla="*/ 460439 h 809625"/>
              <a:gd name="connsiteX3" fmla="*/ 242887 w 809625"/>
              <a:gd name="connsiteY3" fmla="*/ 249555 h 809625"/>
              <a:gd name="connsiteX4" fmla="*/ 178117 w 809625"/>
              <a:gd name="connsiteY4" fmla="*/ 314325 h 809625"/>
              <a:gd name="connsiteX5" fmla="*/ 178117 w 809625"/>
              <a:gd name="connsiteY5" fmla="*/ 495300 h 809625"/>
              <a:gd name="connsiteX6" fmla="*/ 242887 w 809625"/>
              <a:gd name="connsiteY6" fmla="*/ 560070 h 809625"/>
              <a:gd name="connsiteX7" fmla="*/ 566737 w 809625"/>
              <a:gd name="connsiteY7" fmla="*/ 560070 h 809625"/>
              <a:gd name="connsiteX8" fmla="*/ 631507 w 809625"/>
              <a:gd name="connsiteY8" fmla="*/ 495300 h 809625"/>
              <a:gd name="connsiteX9" fmla="*/ 631507 w 809625"/>
              <a:gd name="connsiteY9" fmla="*/ 314325 h 809625"/>
              <a:gd name="connsiteX10" fmla="*/ 566737 w 809625"/>
              <a:gd name="connsiteY10" fmla="*/ 249555 h 809625"/>
              <a:gd name="connsiteX11" fmla="*/ 404813 w 809625"/>
              <a:gd name="connsiteY11" fmla="*/ 0 h 809625"/>
              <a:gd name="connsiteX12" fmla="*/ 809625 w 809625"/>
              <a:gd name="connsiteY12" fmla="*/ 404813 h 809625"/>
              <a:gd name="connsiteX13" fmla="*/ 404813 w 809625"/>
              <a:gd name="connsiteY13" fmla="*/ 809625 h 809625"/>
              <a:gd name="connsiteX14" fmla="*/ 0 w 809625"/>
              <a:gd name="connsiteY14" fmla="*/ 404813 h 809625"/>
              <a:gd name="connsiteX15" fmla="*/ 404813 w 809625"/>
              <a:gd name="connsiteY15" fmla="*/ 0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809625" h="809625">
                <a:moveTo>
                  <a:pt x="357950" y="333375"/>
                </a:moveTo>
                <a:lnTo>
                  <a:pt x="480537" y="397002"/>
                </a:lnTo>
                <a:lnTo>
                  <a:pt x="357950" y="460439"/>
                </a:lnTo>
                <a:close/>
                <a:moveTo>
                  <a:pt x="242887" y="249555"/>
                </a:moveTo>
                <a:cubicBezTo>
                  <a:pt x="207159" y="249660"/>
                  <a:pt x="178222" y="278597"/>
                  <a:pt x="178117" y="314325"/>
                </a:cubicBezTo>
                <a:lnTo>
                  <a:pt x="178117" y="495300"/>
                </a:lnTo>
                <a:cubicBezTo>
                  <a:pt x="178222" y="531028"/>
                  <a:pt x="207159" y="559965"/>
                  <a:pt x="242887" y="560070"/>
                </a:cubicBezTo>
                <a:lnTo>
                  <a:pt x="566737" y="560070"/>
                </a:lnTo>
                <a:cubicBezTo>
                  <a:pt x="602465" y="559965"/>
                  <a:pt x="631402" y="531028"/>
                  <a:pt x="631507" y="495300"/>
                </a:cubicBezTo>
                <a:lnTo>
                  <a:pt x="631507" y="314325"/>
                </a:lnTo>
                <a:cubicBezTo>
                  <a:pt x="631402" y="278597"/>
                  <a:pt x="602465" y="249660"/>
                  <a:pt x="566737" y="249555"/>
                </a:cubicBezTo>
                <a:close/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2487C176-18A9-4BB0-BD80-DEC34233A800}"/>
              </a:ext>
            </a:extLst>
          </p:cNvPr>
          <p:cNvSpPr>
            <a:spLocks noChangeAspect="1"/>
          </p:cNvSpPr>
          <p:nvPr/>
        </p:nvSpPr>
        <p:spPr>
          <a:xfrm>
            <a:off x="8298996" y="4591756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495146 w 809625"/>
              <a:gd name="connsiteY5" fmla="*/ 220645 h 809625"/>
              <a:gd name="connsiteX6" fmla="*/ 428527 w 809625"/>
              <a:gd name="connsiteY6" fmla="*/ 245841 h 809625"/>
              <a:gd name="connsiteX7" fmla="*/ 399192 w 809625"/>
              <a:gd name="connsiteY7" fmla="*/ 313563 h 809625"/>
              <a:gd name="connsiteX8" fmla="*/ 401573 w 809625"/>
              <a:gd name="connsiteY8" fmla="*/ 334803 h 809625"/>
              <a:gd name="connsiteX9" fmla="*/ 209549 w 809625"/>
              <a:gd name="connsiteY9" fmla="*/ 238125 h 809625"/>
              <a:gd name="connsiteX10" fmla="*/ 238124 w 809625"/>
              <a:gd name="connsiteY10" fmla="*/ 361950 h 809625"/>
              <a:gd name="connsiteX11" fmla="*/ 195928 w 809625"/>
              <a:gd name="connsiteY11" fmla="*/ 350329 h 809625"/>
              <a:gd name="connsiteX12" fmla="*/ 195929 w 809625"/>
              <a:gd name="connsiteY12" fmla="*/ 351567 h 809625"/>
              <a:gd name="connsiteX13" fmla="*/ 270605 w 809625"/>
              <a:gd name="connsiteY13" fmla="*/ 442722 h 809625"/>
              <a:gd name="connsiteX14" fmla="*/ 228599 w 809625"/>
              <a:gd name="connsiteY14" fmla="*/ 444341 h 809625"/>
              <a:gd name="connsiteX15" fmla="*/ 315467 w 809625"/>
              <a:gd name="connsiteY15" fmla="*/ 508920 h 809625"/>
              <a:gd name="connsiteX16" fmla="*/ 200024 w 809625"/>
              <a:gd name="connsiteY16" fmla="*/ 548544 h 809625"/>
              <a:gd name="connsiteX17" fmla="*/ 177831 w 809625"/>
              <a:gd name="connsiteY17" fmla="*/ 547211 h 809625"/>
              <a:gd name="connsiteX18" fmla="*/ 320706 w 809625"/>
              <a:gd name="connsiteY18" fmla="*/ 589026 h 809625"/>
              <a:gd name="connsiteX19" fmla="*/ 585406 w 809625"/>
              <a:gd name="connsiteY19" fmla="*/ 324421 h 809625"/>
              <a:gd name="connsiteX20" fmla="*/ 585406 w 809625"/>
              <a:gd name="connsiteY20" fmla="*/ 312324 h 809625"/>
              <a:gd name="connsiteX21" fmla="*/ 631507 w 809625"/>
              <a:gd name="connsiteY21" fmla="*/ 264223 h 809625"/>
              <a:gd name="connsiteX22" fmla="*/ 578072 w 809625"/>
              <a:gd name="connsiteY22" fmla="*/ 278892 h 809625"/>
              <a:gd name="connsiteX23" fmla="*/ 619124 w 809625"/>
              <a:gd name="connsiteY23" fmla="*/ 227361 h 809625"/>
              <a:gd name="connsiteX24" fmla="*/ 560069 w 809625"/>
              <a:gd name="connsiteY24" fmla="*/ 249936 h 809625"/>
              <a:gd name="connsiteX25" fmla="*/ 495146 w 809625"/>
              <a:gd name="connsiteY25" fmla="*/ 220645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495146" y="220645"/>
                </a:moveTo>
                <a:cubicBezTo>
                  <a:pt x="471342" y="219904"/>
                  <a:pt x="447255" y="228245"/>
                  <a:pt x="428527" y="245841"/>
                </a:cubicBezTo>
                <a:cubicBezTo>
                  <a:pt x="409833" y="263407"/>
                  <a:pt x="399219" y="287911"/>
                  <a:pt x="399192" y="313563"/>
                </a:cubicBezTo>
                <a:cubicBezTo>
                  <a:pt x="399204" y="320709"/>
                  <a:pt x="400003" y="327832"/>
                  <a:pt x="401573" y="334803"/>
                </a:cubicBezTo>
                <a:cubicBezTo>
                  <a:pt x="326768" y="331204"/>
                  <a:pt x="256991" y="296073"/>
                  <a:pt x="209549" y="238125"/>
                </a:cubicBezTo>
                <a:cubicBezTo>
                  <a:pt x="185023" y="280491"/>
                  <a:pt x="197513" y="334615"/>
                  <a:pt x="238124" y="361950"/>
                </a:cubicBezTo>
                <a:cubicBezTo>
                  <a:pt x="223336" y="361482"/>
                  <a:pt x="208871" y="357499"/>
                  <a:pt x="195928" y="350329"/>
                </a:cubicBezTo>
                <a:lnTo>
                  <a:pt x="195929" y="351567"/>
                </a:lnTo>
                <a:cubicBezTo>
                  <a:pt x="195962" y="395849"/>
                  <a:pt x="227195" y="433974"/>
                  <a:pt x="270605" y="442722"/>
                </a:cubicBezTo>
                <a:cubicBezTo>
                  <a:pt x="256901" y="446399"/>
                  <a:pt x="242546" y="446952"/>
                  <a:pt x="228599" y="444341"/>
                </a:cubicBezTo>
                <a:cubicBezTo>
                  <a:pt x="240745" y="482243"/>
                  <a:pt x="275672" y="508209"/>
                  <a:pt x="315467" y="508920"/>
                </a:cubicBezTo>
                <a:cubicBezTo>
                  <a:pt x="282513" y="534690"/>
                  <a:pt x="241858" y="548644"/>
                  <a:pt x="200024" y="548544"/>
                </a:cubicBezTo>
                <a:cubicBezTo>
                  <a:pt x="192607" y="548536"/>
                  <a:pt x="185196" y="548091"/>
                  <a:pt x="177831" y="547211"/>
                </a:cubicBezTo>
                <a:cubicBezTo>
                  <a:pt x="220421" y="574649"/>
                  <a:pt x="270043" y="589172"/>
                  <a:pt x="320706" y="589026"/>
                </a:cubicBezTo>
                <a:cubicBezTo>
                  <a:pt x="492156" y="589026"/>
                  <a:pt x="585406" y="447294"/>
                  <a:pt x="585406" y="324421"/>
                </a:cubicBezTo>
                <a:cubicBezTo>
                  <a:pt x="585406" y="320325"/>
                  <a:pt x="585406" y="316325"/>
                  <a:pt x="585406" y="312324"/>
                </a:cubicBezTo>
                <a:cubicBezTo>
                  <a:pt x="603503" y="299151"/>
                  <a:pt x="619113" y="282863"/>
                  <a:pt x="631507" y="264223"/>
                </a:cubicBezTo>
                <a:cubicBezTo>
                  <a:pt x="614513" y="271713"/>
                  <a:pt x="596508" y="276656"/>
                  <a:pt x="578072" y="278892"/>
                </a:cubicBezTo>
                <a:cubicBezTo>
                  <a:pt x="597588" y="267302"/>
                  <a:pt x="612190" y="248974"/>
                  <a:pt x="619124" y="227361"/>
                </a:cubicBezTo>
                <a:cubicBezTo>
                  <a:pt x="600877" y="238213"/>
                  <a:pt x="580902" y="245848"/>
                  <a:pt x="560069" y="249936"/>
                </a:cubicBezTo>
                <a:cubicBezTo>
                  <a:pt x="542473" y="231209"/>
                  <a:pt x="518951" y="221387"/>
                  <a:pt x="495146" y="22064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41393088-2A2D-4F19-A536-4C5B46718A69}"/>
              </a:ext>
            </a:extLst>
          </p:cNvPr>
          <p:cNvSpPr>
            <a:spLocks noChangeAspect="1"/>
          </p:cNvSpPr>
          <p:nvPr/>
        </p:nvSpPr>
        <p:spPr>
          <a:xfrm>
            <a:off x="8681340" y="4591756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230981 w 809625"/>
              <a:gd name="connsiteY5" fmla="*/ 177069 h 809625"/>
              <a:gd name="connsiteX6" fmla="*/ 176498 w 809625"/>
              <a:gd name="connsiteY6" fmla="*/ 231552 h 809625"/>
              <a:gd name="connsiteX7" fmla="*/ 230981 w 809625"/>
              <a:gd name="connsiteY7" fmla="*/ 286035 h 809625"/>
              <a:gd name="connsiteX8" fmla="*/ 285464 w 809625"/>
              <a:gd name="connsiteY8" fmla="*/ 231552 h 809625"/>
              <a:gd name="connsiteX9" fmla="*/ 230981 w 809625"/>
              <a:gd name="connsiteY9" fmla="*/ 177069 h 809625"/>
              <a:gd name="connsiteX10" fmla="*/ 517493 w 809625"/>
              <a:gd name="connsiteY10" fmla="*/ 319849 h 809625"/>
              <a:gd name="connsiteX11" fmla="*/ 428625 w 809625"/>
              <a:gd name="connsiteY11" fmla="*/ 368617 h 809625"/>
              <a:gd name="connsiteX12" fmla="*/ 426910 w 809625"/>
              <a:gd name="connsiteY12" fmla="*/ 368617 h 809625"/>
              <a:gd name="connsiteX13" fmla="*/ 426910 w 809625"/>
              <a:gd name="connsiteY13" fmla="*/ 327278 h 809625"/>
              <a:gd name="connsiteX14" fmla="*/ 336899 w 809625"/>
              <a:gd name="connsiteY14" fmla="*/ 327278 h 809625"/>
              <a:gd name="connsiteX15" fmla="*/ 336899 w 809625"/>
              <a:gd name="connsiteY15" fmla="*/ 629602 h 809625"/>
              <a:gd name="connsiteX16" fmla="*/ 430720 w 809625"/>
              <a:gd name="connsiteY16" fmla="*/ 629602 h 809625"/>
              <a:gd name="connsiteX17" fmla="*/ 430720 w 809625"/>
              <a:gd name="connsiteY17" fmla="*/ 480059 h 809625"/>
              <a:gd name="connsiteX18" fmla="*/ 487108 w 809625"/>
              <a:gd name="connsiteY18" fmla="*/ 402430 h 809625"/>
              <a:gd name="connsiteX19" fmla="*/ 535876 w 809625"/>
              <a:gd name="connsiteY19" fmla="*/ 482631 h 809625"/>
              <a:gd name="connsiteX20" fmla="*/ 535876 w 809625"/>
              <a:gd name="connsiteY20" fmla="*/ 629602 h 809625"/>
              <a:gd name="connsiteX21" fmla="*/ 630174 w 809625"/>
              <a:gd name="connsiteY21" fmla="*/ 629602 h 809625"/>
              <a:gd name="connsiteX22" fmla="*/ 630174 w 809625"/>
              <a:gd name="connsiteY22" fmla="*/ 463771 h 809625"/>
              <a:gd name="connsiteX23" fmla="*/ 517493 w 809625"/>
              <a:gd name="connsiteY23" fmla="*/ 319849 h 809625"/>
              <a:gd name="connsiteX24" fmla="*/ 183927 w 809625"/>
              <a:gd name="connsiteY24" fmla="*/ 327278 h 809625"/>
              <a:gd name="connsiteX25" fmla="*/ 183927 w 809625"/>
              <a:gd name="connsiteY25" fmla="*/ 629602 h 809625"/>
              <a:gd name="connsiteX26" fmla="*/ 277939 w 809625"/>
              <a:gd name="connsiteY26" fmla="*/ 629602 h 809625"/>
              <a:gd name="connsiteX27" fmla="*/ 277939 w 809625"/>
              <a:gd name="connsiteY27" fmla="*/ 327278 h 809625"/>
              <a:gd name="connsiteX28" fmla="*/ 183927 w 809625"/>
              <a:gd name="connsiteY28" fmla="*/ 327278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230981" y="177069"/>
                </a:moveTo>
                <a:cubicBezTo>
                  <a:pt x="200891" y="177069"/>
                  <a:pt x="176498" y="201462"/>
                  <a:pt x="176498" y="231552"/>
                </a:cubicBezTo>
                <a:cubicBezTo>
                  <a:pt x="176498" y="261642"/>
                  <a:pt x="200891" y="286035"/>
                  <a:pt x="230981" y="286035"/>
                </a:cubicBezTo>
                <a:cubicBezTo>
                  <a:pt x="261071" y="286035"/>
                  <a:pt x="285464" y="261642"/>
                  <a:pt x="285464" y="231552"/>
                </a:cubicBezTo>
                <a:cubicBezTo>
                  <a:pt x="285464" y="201462"/>
                  <a:pt x="261071" y="177069"/>
                  <a:pt x="230981" y="177069"/>
                </a:cubicBezTo>
                <a:close/>
                <a:moveTo>
                  <a:pt x="517493" y="319849"/>
                </a:moveTo>
                <a:cubicBezTo>
                  <a:pt x="481146" y="318484"/>
                  <a:pt x="446996" y="337225"/>
                  <a:pt x="428625" y="368617"/>
                </a:cubicBezTo>
                <a:lnTo>
                  <a:pt x="426910" y="368617"/>
                </a:lnTo>
                <a:lnTo>
                  <a:pt x="426910" y="327278"/>
                </a:lnTo>
                <a:lnTo>
                  <a:pt x="336899" y="327278"/>
                </a:lnTo>
                <a:lnTo>
                  <a:pt x="336899" y="629602"/>
                </a:lnTo>
                <a:lnTo>
                  <a:pt x="430720" y="629602"/>
                </a:lnTo>
                <a:lnTo>
                  <a:pt x="430720" y="480059"/>
                </a:lnTo>
                <a:cubicBezTo>
                  <a:pt x="430720" y="440530"/>
                  <a:pt x="438912" y="402430"/>
                  <a:pt x="487108" y="402430"/>
                </a:cubicBezTo>
                <a:cubicBezTo>
                  <a:pt x="535305" y="402430"/>
                  <a:pt x="535876" y="447579"/>
                  <a:pt x="535876" y="482631"/>
                </a:cubicBezTo>
                <a:lnTo>
                  <a:pt x="535876" y="629602"/>
                </a:lnTo>
                <a:lnTo>
                  <a:pt x="630174" y="629602"/>
                </a:lnTo>
                <a:lnTo>
                  <a:pt x="630174" y="463771"/>
                </a:lnTo>
                <a:cubicBezTo>
                  <a:pt x="630174" y="382428"/>
                  <a:pt x="612743" y="319849"/>
                  <a:pt x="517493" y="319849"/>
                </a:cubicBezTo>
                <a:close/>
                <a:moveTo>
                  <a:pt x="183927" y="327278"/>
                </a:moveTo>
                <a:lnTo>
                  <a:pt x="183927" y="629602"/>
                </a:lnTo>
                <a:lnTo>
                  <a:pt x="277939" y="629602"/>
                </a:lnTo>
                <a:lnTo>
                  <a:pt x="277939" y="327278"/>
                </a:lnTo>
                <a:lnTo>
                  <a:pt x="183927" y="32727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F1F78FC3-536A-4C34-B2A3-95085DF38A8D}"/>
              </a:ext>
            </a:extLst>
          </p:cNvPr>
          <p:cNvSpPr>
            <a:spLocks noChangeAspect="1"/>
          </p:cNvSpPr>
          <p:nvPr/>
        </p:nvSpPr>
        <p:spPr>
          <a:xfrm>
            <a:off x="9063685" y="4591756"/>
            <a:ext cx="242382" cy="242382"/>
          </a:xfrm>
          <a:custGeom>
            <a:avLst/>
            <a:gdLst>
              <a:gd name="connsiteX0" fmla="*/ 404812 w 809625"/>
              <a:gd name="connsiteY0" fmla="*/ 288417 h 809625"/>
              <a:gd name="connsiteX1" fmla="*/ 288417 w 809625"/>
              <a:gd name="connsiteY1" fmla="*/ 404812 h 809625"/>
              <a:gd name="connsiteX2" fmla="*/ 404812 w 809625"/>
              <a:gd name="connsiteY2" fmla="*/ 521208 h 809625"/>
              <a:gd name="connsiteX3" fmla="*/ 521208 w 809625"/>
              <a:gd name="connsiteY3" fmla="*/ 404812 h 809625"/>
              <a:gd name="connsiteX4" fmla="*/ 404812 w 809625"/>
              <a:gd name="connsiteY4" fmla="*/ 288417 h 809625"/>
              <a:gd name="connsiteX5" fmla="*/ 525780 w 809625"/>
              <a:gd name="connsiteY5" fmla="*/ 256603 h 809625"/>
              <a:gd name="connsiteX6" fmla="*/ 498538 w 809625"/>
              <a:gd name="connsiteY6" fmla="*/ 283844 h 809625"/>
              <a:gd name="connsiteX7" fmla="*/ 525780 w 809625"/>
              <a:gd name="connsiteY7" fmla="*/ 311086 h 809625"/>
              <a:gd name="connsiteX8" fmla="*/ 553021 w 809625"/>
              <a:gd name="connsiteY8" fmla="*/ 283844 h 809625"/>
              <a:gd name="connsiteX9" fmla="*/ 525780 w 809625"/>
              <a:gd name="connsiteY9" fmla="*/ 256603 h 809625"/>
              <a:gd name="connsiteX10" fmla="*/ 404812 w 809625"/>
              <a:gd name="connsiteY10" fmla="*/ 219075 h 809625"/>
              <a:gd name="connsiteX11" fmla="*/ 496443 w 809625"/>
              <a:gd name="connsiteY11" fmla="*/ 220408 h 809625"/>
              <a:gd name="connsiteX12" fmla="*/ 538543 w 809625"/>
              <a:gd name="connsiteY12" fmla="*/ 228218 h 809625"/>
              <a:gd name="connsiteX13" fmla="*/ 581501 w 809625"/>
              <a:gd name="connsiteY13" fmla="*/ 271176 h 809625"/>
              <a:gd name="connsiteX14" fmla="*/ 589311 w 809625"/>
              <a:gd name="connsiteY14" fmla="*/ 313277 h 809625"/>
              <a:gd name="connsiteX15" fmla="*/ 590645 w 809625"/>
              <a:gd name="connsiteY15" fmla="*/ 404907 h 809625"/>
              <a:gd name="connsiteX16" fmla="*/ 589311 w 809625"/>
              <a:gd name="connsiteY16" fmla="*/ 496538 h 809625"/>
              <a:gd name="connsiteX17" fmla="*/ 581501 w 809625"/>
              <a:gd name="connsiteY17" fmla="*/ 538638 h 809625"/>
              <a:gd name="connsiteX18" fmla="*/ 538543 w 809625"/>
              <a:gd name="connsiteY18" fmla="*/ 581596 h 809625"/>
              <a:gd name="connsiteX19" fmla="*/ 496443 w 809625"/>
              <a:gd name="connsiteY19" fmla="*/ 589406 h 809625"/>
              <a:gd name="connsiteX20" fmla="*/ 404812 w 809625"/>
              <a:gd name="connsiteY20" fmla="*/ 590740 h 809625"/>
              <a:gd name="connsiteX21" fmla="*/ 313182 w 809625"/>
              <a:gd name="connsiteY21" fmla="*/ 589407 h 809625"/>
              <a:gd name="connsiteX22" fmla="*/ 271081 w 809625"/>
              <a:gd name="connsiteY22" fmla="*/ 581596 h 809625"/>
              <a:gd name="connsiteX23" fmla="*/ 228600 w 809625"/>
              <a:gd name="connsiteY23" fmla="*/ 538543 h 809625"/>
              <a:gd name="connsiteX24" fmla="*/ 220789 w 809625"/>
              <a:gd name="connsiteY24" fmla="*/ 496443 h 809625"/>
              <a:gd name="connsiteX25" fmla="*/ 219075 w 809625"/>
              <a:gd name="connsiteY25" fmla="*/ 404812 h 809625"/>
              <a:gd name="connsiteX26" fmla="*/ 220408 w 809625"/>
              <a:gd name="connsiteY26" fmla="*/ 313182 h 809625"/>
              <a:gd name="connsiteX27" fmla="*/ 228600 w 809625"/>
              <a:gd name="connsiteY27" fmla="*/ 271081 h 809625"/>
              <a:gd name="connsiteX28" fmla="*/ 271081 w 809625"/>
              <a:gd name="connsiteY28" fmla="*/ 228600 h 809625"/>
              <a:gd name="connsiteX29" fmla="*/ 313181 w 809625"/>
              <a:gd name="connsiteY29" fmla="*/ 220789 h 809625"/>
              <a:gd name="connsiteX30" fmla="*/ 404812 w 809625"/>
              <a:gd name="connsiteY30" fmla="*/ 219075 h 809625"/>
              <a:gd name="connsiteX31" fmla="*/ 405669 w 809625"/>
              <a:gd name="connsiteY31" fmla="*/ 177736 h 809625"/>
              <a:gd name="connsiteX32" fmla="*/ 404812 w 809625"/>
              <a:gd name="connsiteY32" fmla="*/ 178212 h 809625"/>
              <a:gd name="connsiteX33" fmla="*/ 311372 w 809625"/>
              <a:gd name="connsiteY33" fmla="*/ 179546 h 809625"/>
              <a:gd name="connsiteX34" fmla="*/ 256317 w 809625"/>
              <a:gd name="connsiteY34" fmla="*/ 190500 h 809625"/>
              <a:gd name="connsiteX35" fmla="*/ 189642 w 809625"/>
              <a:gd name="connsiteY35" fmla="*/ 257175 h 809625"/>
              <a:gd name="connsiteX36" fmla="*/ 179069 w 809625"/>
              <a:gd name="connsiteY36" fmla="*/ 312229 h 809625"/>
              <a:gd name="connsiteX37" fmla="*/ 177736 w 809625"/>
              <a:gd name="connsiteY37" fmla="*/ 405669 h 809625"/>
              <a:gd name="connsiteX38" fmla="*/ 179069 w 809625"/>
              <a:gd name="connsiteY38" fmla="*/ 499110 h 809625"/>
              <a:gd name="connsiteX39" fmla="*/ 190500 w 809625"/>
              <a:gd name="connsiteY39" fmla="*/ 553307 h 809625"/>
              <a:gd name="connsiteX40" fmla="*/ 257175 w 809625"/>
              <a:gd name="connsiteY40" fmla="*/ 619982 h 809625"/>
              <a:gd name="connsiteX41" fmla="*/ 312229 w 809625"/>
              <a:gd name="connsiteY41" fmla="*/ 630554 h 809625"/>
              <a:gd name="connsiteX42" fmla="*/ 405669 w 809625"/>
              <a:gd name="connsiteY42" fmla="*/ 631888 h 809625"/>
              <a:gd name="connsiteX43" fmla="*/ 499110 w 809625"/>
              <a:gd name="connsiteY43" fmla="*/ 630554 h 809625"/>
              <a:gd name="connsiteX44" fmla="*/ 554164 w 809625"/>
              <a:gd name="connsiteY44" fmla="*/ 619982 h 809625"/>
              <a:gd name="connsiteX45" fmla="*/ 620839 w 809625"/>
              <a:gd name="connsiteY45" fmla="*/ 553307 h 809625"/>
              <a:gd name="connsiteX46" fmla="*/ 631412 w 809625"/>
              <a:gd name="connsiteY46" fmla="*/ 498252 h 809625"/>
              <a:gd name="connsiteX47" fmla="*/ 632745 w 809625"/>
              <a:gd name="connsiteY47" fmla="*/ 404812 h 809625"/>
              <a:gd name="connsiteX48" fmla="*/ 631412 w 809625"/>
              <a:gd name="connsiteY48" fmla="*/ 311372 h 809625"/>
              <a:gd name="connsiteX49" fmla="*/ 620839 w 809625"/>
              <a:gd name="connsiteY49" fmla="*/ 256317 h 809625"/>
              <a:gd name="connsiteX50" fmla="*/ 554164 w 809625"/>
              <a:gd name="connsiteY50" fmla="*/ 189642 h 809625"/>
              <a:gd name="connsiteX51" fmla="*/ 499110 w 809625"/>
              <a:gd name="connsiteY51" fmla="*/ 179069 h 809625"/>
              <a:gd name="connsiteX52" fmla="*/ 405669 w 809625"/>
              <a:gd name="connsiteY52" fmla="*/ 177736 h 809625"/>
              <a:gd name="connsiteX53" fmla="*/ 404813 w 809625"/>
              <a:gd name="connsiteY53" fmla="*/ 0 h 809625"/>
              <a:gd name="connsiteX54" fmla="*/ 809625 w 809625"/>
              <a:gd name="connsiteY54" fmla="*/ 404813 h 809625"/>
              <a:gd name="connsiteX55" fmla="*/ 404813 w 809625"/>
              <a:gd name="connsiteY55" fmla="*/ 809625 h 809625"/>
              <a:gd name="connsiteX56" fmla="*/ 0 w 809625"/>
              <a:gd name="connsiteY56" fmla="*/ 404813 h 809625"/>
              <a:gd name="connsiteX57" fmla="*/ 404813 w 809625"/>
              <a:gd name="connsiteY57" fmla="*/ 0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809625" h="809625">
                <a:moveTo>
                  <a:pt x="404812" y="288417"/>
                </a:moveTo>
                <a:cubicBezTo>
                  <a:pt x="340529" y="288417"/>
                  <a:pt x="288417" y="340529"/>
                  <a:pt x="288417" y="404812"/>
                </a:cubicBezTo>
                <a:cubicBezTo>
                  <a:pt x="288417" y="469096"/>
                  <a:pt x="340529" y="521208"/>
                  <a:pt x="404812" y="521208"/>
                </a:cubicBezTo>
                <a:cubicBezTo>
                  <a:pt x="469096" y="521208"/>
                  <a:pt x="521208" y="469096"/>
                  <a:pt x="521208" y="404812"/>
                </a:cubicBezTo>
                <a:cubicBezTo>
                  <a:pt x="521208" y="340529"/>
                  <a:pt x="469096" y="288417"/>
                  <a:pt x="404812" y="288417"/>
                </a:cubicBezTo>
                <a:close/>
                <a:moveTo>
                  <a:pt x="525780" y="256603"/>
                </a:moveTo>
                <a:cubicBezTo>
                  <a:pt x="510734" y="256603"/>
                  <a:pt x="498538" y="268799"/>
                  <a:pt x="498538" y="283844"/>
                </a:cubicBezTo>
                <a:cubicBezTo>
                  <a:pt x="498538" y="298890"/>
                  <a:pt x="510734" y="311086"/>
                  <a:pt x="525780" y="311086"/>
                </a:cubicBezTo>
                <a:cubicBezTo>
                  <a:pt x="540825" y="311086"/>
                  <a:pt x="553021" y="298890"/>
                  <a:pt x="553021" y="283844"/>
                </a:cubicBezTo>
                <a:cubicBezTo>
                  <a:pt x="553021" y="268799"/>
                  <a:pt x="540825" y="256603"/>
                  <a:pt x="525780" y="256603"/>
                </a:cubicBezTo>
                <a:close/>
                <a:moveTo>
                  <a:pt x="404812" y="219075"/>
                </a:moveTo>
                <a:cubicBezTo>
                  <a:pt x="465296" y="219075"/>
                  <a:pt x="472535" y="219075"/>
                  <a:pt x="496443" y="220408"/>
                </a:cubicBezTo>
                <a:cubicBezTo>
                  <a:pt x="510824" y="220533"/>
                  <a:pt x="525073" y="223177"/>
                  <a:pt x="538543" y="228218"/>
                </a:cubicBezTo>
                <a:cubicBezTo>
                  <a:pt x="558257" y="235874"/>
                  <a:pt x="573845" y="251463"/>
                  <a:pt x="581501" y="271176"/>
                </a:cubicBezTo>
                <a:cubicBezTo>
                  <a:pt x="586542" y="284646"/>
                  <a:pt x="589186" y="298895"/>
                  <a:pt x="589311" y="313277"/>
                </a:cubicBezTo>
                <a:cubicBezTo>
                  <a:pt x="590454" y="337185"/>
                  <a:pt x="590645" y="344424"/>
                  <a:pt x="590645" y="404907"/>
                </a:cubicBezTo>
                <a:cubicBezTo>
                  <a:pt x="590645" y="465391"/>
                  <a:pt x="590645" y="472630"/>
                  <a:pt x="589311" y="496538"/>
                </a:cubicBezTo>
                <a:cubicBezTo>
                  <a:pt x="589186" y="510920"/>
                  <a:pt x="586543" y="525168"/>
                  <a:pt x="581501" y="538638"/>
                </a:cubicBezTo>
                <a:cubicBezTo>
                  <a:pt x="573845" y="558352"/>
                  <a:pt x="558257" y="573940"/>
                  <a:pt x="538543" y="581596"/>
                </a:cubicBezTo>
                <a:cubicBezTo>
                  <a:pt x="525073" y="586638"/>
                  <a:pt x="510824" y="589281"/>
                  <a:pt x="496443" y="589406"/>
                </a:cubicBezTo>
                <a:cubicBezTo>
                  <a:pt x="472535" y="590550"/>
                  <a:pt x="465391" y="590740"/>
                  <a:pt x="404812" y="590740"/>
                </a:cubicBezTo>
                <a:cubicBezTo>
                  <a:pt x="344233" y="590740"/>
                  <a:pt x="337089" y="590740"/>
                  <a:pt x="313182" y="589407"/>
                </a:cubicBezTo>
                <a:cubicBezTo>
                  <a:pt x="298800" y="589281"/>
                  <a:pt x="284551" y="586638"/>
                  <a:pt x="271081" y="581596"/>
                </a:cubicBezTo>
                <a:cubicBezTo>
                  <a:pt x="251529" y="573808"/>
                  <a:pt x="236125" y="558197"/>
                  <a:pt x="228600" y="538543"/>
                </a:cubicBezTo>
                <a:cubicBezTo>
                  <a:pt x="223558" y="525073"/>
                  <a:pt x="220914" y="510824"/>
                  <a:pt x="220789" y="496443"/>
                </a:cubicBezTo>
                <a:cubicBezTo>
                  <a:pt x="219075" y="472535"/>
                  <a:pt x="219075" y="465296"/>
                  <a:pt x="219075" y="404812"/>
                </a:cubicBezTo>
                <a:cubicBezTo>
                  <a:pt x="219075" y="344328"/>
                  <a:pt x="219075" y="337089"/>
                  <a:pt x="220408" y="313182"/>
                </a:cubicBezTo>
                <a:cubicBezTo>
                  <a:pt x="220655" y="298777"/>
                  <a:pt x="223428" y="284527"/>
                  <a:pt x="228600" y="271081"/>
                </a:cubicBezTo>
                <a:cubicBezTo>
                  <a:pt x="236258" y="251643"/>
                  <a:pt x="251643" y="236258"/>
                  <a:pt x="271081" y="228600"/>
                </a:cubicBezTo>
                <a:cubicBezTo>
                  <a:pt x="284551" y="223558"/>
                  <a:pt x="298800" y="220914"/>
                  <a:pt x="313181" y="220789"/>
                </a:cubicBezTo>
                <a:cubicBezTo>
                  <a:pt x="337089" y="219075"/>
                  <a:pt x="344328" y="219075"/>
                  <a:pt x="404812" y="219075"/>
                </a:cubicBezTo>
                <a:close/>
                <a:moveTo>
                  <a:pt x="405669" y="177736"/>
                </a:moveTo>
                <a:lnTo>
                  <a:pt x="404812" y="178212"/>
                </a:lnTo>
                <a:cubicBezTo>
                  <a:pt x="343281" y="178212"/>
                  <a:pt x="335565" y="178212"/>
                  <a:pt x="311372" y="179546"/>
                </a:cubicBezTo>
                <a:cubicBezTo>
                  <a:pt x="292533" y="180057"/>
                  <a:pt x="273917" y="183760"/>
                  <a:pt x="256317" y="190500"/>
                </a:cubicBezTo>
                <a:cubicBezTo>
                  <a:pt x="225602" y="202200"/>
                  <a:pt x="201343" y="226459"/>
                  <a:pt x="189642" y="257175"/>
                </a:cubicBezTo>
                <a:cubicBezTo>
                  <a:pt x="183033" y="274797"/>
                  <a:pt x="179458" y="293412"/>
                  <a:pt x="179069" y="312229"/>
                </a:cubicBezTo>
                <a:cubicBezTo>
                  <a:pt x="178022" y="336423"/>
                  <a:pt x="177736" y="344138"/>
                  <a:pt x="177736" y="405669"/>
                </a:cubicBezTo>
                <a:cubicBezTo>
                  <a:pt x="177736" y="467201"/>
                  <a:pt x="177736" y="474916"/>
                  <a:pt x="179069" y="499110"/>
                </a:cubicBezTo>
                <a:cubicBezTo>
                  <a:pt x="179828" y="517687"/>
                  <a:pt x="183692" y="536005"/>
                  <a:pt x="190500" y="553307"/>
                </a:cubicBezTo>
                <a:cubicBezTo>
                  <a:pt x="202200" y="584022"/>
                  <a:pt x="226459" y="608281"/>
                  <a:pt x="257175" y="619982"/>
                </a:cubicBezTo>
                <a:cubicBezTo>
                  <a:pt x="274797" y="626591"/>
                  <a:pt x="293412" y="630165"/>
                  <a:pt x="312229" y="630554"/>
                </a:cubicBezTo>
                <a:cubicBezTo>
                  <a:pt x="336423" y="631602"/>
                  <a:pt x="344138" y="631888"/>
                  <a:pt x="405669" y="631888"/>
                </a:cubicBezTo>
                <a:cubicBezTo>
                  <a:pt x="467201" y="631888"/>
                  <a:pt x="474916" y="631888"/>
                  <a:pt x="499110" y="630554"/>
                </a:cubicBezTo>
                <a:cubicBezTo>
                  <a:pt x="517927" y="630165"/>
                  <a:pt x="536542" y="626591"/>
                  <a:pt x="554164" y="619982"/>
                </a:cubicBezTo>
                <a:cubicBezTo>
                  <a:pt x="584880" y="608281"/>
                  <a:pt x="609138" y="584022"/>
                  <a:pt x="620839" y="553307"/>
                </a:cubicBezTo>
                <a:cubicBezTo>
                  <a:pt x="627448" y="535684"/>
                  <a:pt x="631023" y="517069"/>
                  <a:pt x="631412" y="498252"/>
                </a:cubicBezTo>
                <a:cubicBezTo>
                  <a:pt x="632460" y="474059"/>
                  <a:pt x="632745" y="466344"/>
                  <a:pt x="632745" y="404812"/>
                </a:cubicBezTo>
                <a:cubicBezTo>
                  <a:pt x="632745" y="343281"/>
                  <a:pt x="632745" y="335565"/>
                  <a:pt x="631412" y="311372"/>
                </a:cubicBezTo>
                <a:cubicBezTo>
                  <a:pt x="631023" y="292555"/>
                  <a:pt x="627448" y="273940"/>
                  <a:pt x="620839" y="256317"/>
                </a:cubicBezTo>
                <a:cubicBezTo>
                  <a:pt x="609138" y="225602"/>
                  <a:pt x="584880" y="201343"/>
                  <a:pt x="554164" y="189642"/>
                </a:cubicBezTo>
                <a:cubicBezTo>
                  <a:pt x="536542" y="183033"/>
                  <a:pt x="517927" y="179458"/>
                  <a:pt x="499110" y="179069"/>
                </a:cubicBezTo>
                <a:cubicBezTo>
                  <a:pt x="474916" y="178022"/>
                  <a:pt x="467201" y="177736"/>
                  <a:pt x="405669" y="177736"/>
                </a:cubicBezTo>
                <a:close/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37645F6A-EDD9-42D2-A01C-F8414798D57C}"/>
              </a:ext>
            </a:extLst>
          </p:cNvPr>
          <p:cNvSpPr>
            <a:spLocks noChangeAspect="1"/>
          </p:cNvSpPr>
          <p:nvPr/>
        </p:nvSpPr>
        <p:spPr>
          <a:xfrm>
            <a:off x="9446029" y="4591756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207835 w 809625"/>
              <a:gd name="connsiteY5" fmla="*/ 183451 h 809625"/>
              <a:gd name="connsiteX6" fmla="*/ 183451 w 809625"/>
              <a:gd name="connsiteY6" fmla="*/ 207835 h 809625"/>
              <a:gd name="connsiteX7" fmla="*/ 183451 w 809625"/>
              <a:gd name="connsiteY7" fmla="*/ 601789 h 809625"/>
              <a:gd name="connsiteX8" fmla="*/ 207835 w 809625"/>
              <a:gd name="connsiteY8" fmla="*/ 626173 h 809625"/>
              <a:gd name="connsiteX9" fmla="*/ 419957 w 809625"/>
              <a:gd name="connsiteY9" fmla="*/ 626173 h 809625"/>
              <a:gd name="connsiteX10" fmla="*/ 419957 w 809625"/>
              <a:gd name="connsiteY10" fmla="*/ 454723 h 809625"/>
              <a:gd name="connsiteX11" fmla="*/ 361950 w 809625"/>
              <a:gd name="connsiteY11" fmla="*/ 454723 h 809625"/>
              <a:gd name="connsiteX12" fmla="*/ 361950 w 809625"/>
              <a:gd name="connsiteY12" fmla="*/ 388048 h 809625"/>
              <a:gd name="connsiteX13" fmla="*/ 419671 w 809625"/>
              <a:gd name="connsiteY13" fmla="*/ 388048 h 809625"/>
              <a:gd name="connsiteX14" fmla="*/ 419671 w 809625"/>
              <a:gd name="connsiteY14" fmla="*/ 338613 h 809625"/>
              <a:gd name="connsiteX15" fmla="*/ 505396 w 809625"/>
              <a:gd name="connsiteY15" fmla="*/ 250317 h 809625"/>
              <a:gd name="connsiteX16" fmla="*/ 556926 w 809625"/>
              <a:gd name="connsiteY16" fmla="*/ 252984 h 809625"/>
              <a:gd name="connsiteX17" fmla="*/ 556926 w 809625"/>
              <a:gd name="connsiteY17" fmla="*/ 312705 h 809625"/>
              <a:gd name="connsiteX18" fmla="*/ 522065 w 809625"/>
              <a:gd name="connsiteY18" fmla="*/ 312705 h 809625"/>
              <a:gd name="connsiteX19" fmla="*/ 488918 w 809625"/>
              <a:gd name="connsiteY19" fmla="*/ 345281 h 809625"/>
              <a:gd name="connsiteX20" fmla="*/ 488918 w 809625"/>
              <a:gd name="connsiteY20" fmla="*/ 387953 h 809625"/>
              <a:gd name="connsiteX21" fmla="*/ 555593 w 809625"/>
              <a:gd name="connsiteY21" fmla="*/ 387953 h 809625"/>
              <a:gd name="connsiteX22" fmla="*/ 546925 w 809625"/>
              <a:gd name="connsiteY22" fmla="*/ 454628 h 809625"/>
              <a:gd name="connsiteX23" fmla="*/ 489775 w 809625"/>
              <a:gd name="connsiteY23" fmla="*/ 454628 h 809625"/>
              <a:gd name="connsiteX24" fmla="*/ 489775 w 809625"/>
              <a:gd name="connsiteY24" fmla="*/ 626078 h 809625"/>
              <a:gd name="connsiteX25" fmla="*/ 601789 w 809625"/>
              <a:gd name="connsiteY25" fmla="*/ 626078 h 809625"/>
              <a:gd name="connsiteX26" fmla="*/ 626173 w 809625"/>
              <a:gd name="connsiteY26" fmla="*/ 601694 h 809625"/>
              <a:gd name="connsiteX27" fmla="*/ 626173 w 809625"/>
              <a:gd name="connsiteY27" fmla="*/ 207835 h 809625"/>
              <a:gd name="connsiteX28" fmla="*/ 601789 w 809625"/>
              <a:gd name="connsiteY28" fmla="*/ 183451 h 809625"/>
              <a:gd name="connsiteX29" fmla="*/ 207835 w 809625"/>
              <a:gd name="connsiteY29" fmla="*/ 183451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207835" y="183451"/>
                </a:moveTo>
                <a:cubicBezTo>
                  <a:pt x="194368" y="183451"/>
                  <a:pt x="183451" y="194368"/>
                  <a:pt x="183451" y="207835"/>
                </a:cubicBezTo>
                <a:lnTo>
                  <a:pt x="183451" y="601789"/>
                </a:lnTo>
                <a:cubicBezTo>
                  <a:pt x="183451" y="615256"/>
                  <a:pt x="194368" y="626173"/>
                  <a:pt x="207835" y="626173"/>
                </a:cubicBezTo>
                <a:lnTo>
                  <a:pt x="419957" y="626173"/>
                </a:lnTo>
                <a:lnTo>
                  <a:pt x="419957" y="454723"/>
                </a:lnTo>
                <a:lnTo>
                  <a:pt x="361950" y="454723"/>
                </a:lnTo>
                <a:lnTo>
                  <a:pt x="361950" y="388048"/>
                </a:lnTo>
                <a:lnTo>
                  <a:pt x="419671" y="388048"/>
                </a:lnTo>
                <a:lnTo>
                  <a:pt x="419671" y="338613"/>
                </a:lnTo>
                <a:cubicBezTo>
                  <a:pt x="419671" y="281463"/>
                  <a:pt x="454533" y="250317"/>
                  <a:pt x="505396" y="250317"/>
                </a:cubicBezTo>
                <a:cubicBezTo>
                  <a:pt x="522609" y="250238"/>
                  <a:pt x="539813" y="251128"/>
                  <a:pt x="556926" y="252984"/>
                </a:cubicBezTo>
                <a:lnTo>
                  <a:pt x="556926" y="312705"/>
                </a:lnTo>
                <a:lnTo>
                  <a:pt x="522065" y="312705"/>
                </a:lnTo>
                <a:cubicBezTo>
                  <a:pt x="494252" y="312705"/>
                  <a:pt x="488918" y="325945"/>
                  <a:pt x="488918" y="345281"/>
                </a:cubicBezTo>
                <a:lnTo>
                  <a:pt x="488918" y="387953"/>
                </a:lnTo>
                <a:lnTo>
                  <a:pt x="555593" y="387953"/>
                </a:lnTo>
                <a:lnTo>
                  <a:pt x="546925" y="454628"/>
                </a:lnTo>
                <a:lnTo>
                  <a:pt x="489775" y="454628"/>
                </a:lnTo>
                <a:lnTo>
                  <a:pt x="489775" y="626078"/>
                </a:lnTo>
                <a:lnTo>
                  <a:pt x="601789" y="626078"/>
                </a:lnTo>
                <a:cubicBezTo>
                  <a:pt x="615256" y="626078"/>
                  <a:pt x="626173" y="615161"/>
                  <a:pt x="626173" y="601694"/>
                </a:cubicBezTo>
                <a:lnTo>
                  <a:pt x="626173" y="207835"/>
                </a:lnTo>
                <a:cubicBezTo>
                  <a:pt x="626173" y="194368"/>
                  <a:pt x="615256" y="183451"/>
                  <a:pt x="601789" y="183451"/>
                </a:cubicBezTo>
                <a:lnTo>
                  <a:pt x="207835" y="183451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49106F87-54D7-E8EE-C6CA-26ECF7B74B2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4484" y="2549185"/>
            <a:ext cx="1976093" cy="879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911884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76849F14-4971-4208-82A8-1F0513897926}"/>
              </a:ext>
            </a:extLst>
          </p:cNvPr>
          <p:cNvSpPr/>
          <p:nvPr userDrawn="1"/>
        </p:nvSpPr>
        <p:spPr>
          <a:xfrm>
            <a:off x="719400" y="-2"/>
            <a:ext cx="107532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096AA35B-6D3E-4809-9D78-9CF31081E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9400" y="-2"/>
            <a:ext cx="4680000" cy="4068000"/>
          </a:xfrm>
          <a:solidFill>
            <a:schemeClr val="tx2"/>
          </a:solidFill>
        </p:spPr>
        <p:txBody>
          <a:bodyPr lIns="342000" tIns="342000" rIns="0" bIns="504000" anchor="b" anchorCtr="0"/>
          <a:lstStyle>
            <a:lvl1pPr>
              <a:defRPr sz="4500">
                <a:solidFill>
                  <a:schemeClr val="accent1"/>
                </a:solidFill>
              </a:defRPr>
            </a:lvl1pPr>
          </a:lstStyle>
          <a:p>
            <a:r>
              <a:rPr lang="en-US"/>
              <a:t>Thank you</a:t>
            </a:r>
            <a:endParaRPr lang="en-AU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FD95F930-CD55-469B-9FD0-1150DA73B39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-2"/>
            <a:ext cx="12192000" cy="6876000"/>
          </a:xfrm>
          <a:custGeom>
            <a:avLst/>
            <a:gdLst>
              <a:gd name="connsiteX0" fmla="*/ 114726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472600 w 12192000"/>
              <a:gd name="connsiteY3" fmla="*/ 6858000 h 6858000"/>
              <a:gd name="connsiteX4" fmla="*/ 0 w 12192000"/>
              <a:gd name="connsiteY4" fmla="*/ 0 h 6858000"/>
              <a:gd name="connsiteX5" fmla="*/ 719400 w 12192000"/>
              <a:gd name="connsiteY5" fmla="*/ 0 h 6858000"/>
              <a:gd name="connsiteX6" fmla="*/ 7194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14726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472600" y="6858000"/>
                </a:lnTo>
                <a:close/>
                <a:moveTo>
                  <a:pt x="0" y="0"/>
                </a:moveTo>
                <a:lnTo>
                  <a:pt x="719400" y="0"/>
                </a:lnTo>
                <a:lnTo>
                  <a:pt x="7194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08000" tIns="108000" rIns="115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4417D20-4CB7-471C-A5C4-50706D404792}"/>
              </a:ext>
            </a:extLst>
          </p:cNvPr>
          <p:cNvSpPr txBox="1"/>
          <p:nvPr userDrawn="1"/>
        </p:nvSpPr>
        <p:spPr>
          <a:xfrm>
            <a:off x="7877158" y="3841087"/>
            <a:ext cx="3321238" cy="25564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 cap="none" baseline="0">
                <a:solidFill>
                  <a:schemeClr val="bg1"/>
                </a:solidFill>
              </a:defRPr>
            </a:lvl1pPr>
            <a:lvl2pPr marL="0" lvl="1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b="1" cap="all" baseline="0">
                <a:solidFill>
                  <a:schemeClr val="bg1"/>
                </a:solidFill>
              </a:defRPr>
            </a:lvl2pPr>
            <a:lvl3pPr marL="0" lvl="2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3pPr>
            <a:lvl4pPr marL="0" lvl="3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4pPr>
            <a:lvl5pPr marL="0" lvl="4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5pPr>
            <a:lvl6pPr marL="0" lvl="5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6pPr>
            <a:lvl7pPr marL="0" lvl="6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7pPr>
            <a:lvl8pPr marL="0" lvl="7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8pPr>
            <a:lvl9pPr marL="0" lvl="8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9pPr>
          </a:lstStyle>
          <a:p>
            <a:pPr lvl="0">
              <a:spcBef>
                <a:spcPts val="400"/>
              </a:spcBef>
            </a:pPr>
            <a:r>
              <a:rPr lang="en-US" altLang="en-US" sz="1600" b="0">
                <a:solidFill>
                  <a:schemeClr val="bg2"/>
                </a:solidFill>
                <a:latin typeface="+mj-lt"/>
              </a:rPr>
              <a:t>Forest Stewardship Council®</a:t>
            </a:r>
          </a:p>
          <a:p>
            <a:pPr lvl="0">
              <a:spcBef>
                <a:spcPts val="400"/>
              </a:spcBef>
              <a:spcAft>
                <a:spcPts val="1200"/>
              </a:spcAft>
            </a:pPr>
            <a:r>
              <a:rPr lang="en-US" altLang="en-US" sz="1500" b="1">
                <a:solidFill>
                  <a:schemeClr val="bg2"/>
                </a:solidFill>
              </a:rPr>
              <a:t>FSC® Asociación Civil </a:t>
            </a:r>
          </a:p>
          <a:p>
            <a:pPr lvl="0"/>
            <a:endParaRPr lang="en-US" altLang="en-US" sz="1600" b="0"/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Calle Margarita </a:t>
            </a:r>
            <a:r>
              <a:rPr lang="en-US" altLang="en-US" sz="1200" b="0" err="1">
                <a:solidFill>
                  <a:schemeClr val="bg2"/>
                </a:solidFill>
              </a:rPr>
              <a:t>Maza</a:t>
            </a:r>
            <a:r>
              <a:rPr lang="en-US" altLang="en-US" sz="1200" b="0">
                <a:solidFill>
                  <a:schemeClr val="bg2"/>
                </a:solidFill>
              </a:rPr>
              <a:t> de Juárez 422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Colonia Centro,  Oaxaca, México, CP. 68000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Phone: +52 951 502 6533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Fax: +52 951 502 6594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FSC Asociación Civil © All rights reserved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 err="1">
                <a:solidFill>
                  <a:schemeClr val="bg2"/>
                </a:solidFill>
              </a:rPr>
              <a:t>FSC</a:t>
            </a:r>
            <a:r>
              <a:rPr lang="en-US" altLang="en-US" sz="1200" b="0">
                <a:solidFill>
                  <a:schemeClr val="bg2"/>
                </a:solidFill>
              </a:rPr>
              <a:t>® </a:t>
            </a:r>
            <a:r>
              <a:rPr lang="en-US" altLang="en-US" sz="1200" b="0" err="1">
                <a:solidFill>
                  <a:schemeClr val="bg2"/>
                </a:solidFill>
              </a:rPr>
              <a:t>F000100</a:t>
            </a:r>
            <a:r>
              <a:rPr lang="en-US" altLang="en-US" sz="1200" b="0">
                <a:solidFill>
                  <a:schemeClr val="bg2"/>
                </a:solidFill>
              </a:rPr>
              <a:t> </a:t>
            </a:r>
          </a:p>
          <a:p>
            <a:pPr lvl="0"/>
            <a:r>
              <a:rPr lang="en-US" altLang="en-US" sz="1400" b="0" err="1">
                <a:solidFill>
                  <a:schemeClr val="bg2"/>
                </a:solidFill>
                <a:latin typeface="+mj-lt"/>
              </a:rPr>
              <a:t>www.fsc.org</a:t>
            </a:r>
            <a:endParaRPr lang="en-US" altLang="en-US" sz="1400" b="0">
              <a:solidFill>
                <a:schemeClr val="bg2"/>
              </a:solidFill>
              <a:latin typeface="+mj-lt"/>
            </a:endParaRPr>
          </a:p>
          <a:p>
            <a:pPr lvl="0"/>
            <a:endParaRPr lang="en-US" altLang="en-US" sz="1600" b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F8BC909C-567D-4F9C-A0DF-D05DE8F82075}"/>
              </a:ext>
            </a:extLst>
          </p:cNvPr>
          <p:cNvSpPr>
            <a:spLocks noChangeAspect="1"/>
          </p:cNvSpPr>
          <p:nvPr/>
        </p:nvSpPr>
        <p:spPr>
          <a:xfrm>
            <a:off x="7916652" y="4501548"/>
            <a:ext cx="242382" cy="242382"/>
          </a:xfrm>
          <a:custGeom>
            <a:avLst/>
            <a:gdLst>
              <a:gd name="connsiteX0" fmla="*/ 357950 w 809625"/>
              <a:gd name="connsiteY0" fmla="*/ 333375 h 809625"/>
              <a:gd name="connsiteX1" fmla="*/ 480537 w 809625"/>
              <a:gd name="connsiteY1" fmla="*/ 397002 h 809625"/>
              <a:gd name="connsiteX2" fmla="*/ 357950 w 809625"/>
              <a:gd name="connsiteY2" fmla="*/ 460439 h 809625"/>
              <a:gd name="connsiteX3" fmla="*/ 242887 w 809625"/>
              <a:gd name="connsiteY3" fmla="*/ 249555 h 809625"/>
              <a:gd name="connsiteX4" fmla="*/ 178117 w 809625"/>
              <a:gd name="connsiteY4" fmla="*/ 314325 h 809625"/>
              <a:gd name="connsiteX5" fmla="*/ 178117 w 809625"/>
              <a:gd name="connsiteY5" fmla="*/ 495300 h 809625"/>
              <a:gd name="connsiteX6" fmla="*/ 242887 w 809625"/>
              <a:gd name="connsiteY6" fmla="*/ 560070 h 809625"/>
              <a:gd name="connsiteX7" fmla="*/ 566737 w 809625"/>
              <a:gd name="connsiteY7" fmla="*/ 560070 h 809625"/>
              <a:gd name="connsiteX8" fmla="*/ 631507 w 809625"/>
              <a:gd name="connsiteY8" fmla="*/ 495300 h 809625"/>
              <a:gd name="connsiteX9" fmla="*/ 631507 w 809625"/>
              <a:gd name="connsiteY9" fmla="*/ 314325 h 809625"/>
              <a:gd name="connsiteX10" fmla="*/ 566737 w 809625"/>
              <a:gd name="connsiteY10" fmla="*/ 249555 h 809625"/>
              <a:gd name="connsiteX11" fmla="*/ 404813 w 809625"/>
              <a:gd name="connsiteY11" fmla="*/ 0 h 809625"/>
              <a:gd name="connsiteX12" fmla="*/ 809625 w 809625"/>
              <a:gd name="connsiteY12" fmla="*/ 404813 h 809625"/>
              <a:gd name="connsiteX13" fmla="*/ 404813 w 809625"/>
              <a:gd name="connsiteY13" fmla="*/ 809625 h 809625"/>
              <a:gd name="connsiteX14" fmla="*/ 0 w 809625"/>
              <a:gd name="connsiteY14" fmla="*/ 404813 h 809625"/>
              <a:gd name="connsiteX15" fmla="*/ 404813 w 809625"/>
              <a:gd name="connsiteY15" fmla="*/ 0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809625" h="809625">
                <a:moveTo>
                  <a:pt x="357950" y="333375"/>
                </a:moveTo>
                <a:lnTo>
                  <a:pt x="480537" y="397002"/>
                </a:lnTo>
                <a:lnTo>
                  <a:pt x="357950" y="460439"/>
                </a:lnTo>
                <a:close/>
                <a:moveTo>
                  <a:pt x="242887" y="249555"/>
                </a:moveTo>
                <a:cubicBezTo>
                  <a:pt x="207159" y="249660"/>
                  <a:pt x="178222" y="278597"/>
                  <a:pt x="178117" y="314325"/>
                </a:cubicBezTo>
                <a:lnTo>
                  <a:pt x="178117" y="495300"/>
                </a:lnTo>
                <a:cubicBezTo>
                  <a:pt x="178222" y="531028"/>
                  <a:pt x="207159" y="559965"/>
                  <a:pt x="242887" y="560070"/>
                </a:cubicBezTo>
                <a:lnTo>
                  <a:pt x="566737" y="560070"/>
                </a:lnTo>
                <a:cubicBezTo>
                  <a:pt x="602465" y="559965"/>
                  <a:pt x="631402" y="531028"/>
                  <a:pt x="631507" y="495300"/>
                </a:cubicBezTo>
                <a:lnTo>
                  <a:pt x="631507" y="314325"/>
                </a:lnTo>
                <a:cubicBezTo>
                  <a:pt x="631402" y="278597"/>
                  <a:pt x="602465" y="249660"/>
                  <a:pt x="566737" y="249555"/>
                </a:cubicBezTo>
                <a:close/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2487C176-18A9-4BB0-BD80-DEC34233A800}"/>
              </a:ext>
            </a:extLst>
          </p:cNvPr>
          <p:cNvSpPr>
            <a:spLocks noChangeAspect="1"/>
          </p:cNvSpPr>
          <p:nvPr/>
        </p:nvSpPr>
        <p:spPr>
          <a:xfrm>
            <a:off x="8298996" y="4501548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495146 w 809625"/>
              <a:gd name="connsiteY5" fmla="*/ 220645 h 809625"/>
              <a:gd name="connsiteX6" fmla="*/ 428527 w 809625"/>
              <a:gd name="connsiteY6" fmla="*/ 245841 h 809625"/>
              <a:gd name="connsiteX7" fmla="*/ 399192 w 809625"/>
              <a:gd name="connsiteY7" fmla="*/ 313563 h 809625"/>
              <a:gd name="connsiteX8" fmla="*/ 401573 w 809625"/>
              <a:gd name="connsiteY8" fmla="*/ 334803 h 809625"/>
              <a:gd name="connsiteX9" fmla="*/ 209549 w 809625"/>
              <a:gd name="connsiteY9" fmla="*/ 238125 h 809625"/>
              <a:gd name="connsiteX10" fmla="*/ 238124 w 809625"/>
              <a:gd name="connsiteY10" fmla="*/ 361950 h 809625"/>
              <a:gd name="connsiteX11" fmla="*/ 195928 w 809625"/>
              <a:gd name="connsiteY11" fmla="*/ 350329 h 809625"/>
              <a:gd name="connsiteX12" fmla="*/ 195929 w 809625"/>
              <a:gd name="connsiteY12" fmla="*/ 351567 h 809625"/>
              <a:gd name="connsiteX13" fmla="*/ 270605 w 809625"/>
              <a:gd name="connsiteY13" fmla="*/ 442722 h 809625"/>
              <a:gd name="connsiteX14" fmla="*/ 228599 w 809625"/>
              <a:gd name="connsiteY14" fmla="*/ 444341 h 809625"/>
              <a:gd name="connsiteX15" fmla="*/ 315467 w 809625"/>
              <a:gd name="connsiteY15" fmla="*/ 508920 h 809625"/>
              <a:gd name="connsiteX16" fmla="*/ 200024 w 809625"/>
              <a:gd name="connsiteY16" fmla="*/ 548544 h 809625"/>
              <a:gd name="connsiteX17" fmla="*/ 177831 w 809625"/>
              <a:gd name="connsiteY17" fmla="*/ 547211 h 809625"/>
              <a:gd name="connsiteX18" fmla="*/ 320706 w 809625"/>
              <a:gd name="connsiteY18" fmla="*/ 589026 h 809625"/>
              <a:gd name="connsiteX19" fmla="*/ 585406 w 809625"/>
              <a:gd name="connsiteY19" fmla="*/ 324421 h 809625"/>
              <a:gd name="connsiteX20" fmla="*/ 585406 w 809625"/>
              <a:gd name="connsiteY20" fmla="*/ 312324 h 809625"/>
              <a:gd name="connsiteX21" fmla="*/ 631507 w 809625"/>
              <a:gd name="connsiteY21" fmla="*/ 264223 h 809625"/>
              <a:gd name="connsiteX22" fmla="*/ 578072 w 809625"/>
              <a:gd name="connsiteY22" fmla="*/ 278892 h 809625"/>
              <a:gd name="connsiteX23" fmla="*/ 619124 w 809625"/>
              <a:gd name="connsiteY23" fmla="*/ 227361 h 809625"/>
              <a:gd name="connsiteX24" fmla="*/ 560069 w 809625"/>
              <a:gd name="connsiteY24" fmla="*/ 249936 h 809625"/>
              <a:gd name="connsiteX25" fmla="*/ 495146 w 809625"/>
              <a:gd name="connsiteY25" fmla="*/ 220645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495146" y="220645"/>
                </a:moveTo>
                <a:cubicBezTo>
                  <a:pt x="471342" y="219904"/>
                  <a:pt x="447255" y="228245"/>
                  <a:pt x="428527" y="245841"/>
                </a:cubicBezTo>
                <a:cubicBezTo>
                  <a:pt x="409833" y="263407"/>
                  <a:pt x="399219" y="287911"/>
                  <a:pt x="399192" y="313563"/>
                </a:cubicBezTo>
                <a:cubicBezTo>
                  <a:pt x="399204" y="320709"/>
                  <a:pt x="400003" y="327832"/>
                  <a:pt x="401573" y="334803"/>
                </a:cubicBezTo>
                <a:cubicBezTo>
                  <a:pt x="326768" y="331204"/>
                  <a:pt x="256991" y="296073"/>
                  <a:pt x="209549" y="238125"/>
                </a:cubicBezTo>
                <a:cubicBezTo>
                  <a:pt x="185023" y="280491"/>
                  <a:pt x="197513" y="334615"/>
                  <a:pt x="238124" y="361950"/>
                </a:cubicBezTo>
                <a:cubicBezTo>
                  <a:pt x="223336" y="361482"/>
                  <a:pt x="208871" y="357499"/>
                  <a:pt x="195928" y="350329"/>
                </a:cubicBezTo>
                <a:lnTo>
                  <a:pt x="195929" y="351567"/>
                </a:lnTo>
                <a:cubicBezTo>
                  <a:pt x="195962" y="395849"/>
                  <a:pt x="227195" y="433974"/>
                  <a:pt x="270605" y="442722"/>
                </a:cubicBezTo>
                <a:cubicBezTo>
                  <a:pt x="256901" y="446399"/>
                  <a:pt x="242546" y="446952"/>
                  <a:pt x="228599" y="444341"/>
                </a:cubicBezTo>
                <a:cubicBezTo>
                  <a:pt x="240745" y="482243"/>
                  <a:pt x="275672" y="508209"/>
                  <a:pt x="315467" y="508920"/>
                </a:cubicBezTo>
                <a:cubicBezTo>
                  <a:pt x="282513" y="534690"/>
                  <a:pt x="241858" y="548644"/>
                  <a:pt x="200024" y="548544"/>
                </a:cubicBezTo>
                <a:cubicBezTo>
                  <a:pt x="192607" y="548536"/>
                  <a:pt x="185196" y="548091"/>
                  <a:pt x="177831" y="547211"/>
                </a:cubicBezTo>
                <a:cubicBezTo>
                  <a:pt x="220421" y="574649"/>
                  <a:pt x="270043" y="589172"/>
                  <a:pt x="320706" y="589026"/>
                </a:cubicBezTo>
                <a:cubicBezTo>
                  <a:pt x="492156" y="589026"/>
                  <a:pt x="585406" y="447294"/>
                  <a:pt x="585406" y="324421"/>
                </a:cubicBezTo>
                <a:cubicBezTo>
                  <a:pt x="585406" y="320325"/>
                  <a:pt x="585406" y="316325"/>
                  <a:pt x="585406" y="312324"/>
                </a:cubicBezTo>
                <a:cubicBezTo>
                  <a:pt x="603503" y="299151"/>
                  <a:pt x="619113" y="282863"/>
                  <a:pt x="631507" y="264223"/>
                </a:cubicBezTo>
                <a:cubicBezTo>
                  <a:pt x="614513" y="271713"/>
                  <a:pt x="596508" y="276656"/>
                  <a:pt x="578072" y="278892"/>
                </a:cubicBezTo>
                <a:cubicBezTo>
                  <a:pt x="597588" y="267302"/>
                  <a:pt x="612190" y="248974"/>
                  <a:pt x="619124" y="227361"/>
                </a:cubicBezTo>
                <a:cubicBezTo>
                  <a:pt x="600877" y="238213"/>
                  <a:pt x="580902" y="245848"/>
                  <a:pt x="560069" y="249936"/>
                </a:cubicBezTo>
                <a:cubicBezTo>
                  <a:pt x="542473" y="231209"/>
                  <a:pt x="518951" y="221387"/>
                  <a:pt x="495146" y="22064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41393088-2A2D-4F19-A536-4C5B46718A69}"/>
              </a:ext>
            </a:extLst>
          </p:cNvPr>
          <p:cNvSpPr>
            <a:spLocks noChangeAspect="1"/>
          </p:cNvSpPr>
          <p:nvPr/>
        </p:nvSpPr>
        <p:spPr>
          <a:xfrm>
            <a:off x="8681340" y="4501548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230981 w 809625"/>
              <a:gd name="connsiteY5" fmla="*/ 177069 h 809625"/>
              <a:gd name="connsiteX6" fmla="*/ 176498 w 809625"/>
              <a:gd name="connsiteY6" fmla="*/ 231552 h 809625"/>
              <a:gd name="connsiteX7" fmla="*/ 230981 w 809625"/>
              <a:gd name="connsiteY7" fmla="*/ 286035 h 809625"/>
              <a:gd name="connsiteX8" fmla="*/ 285464 w 809625"/>
              <a:gd name="connsiteY8" fmla="*/ 231552 h 809625"/>
              <a:gd name="connsiteX9" fmla="*/ 230981 w 809625"/>
              <a:gd name="connsiteY9" fmla="*/ 177069 h 809625"/>
              <a:gd name="connsiteX10" fmla="*/ 517493 w 809625"/>
              <a:gd name="connsiteY10" fmla="*/ 319849 h 809625"/>
              <a:gd name="connsiteX11" fmla="*/ 428625 w 809625"/>
              <a:gd name="connsiteY11" fmla="*/ 368617 h 809625"/>
              <a:gd name="connsiteX12" fmla="*/ 426910 w 809625"/>
              <a:gd name="connsiteY12" fmla="*/ 368617 h 809625"/>
              <a:gd name="connsiteX13" fmla="*/ 426910 w 809625"/>
              <a:gd name="connsiteY13" fmla="*/ 327278 h 809625"/>
              <a:gd name="connsiteX14" fmla="*/ 336899 w 809625"/>
              <a:gd name="connsiteY14" fmla="*/ 327278 h 809625"/>
              <a:gd name="connsiteX15" fmla="*/ 336899 w 809625"/>
              <a:gd name="connsiteY15" fmla="*/ 629602 h 809625"/>
              <a:gd name="connsiteX16" fmla="*/ 430720 w 809625"/>
              <a:gd name="connsiteY16" fmla="*/ 629602 h 809625"/>
              <a:gd name="connsiteX17" fmla="*/ 430720 w 809625"/>
              <a:gd name="connsiteY17" fmla="*/ 480059 h 809625"/>
              <a:gd name="connsiteX18" fmla="*/ 487108 w 809625"/>
              <a:gd name="connsiteY18" fmla="*/ 402430 h 809625"/>
              <a:gd name="connsiteX19" fmla="*/ 535876 w 809625"/>
              <a:gd name="connsiteY19" fmla="*/ 482631 h 809625"/>
              <a:gd name="connsiteX20" fmla="*/ 535876 w 809625"/>
              <a:gd name="connsiteY20" fmla="*/ 629602 h 809625"/>
              <a:gd name="connsiteX21" fmla="*/ 630174 w 809625"/>
              <a:gd name="connsiteY21" fmla="*/ 629602 h 809625"/>
              <a:gd name="connsiteX22" fmla="*/ 630174 w 809625"/>
              <a:gd name="connsiteY22" fmla="*/ 463771 h 809625"/>
              <a:gd name="connsiteX23" fmla="*/ 517493 w 809625"/>
              <a:gd name="connsiteY23" fmla="*/ 319849 h 809625"/>
              <a:gd name="connsiteX24" fmla="*/ 183927 w 809625"/>
              <a:gd name="connsiteY24" fmla="*/ 327278 h 809625"/>
              <a:gd name="connsiteX25" fmla="*/ 183927 w 809625"/>
              <a:gd name="connsiteY25" fmla="*/ 629602 h 809625"/>
              <a:gd name="connsiteX26" fmla="*/ 277939 w 809625"/>
              <a:gd name="connsiteY26" fmla="*/ 629602 h 809625"/>
              <a:gd name="connsiteX27" fmla="*/ 277939 w 809625"/>
              <a:gd name="connsiteY27" fmla="*/ 327278 h 809625"/>
              <a:gd name="connsiteX28" fmla="*/ 183927 w 809625"/>
              <a:gd name="connsiteY28" fmla="*/ 327278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230981" y="177069"/>
                </a:moveTo>
                <a:cubicBezTo>
                  <a:pt x="200891" y="177069"/>
                  <a:pt x="176498" y="201462"/>
                  <a:pt x="176498" y="231552"/>
                </a:cubicBezTo>
                <a:cubicBezTo>
                  <a:pt x="176498" y="261642"/>
                  <a:pt x="200891" y="286035"/>
                  <a:pt x="230981" y="286035"/>
                </a:cubicBezTo>
                <a:cubicBezTo>
                  <a:pt x="261071" y="286035"/>
                  <a:pt x="285464" y="261642"/>
                  <a:pt x="285464" y="231552"/>
                </a:cubicBezTo>
                <a:cubicBezTo>
                  <a:pt x="285464" y="201462"/>
                  <a:pt x="261071" y="177069"/>
                  <a:pt x="230981" y="177069"/>
                </a:cubicBezTo>
                <a:close/>
                <a:moveTo>
                  <a:pt x="517493" y="319849"/>
                </a:moveTo>
                <a:cubicBezTo>
                  <a:pt x="481146" y="318484"/>
                  <a:pt x="446996" y="337225"/>
                  <a:pt x="428625" y="368617"/>
                </a:cubicBezTo>
                <a:lnTo>
                  <a:pt x="426910" y="368617"/>
                </a:lnTo>
                <a:lnTo>
                  <a:pt x="426910" y="327278"/>
                </a:lnTo>
                <a:lnTo>
                  <a:pt x="336899" y="327278"/>
                </a:lnTo>
                <a:lnTo>
                  <a:pt x="336899" y="629602"/>
                </a:lnTo>
                <a:lnTo>
                  <a:pt x="430720" y="629602"/>
                </a:lnTo>
                <a:lnTo>
                  <a:pt x="430720" y="480059"/>
                </a:lnTo>
                <a:cubicBezTo>
                  <a:pt x="430720" y="440530"/>
                  <a:pt x="438912" y="402430"/>
                  <a:pt x="487108" y="402430"/>
                </a:cubicBezTo>
                <a:cubicBezTo>
                  <a:pt x="535305" y="402430"/>
                  <a:pt x="535876" y="447579"/>
                  <a:pt x="535876" y="482631"/>
                </a:cubicBezTo>
                <a:lnTo>
                  <a:pt x="535876" y="629602"/>
                </a:lnTo>
                <a:lnTo>
                  <a:pt x="630174" y="629602"/>
                </a:lnTo>
                <a:lnTo>
                  <a:pt x="630174" y="463771"/>
                </a:lnTo>
                <a:cubicBezTo>
                  <a:pt x="630174" y="382428"/>
                  <a:pt x="612743" y="319849"/>
                  <a:pt x="517493" y="319849"/>
                </a:cubicBezTo>
                <a:close/>
                <a:moveTo>
                  <a:pt x="183927" y="327278"/>
                </a:moveTo>
                <a:lnTo>
                  <a:pt x="183927" y="629602"/>
                </a:lnTo>
                <a:lnTo>
                  <a:pt x="277939" y="629602"/>
                </a:lnTo>
                <a:lnTo>
                  <a:pt x="277939" y="327278"/>
                </a:lnTo>
                <a:lnTo>
                  <a:pt x="183927" y="32727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F1F78FC3-536A-4C34-B2A3-95085DF38A8D}"/>
              </a:ext>
            </a:extLst>
          </p:cNvPr>
          <p:cNvSpPr>
            <a:spLocks noChangeAspect="1"/>
          </p:cNvSpPr>
          <p:nvPr/>
        </p:nvSpPr>
        <p:spPr>
          <a:xfrm>
            <a:off x="9063685" y="4501548"/>
            <a:ext cx="242382" cy="242382"/>
          </a:xfrm>
          <a:custGeom>
            <a:avLst/>
            <a:gdLst>
              <a:gd name="connsiteX0" fmla="*/ 404812 w 809625"/>
              <a:gd name="connsiteY0" fmla="*/ 288417 h 809625"/>
              <a:gd name="connsiteX1" fmla="*/ 288417 w 809625"/>
              <a:gd name="connsiteY1" fmla="*/ 404812 h 809625"/>
              <a:gd name="connsiteX2" fmla="*/ 404812 w 809625"/>
              <a:gd name="connsiteY2" fmla="*/ 521208 h 809625"/>
              <a:gd name="connsiteX3" fmla="*/ 521208 w 809625"/>
              <a:gd name="connsiteY3" fmla="*/ 404812 h 809625"/>
              <a:gd name="connsiteX4" fmla="*/ 404812 w 809625"/>
              <a:gd name="connsiteY4" fmla="*/ 288417 h 809625"/>
              <a:gd name="connsiteX5" fmla="*/ 525780 w 809625"/>
              <a:gd name="connsiteY5" fmla="*/ 256603 h 809625"/>
              <a:gd name="connsiteX6" fmla="*/ 498538 w 809625"/>
              <a:gd name="connsiteY6" fmla="*/ 283844 h 809625"/>
              <a:gd name="connsiteX7" fmla="*/ 525780 w 809625"/>
              <a:gd name="connsiteY7" fmla="*/ 311086 h 809625"/>
              <a:gd name="connsiteX8" fmla="*/ 553021 w 809625"/>
              <a:gd name="connsiteY8" fmla="*/ 283844 h 809625"/>
              <a:gd name="connsiteX9" fmla="*/ 525780 w 809625"/>
              <a:gd name="connsiteY9" fmla="*/ 256603 h 809625"/>
              <a:gd name="connsiteX10" fmla="*/ 404812 w 809625"/>
              <a:gd name="connsiteY10" fmla="*/ 219075 h 809625"/>
              <a:gd name="connsiteX11" fmla="*/ 496443 w 809625"/>
              <a:gd name="connsiteY11" fmla="*/ 220408 h 809625"/>
              <a:gd name="connsiteX12" fmla="*/ 538543 w 809625"/>
              <a:gd name="connsiteY12" fmla="*/ 228218 h 809625"/>
              <a:gd name="connsiteX13" fmla="*/ 581501 w 809625"/>
              <a:gd name="connsiteY13" fmla="*/ 271176 h 809625"/>
              <a:gd name="connsiteX14" fmla="*/ 589311 w 809625"/>
              <a:gd name="connsiteY14" fmla="*/ 313277 h 809625"/>
              <a:gd name="connsiteX15" fmla="*/ 590645 w 809625"/>
              <a:gd name="connsiteY15" fmla="*/ 404907 h 809625"/>
              <a:gd name="connsiteX16" fmla="*/ 589311 w 809625"/>
              <a:gd name="connsiteY16" fmla="*/ 496538 h 809625"/>
              <a:gd name="connsiteX17" fmla="*/ 581501 w 809625"/>
              <a:gd name="connsiteY17" fmla="*/ 538638 h 809625"/>
              <a:gd name="connsiteX18" fmla="*/ 538543 w 809625"/>
              <a:gd name="connsiteY18" fmla="*/ 581596 h 809625"/>
              <a:gd name="connsiteX19" fmla="*/ 496443 w 809625"/>
              <a:gd name="connsiteY19" fmla="*/ 589406 h 809625"/>
              <a:gd name="connsiteX20" fmla="*/ 404812 w 809625"/>
              <a:gd name="connsiteY20" fmla="*/ 590740 h 809625"/>
              <a:gd name="connsiteX21" fmla="*/ 313182 w 809625"/>
              <a:gd name="connsiteY21" fmla="*/ 589407 h 809625"/>
              <a:gd name="connsiteX22" fmla="*/ 271081 w 809625"/>
              <a:gd name="connsiteY22" fmla="*/ 581596 h 809625"/>
              <a:gd name="connsiteX23" fmla="*/ 228600 w 809625"/>
              <a:gd name="connsiteY23" fmla="*/ 538543 h 809625"/>
              <a:gd name="connsiteX24" fmla="*/ 220789 w 809625"/>
              <a:gd name="connsiteY24" fmla="*/ 496443 h 809625"/>
              <a:gd name="connsiteX25" fmla="*/ 219075 w 809625"/>
              <a:gd name="connsiteY25" fmla="*/ 404812 h 809625"/>
              <a:gd name="connsiteX26" fmla="*/ 220408 w 809625"/>
              <a:gd name="connsiteY26" fmla="*/ 313182 h 809625"/>
              <a:gd name="connsiteX27" fmla="*/ 228600 w 809625"/>
              <a:gd name="connsiteY27" fmla="*/ 271081 h 809625"/>
              <a:gd name="connsiteX28" fmla="*/ 271081 w 809625"/>
              <a:gd name="connsiteY28" fmla="*/ 228600 h 809625"/>
              <a:gd name="connsiteX29" fmla="*/ 313181 w 809625"/>
              <a:gd name="connsiteY29" fmla="*/ 220789 h 809625"/>
              <a:gd name="connsiteX30" fmla="*/ 404812 w 809625"/>
              <a:gd name="connsiteY30" fmla="*/ 219075 h 809625"/>
              <a:gd name="connsiteX31" fmla="*/ 405669 w 809625"/>
              <a:gd name="connsiteY31" fmla="*/ 177736 h 809625"/>
              <a:gd name="connsiteX32" fmla="*/ 404812 w 809625"/>
              <a:gd name="connsiteY32" fmla="*/ 178212 h 809625"/>
              <a:gd name="connsiteX33" fmla="*/ 311372 w 809625"/>
              <a:gd name="connsiteY33" fmla="*/ 179546 h 809625"/>
              <a:gd name="connsiteX34" fmla="*/ 256317 w 809625"/>
              <a:gd name="connsiteY34" fmla="*/ 190500 h 809625"/>
              <a:gd name="connsiteX35" fmla="*/ 189642 w 809625"/>
              <a:gd name="connsiteY35" fmla="*/ 257175 h 809625"/>
              <a:gd name="connsiteX36" fmla="*/ 179069 w 809625"/>
              <a:gd name="connsiteY36" fmla="*/ 312229 h 809625"/>
              <a:gd name="connsiteX37" fmla="*/ 177736 w 809625"/>
              <a:gd name="connsiteY37" fmla="*/ 405669 h 809625"/>
              <a:gd name="connsiteX38" fmla="*/ 179069 w 809625"/>
              <a:gd name="connsiteY38" fmla="*/ 499110 h 809625"/>
              <a:gd name="connsiteX39" fmla="*/ 190500 w 809625"/>
              <a:gd name="connsiteY39" fmla="*/ 553307 h 809625"/>
              <a:gd name="connsiteX40" fmla="*/ 257175 w 809625"/>
              <a:gd name="connsiteY40" fmla="*/ 619982 h 809625"/>
              <a:gd name="connsiteX41" fmla="*/ 312229 w 809625"/>
              <a:gd name="connsiteY41" fmla="*/ 630554 h 809625"/>
              <a:gd name="connsiteX42" fmla="*/ 405669 w 809625"/>
              <a:gd name="connsiteY42" fmla="*/ 631888 h 809625"/>
              <a:gd name="connsiteX43" fmla="*/ 499110 w 809625"/>
              <a:gd name="connsiteY43" fmla="*/ 630554 h 809625"/>
              <a:gd name="connsiteX44" fmla="*/ 554164 w 809625"/>
              <a:gd name="connsiteY44" fmla="*/ 619982 h 809625"/>
              <a:gd name="connsiteX45" fmla="*/ 620839 w 809625"/>
              <a:gd name="connsiteY45" fmla="*/ 553307 h 809625"/>
              <a:gd name="connsiteX46" fmla="*/ 631412 w 809625"/>
              <a:gd name="connsiteY46" fmla="*/ 498252 h 809625"/>
              <a:gd name="connsiteX47" fmla="*/ 632745 w 809625"/>
              <a:gd name="connsiteY47" fmla="*/ 404812 h 809625"/>
              <a:gd name="connsiteX48" fmla="*/ 631412 w 809625"/>
              <a:gd name="connsiteY48" fmla="*/ 311372 h 809625"/>
              <a:gd name="connsiteX49" fmla="*/ 620839 w 809625"/>
              <a:gd name="connsiteY49" fmla="*/ 256317 h 809625"/>
              <a:gd name="connsiteX50" fmla="*/ 554164 w 809625"/>
              <a:gd name="connsiteY50" fmla="*/ 189642 h 809625"/>
              <a:gd name="connsiteX51" fmla="*/ 499110 w 809625"/>
              <a:gd name="connsiteY51" fmla="*/ 179069 h 809625"/>
              <a:gd name="connsiteX52" fmla="*/ 405669 w 809625"/>
              <a:gd name="connsiteY52" fmla="*/ 177736 h 809625"/>
              <a:gd name="connsiteX53" fmla="*/ 404813 w 809625"/>
              <a:gd name="connsiteY53" fmla="*/ 0 h 809625"/>
              <a:gd name="connsiteX54" fmla="*/ 809625 w 809625"/>
              <a:gd name="connsiteY54" fmla="*/ 404813 h 809625"/>
              <a:gd name="connsiteX55" fmla="*/ 404813 w 809625"/>
              <a:gd name="connsiteY55" fmla="*/ 809625 h 809625"/>
              <a:gd name="connsiteX56" fmla="*/ 0 w 809625"/>
              <a:gd name="connsiteY56" fmla="*/ 404813 h 809625"/>
              <a:gd name="connsiteX57" fmla="*/ 404813 w 809625"/>
              <a:gd name="connsiteY57" fmla="*/ 0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809625" h="809625">
                <a:moveTo>
                  <a:pt x="404812" y="288417"/>
                </a:moveTo>
                <a:cubicBezTo>
                  <a:pt x="340529" y="288417"/>
                  <a:pt x="288417" y="340529"/>
                  <a:pt x="288417" y="404812"/>
                </a:cubicBezTo>
                <a:cubicBezTo>
                  <a:pt x="288417" y="469096"/>
                  <a:pt x="340529" y="521208"/>
                  <a:pt x="404812" y="521208"/>
                </a:cubicBezTo>
                <a:cubicBezTo>
                  <a:pt x="469096" y="521208"/>
                  <a:pt x="521208" y="469096"/>
                  <a:pt x="521208" y="404812"/>
                </a:cubicBezTo>
                <a:cubicBezTo>
                  <a:pt x="521208" y="340529"/>
                  <a:pt x="469096" y="288417"/>
                  <a:pt x="404812" y="288417"/>
                </a:cubicBezTo>
                <a:close/>
                <a:moveTo>
                  <a:pt x="525780" y="256603"/>
                </a:moveTo>
                <a:cubicBezTo>
                  <a:pt x="510734" y="256603"/>
                  <a:pt x="498538" y="268799"/>
                  <a:pt x="498538" y="283844"/>
                </a:cubicBezTo>
                <a:cubicBezTo>
                  <a:pt x="498538" y="298890"/>
                  <a:pt x="510734" y="311086"/>
                  <a:pt x="525780" y="311086"/>
                </a:cubicBezTo>
                <a:cubicBezTo>
                  <a:pt x="540825" y="311086"/>
                  <a:pt x="553021" y="298890"/>
                  <a:pt x="553021" y="283844"/>
                </a:cubicBezTo>
                <a:cubicBezTo>
                  <a:pt x="553021" y="268799"/>
                  <a:pt x="540825" y="256603"/>
                  <a:pt x="525780" y="256603"/>
                </a:cubicBezTo>
                <a:close/>
                <a:moveTo>
                  <a:pt x="404812" y="219075"/>
                </a:moveTo>
                <a:cubicBezTo>
                  <a:pt x="465296" y="219075"/>
                  <a:pt x="472535" y="219075"/>
                  <a:pt x="496443" y="220408"/>
                </a:cubicBezTo>
                <a:cubicBezTo>
                  <a:pt x="510824" y="220533"/>
                  <a:pt x="525073" y="223177"/>
                  <a:pt x="538543" y="228218"/>
                </a:cubicBezTo>
                <a:cubicBezTo>
                  <a:pt x="558257" y="235874"/>
                  <a:pt x="573845" y="251463"/>
                  <a:pt x="581501" y="271176"/>
                </a:cubicBezTo>
                <a:cubicBezTo>
                  <a:pt x="586542" y="284646"/>
                  <a:pt x="589186" y="298895"/>
                  <a:pt x="589311" y="313277"/>
                </a:cubicBezTo>
                <a:cubicBezTo>
                  <a:pt x="590454" y="337185"/>
                  <a:pt x="590645" y="344424"/>
                  <a:pt x="590645" y="404907"/>
                </a:cubicBezTo>
                <a:cubicBezTo>
                  <a:pt x="590645" y="465391"/>
                  <a:pt x="590645" y="472630"/>
                  <a:pt x="589311" y="496538"/>
                </a:cubicBezTo>
                <a:cubicBezTo>
                  <a:pt x="589186" y="510920"/>
                  <a:pt x="586543" y="525168"/>
                  <a:pt x="581501" y="538638"/>
                </a:cubicBezTo>
                <a:cubicBezTo>
                  <a:pt x="573845" y="558352"/>
                  <a:pt x="558257" y="573940"/>
                  <a:pt x="538543" y="581596"/>
                </a:cubicBezTo>
                <a:cubicBezTo>
                  <a:pt x="525073" y="586638"/>
                  <a:pt x="510824" y="589281"/>
                  <a:pt x="496443" y="589406"/>
                </a:cubicBezTo>
                <a:cubicBezTo>
                  <a:pt x="472535" y="590550"/>
                  <a:pt x="465391" y="590740"/>
                  <a:pt x="404812" y="590740"/>
                </a:cubicBezTo>
                <a:cubicBezTo>
                  <a:pt x="344233" y="590740"/>
                  <a:pt x="337089" y="590740"/>
                  <a:pt x="313182" y="589407"/>
                </a:cubicBezTo>
                <a:cubicBezTo>
                  <a:pt x="298800" y="589281"/>
                  <a:pt x="284551" y="586638"/>
                  <a:pt x="271081" y="581596"/>
                </a:cubicBezTo>
                <a:cubicBezTo>
                  <a:pt x="251529" y="573808"/>
                  <a:pt x="236125" y="558197"/>
                  <a:pt x="228600" y="538543"/>
                </a:cubicBezTo>
                <a:cubicBezTo>
                  <a:pt x="223558" y="525073"/>
                  <a:pt x="220914" y="510824"/>
                  <a:pt x="220789" y="496443"/>
                </a:cubicBezTo>
                <a:cubicBezTo>
                  <a:pt x="219075" y="472535"/>
                  <a:pt x="219075" y="465296"/>
                  <a:pt x="219075" y="404812"/>
                </a:cubicBezTo>
                <a:cubicBezTo>
                  <a:pt x="219075" y="344328"/>
                  <a:pt x="219075" y="337089"/>
                  <a:pt x="220408" y="313182"/>
                </a:cubicBezTo>
                <a:cubicBezTo>
                  <a:pt x="220655" y="298777"/>
                  <a:pt x="223428" y="284527"/>
                  <a:pt x="228600" y="271081"/>
                </a:cubicBezTo>
                <a:cubicBezTo>
                  <a:pt x="236258" y="251643"/>
                  <a:pt x="251643" y="236258"/>
                  <a:pt x="271081" y="228600"/>
                </a:cubicBezTo>
                <a:cubicBezTo>
                  <a:pt x="284551" y="223558"/>
                  <a:pt x="298800" y="220914"/>
                  <a:pt x="313181" y="220789"/>
                </a:cubicBezTo>
                <a:cubicBezTo>
                  <a:pt x="337089" y="219075"/>
                  <a:pt x="344328" y="219075"/>
                  <a:pt x="404812" y="219075"/>
                </a:cubicBezTo>
                <a:close/>
                <a:moveTo>
                  <a:pt x="405669" y="177736"/>
                </a:moveTo>
                <a:lnTo>
                  <a:pt x="404812" y="178212"/>
                </a:lnTo>
                <a:cubicBezTo>
                  <a:pt x="343281" y="178212"/>
                  <a:pt x="335565" y="178212"/>
                  <a:pt x="311372" y="179546"/>
                </a:cubicBezTo>
                <a:cubicBezTo>
                  <a:pt x="292533" y="180057"/>
                  <a:pt x="273917" y="183760"/>
                  <a:pt x="256317" y="190500"/>
                </a:cubicBezTo>
                <a:cubicBezTo>
                  <a:pt x="225602" y="202200"/>
                  <a:pt x="201343" y="226459"/>
                  <a:pt x="189642" y="257175"/>
                </a:cubicBezTo>
                <a:cubicBezTo>
                  <a:pt x="183033" y="274797"/>
                  <a:pt x="179458" y="293412"/>
                  <a:pt x="179069" y="312229"/>
                </a:cubicBezTo>
                <a:cubicBezTo>
                  <a:pt x="178022" y="336423"/>
                  <a:pt x="177736" y="344138"/>
                  <a:pt x="177736" y="405669"/>
                </a:cubicBezTo>
                <a:cubicBezTo>
                  <a:pt x="177736" y="467201"/>
                  <a:pt x="177736" y="474916"/>
                  <a:pt x="179069" y="499110"/>
                </a:cubicBezTo>
                <a:cubicBezTo>
                  <a:pt x="179828" y="517687"/>
                  <a:pt x="183692" y="536005"/>
                  <a:pt x="190500" y="553307"/>
                </a:cubicBezTo>
                <a:cubicBezTo>
                  <a:pt x="202200" y="584022"/>
                  <a:pt x="226459" y="608281"/>
                  <a:pt x="257175" y="619982"/>
                </a:cubicBezTo>
                <a:cubicBezTo>
                  <a:pt x="274797" y="626591"/>
                  <a:pt x="293412" y="630165"/>
                  <a:pt x="312229" y="630554"/>
                </a:cubicBezTo>
                <a:cubicBezTo>
                  <a:pt x="336423" y="631602"/>
                  <a:pt x="344138" y="631888"/>
                  <a:pt x="405669" y="631888"/>
                </a:cubicBezTo>
                <a:cubicBezTo>
                  <a:pt x="467201" y="631888"/>
                  <a:pt x="474916" y="631888"/>
                  <a:pt x="499110" y="630554"/>
                </a:cubicBezTo>
                <a:cubicBezTo>
                  <a:pt x="517927" y="630165"/>
                  <a:pt x="536542" y="626591"/>
                  <a:pt x="554164" y="619982"/>
                </a:cubicBezTo>
                <a:cubicBezTo>
                  <a:pt x="584880" y="608281"/>
                  <a:pt x="609138" y="584022"/>
                  <a:pt x="620839" y="553307"/>
                </a:cubicBezTo>
                <a:cubicBezTo>
                  <a:pt x="627448" y="535684"/>
                  <a:pt x="631023" y="517069"/>
                  <a:pt x="631412" y="498252"/>
                </a:cubicBezTo>
                <a:cubicBezTo>
                  <a:pt x="632460" y="474059"/>
                  <a:pt x="632745" y="466344"/>
                  <a:pt x="632745" y="404812"/>
                </a:cubicBezTo>
                <a:cubicBezTo>
                  <a:pt x="632745" y="343281"/>
                  <a:pt x="632745" y="335565"/>
                  <a:pt x="631412" y="311372"/>
                </a:cubicBezTo>
                <a:cubicBezTo>
                  <a:pt x="631023" y="292555"/>
                  <a:pt x="627448" y="273940"/>
                  <a:pt x="620839" y="256317"/>
                </a:cubicBezTo>
                <a:cubicBezTo>
                  <a:pt x="609138" y="225602"/>
                  <a:pt x="584880" y="201343"/>
                  <a:pt x="554164" y="189642"/>
                </a:cubicBezTo>
                <a:cubicBezTo>
                  <a:pt x="536542" y="183033"/>
                  <a:pt x="517927" y="179458"/>
                  <a:pt x="499110" y="179069"/>
                </a:cubicBezTo>
                <a:cubicBezTo>
                  <a:pt x="474916" y="178022"/>
                  <a:pt x="467201" y="177736"/>
                  <a:pt x="405669" y="177736"/>
                </a:cubicBezTo>
                <a:close/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37645F6A-EDD9-42D2-A01C-F8414798D57C}"/>
              </a:ext>
            </a:extLst>
          </p:cNvPr>
          <p:cNvSpPr>
            <a:spLocks noChangeAspect="1"/>
          </p:cNvSpPr>
          <p:nvPr/>
        </p:nvSpPr>
        <p:spPr>
          <a:xfrm>
            <a:off x="9446029" y="4501548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207835 w 809625"/>
              <a:gd name="connsiteY5" fmla="*/ 183451 h 809625"/>
              <a:gd name="connsiteX6" fmla="*/ 183451 w 809625"/>
              <a:gd name="connsiteY6" fmla="*/ 207835 h 809625"/>
              <a:gd name="connsiteX7" fmla="*/ 183451 w 809625"/>
              <a:gd name="connsiteY7" fmla="*/ 601789 h 809625"/>
              <a:gd name="connsiteX8" fmla="*/ 207835 w 809625"/>
              <a:gd name="connsiteY8" fmla="*/ 626173 h 809625"/>
              <a:gd name="connsiteX9" fmla="*/ 419957 w 809625"/>
              <a:gd name="connsiteY9" fmla="*/ 626173 h 809625"/>
              <a:gd name="connsiteX10" fmla="*/ 419957 w 809625"/>
              <a:gd name="connsiteY10" fmla="*/ 454723 h 809625"/>
              <a:gd name="connsiteX11" fmla="*/ 361950 w 809625"/>
              <a:gd name="connsiteY11" fmla="*/ 454723 h 809625"/>
              <a:gd name="connsiteX12" fmla="*/ 361950 w 809625"/>
              <a:gd name="connsiteY12" fmla="*/ 388048 h 809625"/>
              <a:gd name="connsiteX13" fmla="*/ 419671 w 809625"/>
              <a:gd name="connsiteY13" fmla="*/ 388048 h 809625"/>
              <a:gd name="connsiteX14" fmla="*/ 419671 w 809625"/>
              <a:gd name="connsiteY14" fmla="*/ 338613 h 809625"/>
              <a:gd name="connsiteX15" fmla="*/ 505396 w 809625"/>
              <a:gd name="connsiteY15" fmla="*/ 250317 h 809625"/>
              <a:gd name="connsiteX16" fmla="*/ 556926 w 809625"/>
              <a:gd name="connsiteY16" fmla="*/ 252984 h 809625"/>
              <a:gd name="connsiteX17" fmla="*/ 556926 w 809625"/>
              <a:gd name="connsiteY17" fmla="*/ 312705 h 809625"/>
              <a:gd name="connsiteX18" fmla="*/ 522065 w 809625"/>
              <a:gd name="connsiteY18" fmla="*/ 312705 h 809625"/>
              <a:gd name="connsiteX19" fmla="*/ 488918 w 809625"/>
              <a:gd name="connsiteY19" fmla="*/ 345281 h 809625"/>
              <a:gd name="connsiteX20" fmla="*/ 488918 w 809625"/>
              <a:gd name="connsiteY20" fmla="*/ 387953 h 809625"/>
              <a:gd name="connsiteX21" fmla="*/ 555593 w 809625"/>
              <a:gd name="connsiteY21" fmla="*/ 387953 h 809625"/>
              <a:gd name="connsiteX22" fmla="*/ 546925 w 809625"/>
              <a:gd name="connsiteY22" fmla="*/ 454628 h 809625"/>
              <a:gd name="connsiteX23" fmla="*/ 489775 w 809625"/>
              <a:gd name="connsiteY23" fmla="*/ 454628 h 809625"/>
              <a:gd name="connsiteX24" fmla="*/ 489775 w 809625"/>
              <a:gd name="connsiteY24" fmla="*/ 626078 h 809625"/>
              <a:gd name="connsiteX25" fmla="*/ 601789 w 809625"/>
              <a:gd name="connsiteY25" fmla="*/ 626078 h 809625"/>
              <a:gd name="connsiteX26" fmla="*/ 626173 w 809625"/>
              <a:gd name="connsiteY26" fmla="*/ 601694 h 809625"/>
              <a:gd name="connsiteX27" fmla="*/ 626173 w 809625"/>
              <a:gd name="connsiteY27" fmla="*/ 207835 h 809625"/>
              <a:gd name="connsiteX28" fmla="*/ 601789 w 809625"/>
              <a:gd name="connsiteY28" fmla="*/ 183451 h 809625"/>
              <a:gd name="connsiteX29" fmla="*/ 207835 w 809625"/>
              <a:gd name="connsiteY29" fmla="*/ 183451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207835" y="183451"/>
                </a:moveTo>
                <a:cubicBezTo>
                  <a:pt x="194368" y="183451"/>
                  <a:pt x="183451" y="194368"/>
                  <a:pt x="183451" y="207835"/>
                </a:cubicBezTo>
                <a:lnTo>
                  <a:pt x="183451" y="601789"/>
                </a:lnTo>
                <a:cubicBezTo>
                  <a:pt x="183451" y="615256"/>
                  <a:pt x="194368" y="626173"/>
                  <a:pt x="207835" y="626173"/>
                </a:cubicBezTo>
                <a:lnTo>
                  <a:pt x="419957" y="626173"/>
                </a:lnTo>
                <a:lnTo>
                  <a:pt x="419957" y="454723"/>
                </a:lnTo>
                <a:lnTo>
                  <a:pt x="361950" y="454723"/>
                </a:lnTo>
                <a:lnTo>
                  <a:pt x="361950" y="388048"/>
                </a:lnTo>
                <a:lnTo>
                  <a:pt x="419671" y="388048"/>
                </a:lnTo>
                <a:lnTo>
                  <a:pt x="419671" y="338613"/>
                </a:lnTo>
                <a:cubicBezTo>
                  <a:pt x="419671" y="281463"/>
                  <a:pt x="454533" y="250317"/>
                  <a:pt x="505396" y="250317"/>
                </a:cubicBezTo>
                <a:cubicBezTo>
                  <a:pt x="522609" y="250238"/>
                  <a:pt x="539813" y="251128"/>
                  <a:pt x="556926" y="252984"/>
                </a:cubicBezTo>
                <a:lnTo>
                  <a:pt x="556926" y="312705"/>
                </a:lnTo>
                <a:lnTo>
                  <a:pt x="522065" y="312705"/>
                </a:lnTo>
                <a:cubicBezTo>
                  <a:pt x="494252" y="312705"/>
                  <a:pt x="488918" y="325945"/>
                  <a:pt x="488918" y="345281"/>
                </a:cubicBezTo>
                <a:lnTo>
                  <a:pt x="488918" y="387953"/>
                </a:lnTo>
                <a:lnTo>
                  <a:pt x="555593" y="387953"/>
                </a:lnTo>
                <a:lnTo>
                  <a:pt x="546925" y="454628"/>
                </a:lnTo>
                <a:lnTo>
                  <a:pt x="489775" y="454628"/>
                </a:lnTo>
                <a:lnTo>
                  <a:pt x="489775" y="626078"/>
                </a:lnTo>
                <a:lnTo>
                  <a:pt x="601789" y="626078"/>
                </a:lnTo>
                <a:cubicBezTo>
                  <a:pt x="615256" y="626078"/>
                  <a:pt x="626173" y="615161"/>
                  <a:pt x="626173" y="601694"/>
                </a:cubicBezTo>
                <a:lnTo>
                  <a:pt x="626173" y="207835"/>
                </a:lnTo>
                <a:cubicBezTo>
                  <a:pt x="626173" y="194368"/>
                  <a:pt x="615256" y="183451"/>
                  <a:pt x="601789" y="183451"/>
                </a:cubicBezTo>
                <a:lnTo>
                  <a:pt x="207835" y="183451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35DA1C13-417D-70D7-BC88-4FD67A39D2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4484" y="2549185"/>
            <a:ext cx="1976093" cy="879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9258725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76849F14-4971-4208-82A8-1F0513897926}"/>
              </a:ext>
            </a:extLst>
          </p:cNvPr>
          <p:cNvSpPr/>
          <p:nvPr userDrawn="1"/>
        </p:nvSpPr>
        <p:spPr>
          <a:xfrm>
            <a:off x="719400" y="-2"/>
            <a:ext cx="107532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096AA35B-6D3E-4809-9D78-9CF31081E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9400" y="-2"/>
            <a:ext cx="4680000" cy="4068000"/>
          </a:xfrm>
          <a:solidFill>
            <a:schemeClr val="tx2"/>
          </a:solidFill>
        </p:spPr>
        <p:txBody>
          <a:bodyPr lIns="342000" tIns="342000" rIns="0" bIns="504000" anchor="b" anchorCtr="0"/>
          <a:lstStyle>
            <a:lvl1pPr>
              <a:defRPr sz="4500">
                <a:solidFill>
                  <a:schemeClr val="accent1"/>
                </a:solidFill>
              </a:defRPr>
            </a:lvl1pPr>
          </a:lstStyle>
          <a:p>
            <a:r>
              <a:rPr lang="en-US"/>
              <a:t>Thank you</a:t>
            </a:r>
            <a:endParaRPr lang="en-AU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FD95F930-CD55-469B-9FD0-1150DA73B39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-2"/>
            <a:ext cx="12192000" cy="6876000"/>
          </a:xfrm>
          <a:custGeom>
            <a:avLst/>
            <a:gdLst>
              <a:gd name="connsiteX0" fmla="*/ 114726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472600 w 12192000"/>
              <a:gd name="connsiteY3" fmla="*/ 6858000 h 6858000"/>
              <a:gd name="connsiteX4" fmla="*/ 0 w 12192000"/>
              <a:gd name="connsiteY4" fmla="*/ 0 h 6858000"/>
              <a:gd name="connsiteX5" fmla="*/ 719400 w 12192000"/>
              <a:gd name="connsiteY5" fmla="*/ 0 h 6858000"/>
              <a:gd name="connsiteX6" fmla="*/ 7194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14726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472600" y="6858000"/>
                </a:lnTo>
                <a:close/>
                <a:moveTo>
                  <a:pt x="0" y="0"/>
                </a:moveTo>
                <a:lnTo>
                  <a:pt x="719400" y="0"/>
                </a:lnTo>
                <a:lnTo>
                  <a:pt x="7194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08000" tIns="108000" rIns="115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4417D20-4CB7-471C-A5C4-50706D404792}"/>
              </a:ext>
            </a:extLst>
          </p:cNvPr>
          <p:cNvSpPr txBox="1"/>
          <p:nvPr userDrawn="1"/>
        </p:nvSpPr>
        <p:spPr>
          <a:xfrm>
            <a:off x="7877158" y="3841087"/>
            <a:ext cx="3321238" cy="25564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 cap="none" baseline="0">
                <a:solidFill>
                  <a:schemeClr val="bg1"/>
                </a:solidFill>
              </a:defRPr>
            </a:lvl1pPr>
            <a:lvl2pPr marL="0" lvl="1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b="1" cap="all" baseline="0">
                <a:solidFill>
                  <a:schemeClr val="bg1"/>
                </a:solidFill>
              </a:defRPr>
            </a:lvl2pPr>
            <a:lvl3pPr marL="0" lvl="2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3pPr>
            <a:lvl4pPr marL="0" lvl="3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4pPr>
            <a:lvl5pPr marL="0" lvl="4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5pPr>
            <a:lvl6pPr marL="0" lvl="5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6pPr>
            <a:lvl7pPr marL="0" lvl="6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7pPr>
            <a:lvl8pPr marL="0" lvl="7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8pPr>
            <a:lvl9pPr marL="0" lvl="8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9pPr>
          </a:lstStyle>
          <a:p>
            <a:pPr lvl="0">
              <a:spcBef>
                <a:spcPts val="400"/>
              </a:spcBef>
            </a:pPr>
            <a:r>
              <a:rPr lang="en-US" altLang="en-US" sz="1600" b="0">
                <a:solidFill>
                  <a:schemeClr val="bg2"/>
                </a:solidFill>
                <a:latin typeface="+mj-lt"/>
              </a:rPr>
              <a:t>Forest Stewardship Council®</a:t>
            </a:r>
          </a:p>
          <a:p>
            <a:pPr lvl="0">
              <a:spcBef>
                <a:spcPts val="400"/>
              </a:spcBef>
              <a:spcAft>
                <a:spcPts val="1200"/>
              </a:spcAft>
            </a:pPr>
            <a:r>
              <a:rPr lang="en-US" altLang="en-US" sz="1500" b="1">
                <a:solidFill>
                  <a:schemeClr val="bg2"/>
                </a:solidFill>
              </a:rPr>
              <a:t>FSC® Asociación Civil </a:t>
            </a:r>
          </a:p>
          <a:p>
            <a:pPr lvl="0"/>
            <a:endParaRPr lang="en-US" altLang="en-US" sz="1600" b="0"/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Calle Margarita </a:t>
            </a:r>
            <a:r>
              <a:rPr lang="en-US" altLang="en-US" sz="1200" b="0" err="1">
                <a:solidFill>
                  <a:schemeClr val="bg2"/>
                </a:solidFill>
              </a:rPr>
              <a:t>Maza</a:t>
            </a:r>
            <a:r>
              <a:rPr lang="en-US" altLang="en-US" sz="1200" b="0">
                <a:solidFill>
                  <a:schemeClr val="bg2"/>
                </a:solidFill>
              </a:rPr>
              <a:t> de Juárez 422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Colonia Centro,  Oaxaca, México, CP. 68000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Phone: +52 951 502 6533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Fax: +52 951 502 6594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FSC Asociación Civil © All rights reserved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 err="1">
                <a:solidFill>
                  <a:schemeClr val="bg2"/>
                </a:solidFill>
              </a:rPr>
              <a:t>FSC</a:t>
            </a:r>
            <a:r>
              <a:rPr lang="en-US" altLang="en-US" sz="1200" b="0">
                <a:solidFill>
                  <a:schemeClr val="bg2"/>
                </a:solidFill>
              </a:rPr>
              <a:t>® </a:t>
            </a:r>
            <a:r>
              <a:rPr lang="en-US" altLang="en-US" sz="1200" b="0" err="1">
                <a:solidFill>
                  <a:schemeClr val="bg2"/>
                </a:solidFill>
              </a:rPr>
              <a:t>F000100</a:t>
            </a:r>
            <a:r>
              <a:rPr lang="en-US" altLang="en-US" sz="1200" b="0">
                <a:solidFill>
                  <a:schemeClr val="bg2"/>
                </a:solidFill>
              </a:rPr>
              <a:t> </a:t>
            </a:r>
          </a:p>
          <a:p>
            <a:pPr lvl="0"/>
            <a:r>
              <a:rPr lang="en-US" altLang="en-US" sz="1400" b="0" err="1">
                <a:solidFill>
                  <a:schemeClr val="bg2"/>
                </a:solidFill>
                <a:latin typeface="+mj-lt"/>
              </a:rPr>
              <a:t>www.fsc.org</a:t>
            </a:r>
            <a:endParaRPr lang="en-US" altLang="en-US" sz="1400" b="0">
              <a:solidFill>
                <a:schemeClr val="bg2"/>
              </a:solidFill>
              <a:latin typeface="+mj-lt"/>
            </a:endParaRPr>
          </a:p>
          <a:p>
            <a:pPr lvl="0"/>
            <a:endParaRPr lang="en-US" altLang="en-US" sz="1600" b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F8BC909C-567D-4F9C-A0DF-D05DE8F82075}"/>
              </a:ext>
            </a:extLst>
          </p:cNvPr>
          <p:cNvSpPr>
            <a:spLocks noChangeAspect="1"/>
          </p:cNvSpPr>
          <p:nvPr/>
        </p:nvSpPr>
        <p:spPr>
          <a:xfrm>
            <a:off x="7916652" y="4501548"/>
            <a:ext cx="242382" cy="242382"/>
          </a:xfrm>
          <a:custGeom>
            <a:avLst/>
            <a:gdLst>
              <a:gd name="connsiteX0" fmla="*/ 357950 w 809625"/>
              <a:gd name="connsiteY0" fmla="*/ 333375 h 809625"/>
              <a:gd name="connsiteX1" fmla="*/ 480537 w 809625"/>
              <a:gd name="connsiteY1" fmla="*/ 397002 h 809625"/>
              <a:gd name="connsiteX2" fmla="*/ 357950 w 809625"/>
              <a:gd name="connsiteY2" fmla="*/ 460439 h 809625"/>
              <a:gd name="connsiteX3" fmla="*/ 242887 w 809625"/>
              <a:gd name="connsiteY3" fmla="*/ 249555 h 809625"/>
              <a:gd name="connsiteX4" fmla="*/ 178117 w 809625"/>
              <a:gd name="connsiteY4" fmla="*/ 314325 h 809625"/>
              <a:gd name="connsiteX5" fmla="*/ 178117 w 809625"/>
              <a:gd name="connsiteY5" fmla="*/ 495300 h 809625"/>
              <a:gd name="connsiteX6" fmla="*/ 242887 w 809625"/>
              <a:gd name="connsiteY6" fmla="*/ 560070 h 809625"/>
              <a:gd name="connsiteX7" fmla="*/ 566737 w 809625"/>
              <a:gd name="connsiteY7" fmla="*/ 560070 h 809625"/>
              <a:gd name="connsiteX8" fmla="*/ 631507 w 809625"/>
              <a:gd name="connsiteY8" fmla="*/ 495300 h 809625"/>
              <a:gd name="connsiteX9" fmla="*/ 631507 w 809625"/>
              <a:gd name="connsiteY9" fmla="*/ 314325 h 809625"/>
              <a:gd name="connsiteX10" fmla="*/ 566737 w 809625"/>
              <a:gd name="connsiteY10" fmla="*/ 249555 h 809625"/>
              <a:gd name="connsiteX11" fmla="*/ 404813 w 809625"/>
              <a:gd name="connsiteY11" fmla="*/ 0 h 809625"/>
              <a:gd name="connsiteX12" fmla="*/ 809625 w 809625"/>
              <a:gd name="connsiteY12" fmla="*/ 404813 h 809625"/>
              <a:gd name="connsiteX13" fmla="*/ 404813 w 809625"/>
              <a:gd name="connsiteY13" fmla="*/ 809625 h 809625"/>
              <a:gd name="connsiteX14" fmla="*/ 0 w 809625"/>
              <a:gd name="connsiteY14" fmla="*/ 404813 h 809625"/>
              <a:gd name="connsiteX15" fmla="*/ 404813 w 809625"/>
              <a:gd name="connsiteY15" fmla="*/ 0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809625" h="809625">
                <a:moveTo>
                  <a:pt x="357950" y="333375"/>
                </a:moveTo>
                <a:lnTo>
                  <a:pt x="480537" y="397002"/>
                </a:lnTo>
                <a:lnTo>
                  <a:pt x="357950" y="460439"/>
                </a:lnTo>
                <a:close/>
                <a:moveTo>
                  <a:pt x="242887" y="249555"/>
                </a:moveTo>
                <a:cubicBezTo>
                  <a:pt x="207159" y="249660"/>
                  <a:pt x="178222" y="278597"/>
                  <a:pt x="178117" y="314325"/>
                </a:cubicBezTo>
                <a:lnTo>
                  <a:pt x="178117" y="495300"/>
                </a:lnTo>
                <a:cubicBezTo>
                  <a:pt x="178222" y="531028"/>
                  <a:pt x="207159" y="559965"/>
                  <a:pt x="242887" y="560070"/>
                </a:cubicBezTo>
                <a:lnTo>
                  <a:pt x="566737" y="560070"/>
                </a:lnTo>
                <a:cubicBezTo>
                  <a:pt x="602465" y="559965"/>
                  <a:pt x="631402" y="531028"/>
                  <a:pt x="631507" y="495300"/>
                </a:cubicBezTo>
                <a:lnTo>
                  <a:pt x="631507" y="314325"/>
                </a:lnTo>
                <a:cubicBezTo>
                  <a:pt x="631402" y="278597"/>
                  <a:pt x="602465" y="249660"/>
                  <a:pt x="566737" y="249555"/>
                </a:cubicBezTo>
                <a:close/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2487C176-18A9-4BB0-BD80-DEC34233A800}"/>
              </a:ext>
            </a:extLst>
          </p:cNvPr>
          <p:cNvSpPr>
            <a:spLocks noChangeAspect="1"/>
          </p:cNvSpPr>
          <p:nvPr/>
        </p:nvSpPr>
        <p:spPr>
          <a:xfrm>
            <a:off x="8298996" y="4501548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495146 w 809625"/>
              <a:gd name="connsiteY5" fmla="*/ 220645 h 809625"/>
              <a:gd name="connsiteX6" fmla="*/ 428527 w 809625"/>
              <a:gd name="connsiteY6" fmla="*/ 245841 h 809625"/>
              <a:gd name="connsiteX7" fmla="*/ 399192 w 809625"/>
              <a:gd name="connsiteY7" fmla="*/ 313563 h 809625"/>
              <a:gd name="connsiteX8" fmla="*/ 401573 w 809625"/>
              <a:gd name="connsiteY8" fmla="*/ 334803 h 809625"/>
              <a:gd name="connsiteX9" fmla="*/ 209549 w 809625"/>
              <a:gd name="connsiteY9" fmla="*/ 238125 h 809625"/>
              <a:gd name="connsiteX10" fmla="*/ 238124 w 809625"/>
              <a:gd name="connsiteY10" fmla="*/ 361950 h 809625"/>
              <a:gd name="connsiteX11" fmla="*/ 195928 w 809625"/>
              <a:gd name="connsiteY11" fmla="*/ 350329 h 809625"/>
              <a:gd name="connsiteX12" fmla="*/ 195929 w 809625"/>
              <a:gd name="connsiteY12" fmla="*/ 351567 h 809625"/>
              <a:gd name="connsiteX13" fmla="*/ 270605 w 809625"/>
              <a:gd name="connsiteY13" fmla="*/ 442722 h 809625"/>
              <a:gd name="connsiteX14" fmla="*/ 228599 w 809625"/>
              <a:gd name="connsiteY14" fmla="*/ 444341 h 809625"/>
              <a:gd name="connsiteX15" fmla="*/ 315467 w 809625"/>
              <a:gd name="connsiteY15" fmla="*/ 508920 h 809625"/>
              <a:gd name="connsiteX16" fmla="*/ 200024 w 809625"/>
              <a:gd name="connsiteY16" fmla="*/ 548544 h 809625"/>
              <a:gd name="connsiteX17" fmla="*/ 177831 w 809625"/>
              <a:gd name="connsiteY17" fmla="*/ 547211 h 809625"/>
              <a:gd name="connsiteX18" fmla="*/ 320706 w 809625"/>
              <a:gd name="connsiteY18" fmla="*/ 589026 h 809625"/>
              <a:gd name="connsiteX19" fmla="*/ 585406 w 809625"/>
              <a:gd name="connsiteY19" fmla="*/ 324421 h 809625"/>
              <a:gd name="connsiteX20" fmla="*/ 585406 w 809625"/>
              <a:gd name="connsiteY20" fmla="*/ 312324 h 809625"/>
              <a:gd name="connsiteX21" fmla="*/ 631507 w 809625"/>
              <a:gd name="connsiteY21" fmla="*/ 264223 h 809625"/>
              <a:gd name="connsiteX22" fmla="*/ 578072 w 809625"/>
              <a:gd name="connsiteY22" fmla="*/ 278892 h 809625"/>
              <a:gd name="connsiteX23" fmla="*/ 619124 w 809625"/>
              <a:gd name="connsiteY23" fmla="*/ 227361 h 809625"/>
              <a:gd name="connsiteX24" fmla="*/ 560069 w 809625"/>
              <a:gd name="connsiteY24" fmla="*/ 249936 h 809625"/>
              <a:gd name="connsiteX25" fmla="*/ 495146 w 809625"/>
              <a:gd name="connsiteY25" fmla="*/ 220645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495146" y="220645"/>
                </a:moveTo>
                <a:cubicBezTo>
                  <a:pt x="471342" y="219904"/>
                  <a:pt x="447255" y="228245"/>
                  <a:pt x="428527" y="245841"/>
                </a:cubicBezTo>
                <a:cubicBezTo>
                  <a:pt x="409833" y="263407"/>
                  <a:pt x="399219" y="287911"/>
                  <a:pt x="399192" y="313563"/>
                </a:cubicBezTo>
                <a:cubicBezTo>
                  <a:pt x="399204" y="320709"/>
                  <a:pt x="400003" y="327832"/>
                  <a:pt x="401573" y="334803"/>
                </a:cubicBezTo>
                <a:cubicBezTo>
                  <a:pt x="326768" y="331204"/>
                  <a:pt x="256991" y="296073"/>
                  <a:pt x="209549" y="238125"/>
                </a:cubicBezTo>
                <a:cubicBezTo>
                  <a:pt x="185023" y="280491"/>
                  <a:pt x="197513" y="334615"/>
                  <a:pt x="238124" y="361950"/>
                </a:cubicBezTo>
                <a:cubicBezTo>
                  <a:pt x="223336" y="361482"/>
                  <a:pt x="208871" y="357499"/>
                  <a:pt x="195928" y="350329"/>
                </a:cubicBezTo>
                <a:lnTo>
                  <a:pt x="195929" y="351567"/>
                </a:lnTo>
                <a:cubicBezTo>
                  <a:pt x="195962" y="395849"/>
                  <a:pt x="227195" y="433974"/>
                  <a:pt x="270605" y="442722"/>
                </a:cubicBezTo>
                <a:cubicBezTo>
                  <a:pt x="256901" y="446399"/>
                  <a:pt x="242546" y="446952"/>
                  <a:pt x="228599" y="444341"/>
                </a:cubicBezTo>
                <a:cubicBezTo>
                  <a:pt x="240745" y="482243"/>
                  <a:pt x="275672" y="508209"/>
                  <a:pt x="315467" y="508920"/>
                </a:cubicBezTo>
                <a:cubicBezTo>
                  <a:pt x="282513" y="534690"/>
                  <a:pt x="241858" y="548644"/>
                  <a:pt x="200024" y="548544"/>
                </a:cubicBezTo>
                <a:cubicBezTo>
                  <a:pt x="192607" y="548536"/>
                  <a:pt x="185196" y="548091"/>
                  <a:pt x="177831" y="547211"/>
                </a:cubicBezTo>
                <a:cubicBezTo>
                  <a:pt x="220421" y="574649"/>
                  <a:pt x="270043" y="589172"/>
                  <a:pt x="320706" y="589026"/>
                </a:cubicBezTo>
                <a:cubicBezTo>
                  <a:pt x="492156" y="589026"/>
                  <a:pt x="585406" y="447294"/>
                  <a:pt x="585406" y="324421"/>
                </a:cubicBezTo>
                <a:cubicBezTo>
                  <a:pt x="585406" y="320325"/>
                  <a:pt x="585406" y="316325"/>
                  <a:pt x="585406" y="312324"/>
                </a:cubicBezTo>
                <a:cubicBezTo>
                  <a:pt x="603503" y="299151"/>
                  <a:pt x="619113" y="282863"/>
                  <a:pt x="631507" y="264223"/>
                </a:cubicBezTo>
                <a:cubicBezTo>
                  <a:pt x="614513" y="271713"/>
                  <a:pt x="596508" y="276656"/>
                  <a:pt x="578072" y="278892"/>
                </a:cubicBezTo>
                <a:cubicBezTo>
                  <a:pt x="597588" y="267302"/>
                  <a:pt x="612190" y="248974"/>
                  <a:pt x="619124" y="227361"/>
                </a:cubicBezTo>
                <a:cubicBezTo>
                  <a:pt x="600877" y="238213"/>
                  <a:pt x="580902" y="245848"/>
                  <a:pt x="560069" y="249936"/>
                </a:cubicBezTo>
                <a:cubicBezTo>
                  <a:pt x="542473" y="231209"/>
                  <a:pt x="518951" y="221387"/>
                  <a:pt x="495146" y="22064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41393088-2A2D-4F19-A536-4C5B46718A69}"/>
              </a:ext>
            </a:extLst>
          </p:cNvPr>
          <p:cNvSpPr>
            <a:spLocks noChangeAspect="1"/>
          </p:cNvSpPr>
          <p:nvPr userDrawn="1"/>
        </p:nvSpPr>
        <p:spPr>
          <a:xfrm>
            <a:off x="8681340" y="4501548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230981 w 809625"/>
              <a:gd name="connsiteY5" fmla="*/ 177069 h 809625"/>
              <a:gd name="connsiteX6" fmla="*/ 176498 w 809625"/>
              <a:gd name="connsiteY6" fmla="*/ 231552 h 809625"/>
              <a:gd name="connsiteX7" fmla="*/ 230981 w 809625"/>
              <a:gd name="connsiteY7" fmla="*/ 286035 h 809625"/>
              <a:gd name="connsiteX8" fmla="*/ 285464 w 809625"/>
              <a:gd name="connsiteY8" fmla="*/ 231552 h 809625"/>
              <a:gd name="connsiteX9" fmla="*/ 230981 w 809625"/>
              <a:gd name="connsiteY9" fmla="*/ 177069 h 809625"/>
              <a:gd name="connsiteX10" fmla="*/ 517493 w 809625"/>
              <a:gd name="connsiteY10" fmla="*/ 319849 h 809625"/>
              <a:gd name="connsiteX11" fmla="*/ 428625 w 809625"/>
              <a:gd name="connsiteY11" fmla="*/ 368617 h 809625"/>
              <a:gd name="connsiteX12" fmla="*/ 426910 w 809625"/>
              <a:gd name="connsiteY12" fmla="*/ 368617 h 809625"/>
              <a:gd name="connsiteX13" fmla="*/ 426910 w 809625"/>
              <a:gd name="connsiteY13" fmla="*/ 327278 h 809625"/>
              <a:gd name="connsiteX14" fmla="*/ 336899 w 809625"/>
              <a:gd name="connsiteY14" fmla="*/ 327278 h 809625"/>
              <a:gd name="connsiteX15" fmla="*/ 336899 w 809625"/>
              <a:gd name="connsiteY15" fmla="*/ 629602 h 809625"/>
              <a:gd name="connsiteX16" fmla="*/ 430720 w 809625"/>
              <a:gd name="connsiteY16" fmla="*/ 629602 h 809625"/>
              <a:gd name="connsiteX17" fmla="*/ 430720 w 809625"/>
              <a:gd name="connsiteY17" fmla="*/ 480059 h 809625"/>
              <a:gd name="connsiteX18" fmla="*/ 487108 w 809625"/>
              <a:gd name="connsiteY18" fmla="*/ 402430 h 809625"/>
              <a:gd name="connsiteX19" fmla="*/ 535876 w 809625"/>
              <a:gd name="connsiteY19" fmla="*/ 482631 h 809625"/>
              <a:gd name="connsiteX20" fmla="*/ 535876 w 809625"/>
              <a:gd name="connsiteY20" fmla="*/ 629602 h 809625"/>
              <a:gd name="connsiteX21" fmla="*/ 630174 w 809625"/>
              <a:gd name="connsiteY21" fmla="*/ 629602 h 809625"/>
              <a:gd name="connsiteX22" fmla="*/ 630174 w 809625"/>
              <a:gd name="connsiteY22" fmla="*/ 463771 h 809625"/>
              <a:gd name="connsiteX23" fmla="*/ 517493 w 809625"/>
              <a:gd name="connsiteY23" fmla="*/ 319849 h 809625"/>
              <a:gd name="connsiteX24" fmla="*/ 183927 w 809625"/>
              <a:gd name="connsiteY24" fmla="*/ 327278 h 809625"/>
              <a:gd name="connsiteX25" fmla="*/ 183927 w 809625"/>
              <a:gd name="connsiteY25" fmla="*/ 629602 h 809625"/>
              <a:gd name="connsiteX26" fmla="*/ 277939 w 809625"/>
              <a:gd name="connsiteY26" fmla="*/ 629602 h 809625"/>
              <a:gd name="connsiteX27" fmla="*/ 277939 w 809625"/>
              <a:gd name="connsiteY27" fmla="*/ 327278 h 809625"/>
              <a:gd name="connsiteX28" fmla="*/ 183927 w 809625"/>
              <a:gd name="connsiteY28" fmla="*/ 327278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230981" y="177069"/>
                </a:moveTo>
                <a:cubicBezTo>
                  <a:pt x="200891" y="177069"/>
                  <a:pt x="176498" y="201462"/>
                  <a:pt x="176498" y="231552"/>
                </a:cubicBezTo>
                <a:cubicBezTo>
                  <a:pt x="176498" y="261642"/>
                  <a:pt x="200891" y="286035"/>
                  <a:pt x="230981" y="286035"/>
                </a:cubicBezTo>
                <a:cubicBezTo>
                  <a:pt x="261071" y="286035"/>
                  <a:pt x="285464" y="261642"/>
                  <a:pt x="285464" y="231552"/>
                </a:cubicBezTo>
                <a:cubicBezTo>
                  <a:pt x="285464" y="201462"/>
                  <a:pt x="261071" y="177069"/>
                  <a:pt x="230981" y="177069"/>
                </a:cubicBezTo>
                <a:close/>
                <a:moveTo>
                  <a:pt x="517493" y="319849"/>
                </a:moveTo>
                <a:cubicBezTo>
                  <a:pt x="481146" y="318484"/>
                  <a:pt x="446996" y="337225"/>
                  <a:pt x="428625" y="368617"/>
                </a:cubicBezTo>
                <a:lnTo>
                  <a:pt x="426910" y="368617"/>
                </a:lnTo>
                <a:lnTo>
                  <a:pt x="426910" y="327278"/>
                </a:lnTo>
                <a:lnTo>
                  <a:pt x="336899" y="327278"/>
                </a:lnTo>
                <a:lnTo>
                  <a:pt x="336899" y="629602"/>
                </a:lnTo>
                <a:lnTo>
                  <a:pt x="430720" y="629602"/>
                </a:lnTo>
                <a:lnTo>
                  <a:pt x="430720" y="480059"/>
                </a:lnTo>
                <a:cubicBezTo>
                  <a:pt x="430720" y="440530"/>
                  <a:pt x="438912" y="402430"/>
                  <a:pt x="487108" y="402430"/>
                </a:cubicBezTo>
                <a:cubicBezTo>
                  <a:pt x="535305" y="402430"/>
                  <a:pt x="535876" y="447579"/>
                  <a:pt x="535876" y="482631"/>
                </a:cubicBezTo>
                <a:lnTo>
                  <a:pt x="535876" y="629602"/>
                </a:lnTo>
                <a:lnTo>
                  <a:pt x="630174" y="629602"/>
                </a:lnTo>
                <a:lnTo>
                  <a:pt x="630174" y="463771"/>
                </a:lnTo>
                <a:cubicBezTo>
                  <a:pt x="630174" y="382428"/>
                  <a:pt x="612743" y="319849"/>
                  <a:pt x="517493" y="319849"/>
                </a:cubicBezTo>
                <a:close/>
                <a:moveTo>
                  <a:pt x="183927" y="327278"/>
                </a:moveTo>
                <a:lnTo>
                  <a:pt x="183927" y="629602"/>
                </a:lnTo>
                <a:lnTo>
                  <a:pt x="277939" y="629602"/>
                </a:lnTo>
                <a:lnTo>
                  <a:pt x="277939" y="327278"/>
                </a:lnTo>
                <a:lnTo>
                  <a:pt x="183927" y="32727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F1F78FC3-536A-4C34-B2A3-95085DF38A8D}"/>
              </a:ext>
            </a:extLst>
          </p:cNvPr>
          <p:cNvSpPr>
            <a:spLocks noChangeAspect="1"/>
          </p:cNvSpPr>
          <p:nvPr userDrawn="1"/>
        </p:nvSpPr>
        <p:spPr>
          <a:xfrm>
            <a:off x="9063685" y="4501548"/>
            <a:ext cx="242382" cy="242382"/>
          </a:xfrm>
          <a:custGeom>
            <a:avLst/>
            <a:gdLst>
              <a:gd name="connsiteX0" fmla="*/ 404812 w 809625"/>
              <a:gd name="connsiteY0" fmla="*/ 288417 h 809625"/>
              <a:gd name="connsiteX1" fmla="*/ 288417 w 809625"/>
              <a:gd name="connsiteY1" fmla="*/ 404812 h 809625"/>
              <a:gd name="connsiteX2" fmla="*/ 404812 w 809625"/>
              <a:gd name="connsiteY2" fmla="*/ 521208 h 809625"/>
              <a:gd name="connsiteX3" fmla="*/ 521208 w 809625"/>
              <a:gd name="connsiteY3" fmla="*/ 404812 h 809625"/>
              <a:gd name="connsiteX4" fmla="*/ 404812 w 809625"/>
              <a:gd name="connsiteY4" fmla="*/ 288417 h 809625"/>
              <a:gd name="connsiteX5" fmla="*/ 525780 w 809625"/>
              <a:gd name="connsiteY5" fmla="*/ 256603 h 809625"/>
              <a:gd name="connsiteX6" fmla="*/ 498538 w 809625"/>
              <a:gd name="connsiteY6" fmla="*/ 283844 h 809625"/>
              <a:gd name="connsiteX7" fmla="*/ 525780 w 809625"/>
              <a:gd name="connsiteY7" fmla="*/ 311086 h 809625"/>
              <a:gd name="connsiteX8" fmla="*/ 553021 w 809625"/>
              <a:gd name="connsiteY8" fmla="*/ 283844 h 809625"/>
              <a:gd name="connsiteX9" fmla="*/ 525780 w 809625"/>
              <a:gd name="connsiteY9" fmla="*/ 256603 h 809625"/>
              <a:gd name="connsiteX10" fmla="*/ 404812 w 809625"/>
              <a:gd name="connsiteY10" fmla="*/ 219075 h 809625"/>
              <a:gd name="connsiteX11" fmla="*/ 496443 w 809625"/>
              <a:gd name="connsiteY11" fmla="*/ 220408 h 809625"/>
              <a:gd name="connsiteX12" fmla="*/ 538543 w 809625"/>
              <a:gd name="connsiteY12" fmla="*/ 228218 h 809625"/>
              <a:gd name="connsiteX13" fmla="*/ 581501 w 809625"/>
              <a:gd name="connsiteY13" fmla="*/ 271176 h 809625"/>
              <a:gd name="connsiteX14" fmla="*/ 589311 w 809625"/>
              <a:gd name="connsiteY14" fmla="*/ 313277 h 809625"/>
              <a:gd name="connsiteX15" fmla="*/ 590645 w 809625"/>
              <a:gd name="connsiteY15" fmla="*/ 404907 h 809625"/>
              <a:gd name="connsiteX16" fmla="*/ 589311 w 809625"/>
              <a:gd name="connsiteY16" fmla="*/ 496538 h 809625"/>
              <a:gd name="connsiteX17" fmla="*/ 581501 w 809625"/>
              <a:gd name="connsiteY17" fmla="*/ 538638 h 809625"/>
              <a:gd name="connsiteX18" fmla="*/ 538543 w 809625"/>
              <a:gd name="connsiteY18" fmla="*/ 581596 h 809625"/>
              <a:gd name="connsiteX19" fmla="*/ 496443 w 809625"/>
              <a:gd name="connsiteY19" fmla="*/ 589406 h 809625"/>
              <a:gd name="connsiteX20" fmla="*/ 404812 w 809625"/>
              <a:gd name="connsiteY20" fmla="*/ 590740 h 809625"/>
              <a:gd name="connsiteX21" fmla="*/ 313182 w 809625"/>
              <a:gd name="connsiteY21" fmla="*/ 589407 h 809625"/>
              <a:gd name="connsiteX22" fmla="*/ 271081 w 809625"/>
              <a:gd name="connsiteY22" fmla="*/ 581596 h 809625"/>
              <a:gd name="connsiteX23" fmla="*/ 228600 w 809625"/>
              <a:gd name="connsiteY23" fmla="*/ 538543 h 809625"/>
              <a:gd name="connsiteX24" fmla="*/ 220789 w 809625"/>
              <a:gd name="connsiteY24" fmla="*/ 496443 h 809625"/>
              <a:gd name="connsiteX25" fmla="*/ 219075 w 809625"/>
              <a:gd name="connsiteY25" fmla="*/ 404812 h 809625"/>
              <a:gd name="connsiteX26" fmla="*/ 220408 w 809625"/>
              <a:gd name="connsiteY26" fmla="*/ 313182 h 809625"/>
              <a:gd name="connsiteX27" fmla="*/ 228600 w 809625"/>
              <a:gd name="connsiteY27" fmla="*/ 271081 h 809625"/>
              <a:gd name="connsiteX28" fmla="*/ 271081 w 809625"/>
              <a:gd name="connsiteY28" fmla="*/ 228600 h 809625"/>
              <a:gd name="connsiteX29" fmla="*/ 313181 w 809625"/>
              <a:gd name="connsiteY29" fmla="*/ 220789 h 809625"/>
              <a:gd name="connsiteX30" fmla="*/ 404812 w 809625"/>
              <a:gd name="connsiteY30" fmla="*/ 219075 h 809625"/>
              <a:gd name="connsiteX31" fmla="*/ 405669 w 809625"/>
              <a:gd name="connsiteY31" fmla="*/ 177736 h 809625"/>
              <a:gd name="connsiteX32" fmla="*/ 404812 w 809625"/>
              <a:gd name="connsiteY32" fmla="*/ 178212 h 809625"/>
              <a:gd name="connsiteX33" fmla="*/ 311372 w 809625"/>
              <a:gd name="connsiteY33" fmla="*/ 179546 h 809625"/>
              <a:gd name="connsiteX34" fmla="*/ 256317 w 809625"/>
              <a:gd name="connsiteY34" fmla="*/ 190500 h 809625"/>
              <a:gd name="connsiteX35" fmla="*/ 189642 w 809625"/>
              <a:gd name="connsiteY35" fmla="*/ 257175 h 809625"/>
              <a:gd name="connsiteX36" fmla="*/ 179069 w 809625"/>
              <a:gd name="connsiteY36" fmla="*/ 312229 h 809625"/>
              <a:gd name="connsiteX37" fmla="*/ 177736 w 809625"/>
              <a:gd name="connsiteY37" fmla="*/ 405669 h 809625"/>
              <a:gd name="connsiteX38" fmla="*/ 179069 w 809625"/>
              <a:gd name="connsiteY38" fmla="*/ 499110 h 809625"/>
              <a:gd name="connsiteX39" fmla="*/ 190500 w 809625"/>
              <a:gd name="connsiteY39" fmla="*/ 553307 h 809625"/>
              <a:gd name="connsiteX40" fmla="*/ 257175 w 809625"/>
              <a:gd name="connsiteY40" fmla="*/ 619982 h 809625"/>
              <a:gd name="connsiteX41" fmla="*/ 312229 w 809625"/>
              <a:gd name="connsiteY41" fmla="*/ 630554 h 809625"/>
              <a:gd name="connsiteX42" fmla="*/ 405669 w 809625"/>
              <a:gd name="connsiteY42" fmla="*/ 631888 h 809625"/>
              <a:gd name="connsiteX43" fmla="*/ 499110 w 809625"/>
              <a:gd name="connsiteY43" fmla="*/ 630554 h 809625"/>
              <a:gd name="connsiteX44" fmla="*/ 554164 w 809625"/>
              <a:gd name="connsiteY44" fmla="*/ 619982 h 809625"/>
              <a:gd name="connsiteX45" fmla="*/ 620839 w 809625"/>
              <a:gd name="connsiteY45" fmla="*/ 553307 h 809625"/>
              <a:gd name="connsiteX46" fmla="*/ 631412 w 809625"/>
              <a:gd name="connsiteY46" fmla="*/ 498252 h 809625"/>
              <a:gd name="connsiteX47" fmla="*/ 632745 w 809625"/>
              <a:gd name="connsiteY47" fmla="*/ 404812 h 809625"/>
              <a:gd name="connsiteX48" fmla="*/ 631412 w 809625"/>
              <a:gd name="connsiteY48" fmla="*/ 311372 h 809625"/>
              <a:gd name="connsiteX49" fmla="*/ 620839 w 809625"/>
              <a:gd name="connsiteY49" fmla="*/ 256317 h 809625"/>
              <a:gd name="connsiteX50" fmla="*/ 554164 w 809625"/>
              <a:gd name="connsiteY50" fmla="*/ 189642 h 809625"/>
              <a:gd name="connsiteX51" fmla="*/ 499110 w 809625"/>
              <a:gd name="connsiteY51" fmla="*/ 179069 h 809625"/>
              <a:gd name="connsiteX52" fmla="*/ 405669 w 809625"/>
              <a:gd name="connsiteY52" fmla="*/ 177736 h 809625"/>
              <a:gd name="connsiteX53" fmla="*/ 404813 w 809625"/>
              <a:gd name="connsiteY53" fmla="*/ 0 h 809625"/>
              <a:gd name="connsiteX54" fmla="*/ 809625 w 809625"/>
              <a:gd name="connsiteY54" fmla="*/ 404813 h 809625"/>
              <a:gd name="connsiteX55" fmla="*/ 404813 w 809625"/>
              <a:gd name="connsiteY55" fmla="*/ 809625 h 809625"/>
              <a:gd name="connsiteX56" fmla="*/ 0 w 809625"/>
              <a:gd name="connsiteY56" fmla="*/ 404813 h 809625"/>
              <a:gd name="connsiteX57" fmla="*/ 404813 w 809625"/>
              <a:gd name="connsiteY57" fmla="*/ 0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809625" h="809625">
                <a:moveTo>
                  <a:pt x="404812" y="288417"/>
                </a:moveTo>
                <a:cubicBezTo>
                  <a:pt x="340529" y="288417"/>
                  <a:pt x="288417" y="340529"/>
                  <a:pt x="288417" y="404812"/>
                </a:cubicBezTo>
                <a:cubicBezTo>
                  <a:pt x="288417" y="469096"/>
                  <a:pt x="340529" y="521208"/>
                  <a:pt x="404812" y="521208"/>
                </a:cubicBezTo>
                <a:cubicBezTo>
                  <a:pt x="469096" y="521208"/>
                  <a:pt x="521208" y="469096"/>
                  <a:pt x="521208" y="404812"/>
                </a:cubicBezTo>
                <a:cubicBezTo>
                  <a:pt x="521208" y="340529"/>
                  <a:pt x="469096" y="288417"/>
                  <a:pt x="404812" y="288417"/>
                </a:cubicBezTo>
                <a:close/>
                <a:moveTo>
                  <a:pt x="525780" y="256603"/>
                </a:moveTo>
                <a:cubicBezTo>
                  <a:pt x="510734" y="256603"/>
                  <a:pt x="498538" y="268799"/>
                  <a:pt x="498538" y="283844"/>
                </a:cubicBezTo>
                <a:cubicBezTo>
                  <a:pt x="498538" y="298890"/>
                  <a:pt x="510734" y="311086"/>
                  <a:pt x="525780" y="311086"/>
                </a:cubicBezTo>
                <a:cubicBezTo>
                  <a:pt x="540825" y="311086"/>
                  <a:pt x="553021" y="298890"/>
                  <a:pt x="553021" y="283844"/>
                </a:cubicBezTo>
                <a:cubicBezTo>
                  <a:pt x="553021" y="268799"/>
                  <a:pt x="540825" y="256603"/>
                  <a:pt x="525780" y="256603"/>
                </a:cubicBezTo>
                <a:close/>
                <a:moveTo>
                  <a:pt x="404812" y="219075"/>
                </a:moveTo>
                <a:cubicBezTo>
                  <a:pt x="465296" y="219075"/>
                  <a:pt x="472535" y="219075"/>
                  <a:pt x="496443" y="220408"/>
                </a:cubicBezTo>
                <a:cubicBezTo>
                  <a:pt x="510824" y="220533"/>
                  <a:pt x="525073" y="223177"/>
                  <a:pt x="538543" y="228218"/>
                </a:cubicBezTo>
                <a:cubicBezTo>
                  <a:pt x="558257" y="235874"/>
                  <a:pt x="573845" y="251463"/>
                  <a:pt x="581501" y="271176"/>
                </a:cubicBezTo>
                <a:cubicBezTo>
                  <a:pt x="586542" y="284646"/>
                  <a:pt x="589186" y="298895"/>
                  <a:pt x="589311" y="313277"/>
                </a:cubicBezTo>
                <a:cubicBezTo>
                  <a:pt x="590454" y="337185"/>
                  <a:pt x="590645" y="344424"/>
                  <a:pt x="590645" y="404907"/>
                </a:cubicBezTo>
                <a:cubicBezTo>
                  <a:pt x="590645" y="465391"/>
                  <a:pt x="590645" y="472630"/>
                  <a:pt x="589311" y="496538"/>
                </a:cubicBezTo>
                <a:cubicBezTo>
                  <a:pt x="589186" y="510920"/>
                  <a:pt x="586543" y="525168"/>
                  <a:pt x="581501" y="538638"/>
                </a:cubicBezTo>
                <a:cubicBezTo>
                  <a:pt x="573845" y="558352"/>
                  <a:pt x="558257" y="573940"/>
                  <a:pt x="538543" y="581596"/>
                </a:cubicBezTo>
                <a:cubicBezTo>
                  <a:pt x="525073" y="586638"/>
                  <a:pt x="510824" y="589281"/>
                  <a:pt x="496443" y="589406"/>
                </a:cubicBezTo>
                <a:cubicBezTo>
                  <a:pt x="472535" y="590550"/>
                  <a:pt x="465391" y="590740"/>
                  <a:pt x="404812" y="590740"/>
                </a:cubicBezTo>
                <a:cubicBezTo>
                  <a:pt x="344233" y="590740"/>
                  <a:pt x="337089" y="590740"/>
                  <a:pt x="313182" y="589407"/>
                </a:cubicBezTo>
                <a:cubicBezTo>
                  <a:pt x="298800" y="589281"/>
                  <a:pt x="284551" y="586638"/>
                  <a:pt x="271081" y="581596"/>
                </a:cubicBezTo>
                <a:cubicBezTo>
                  <a:pt x="251529" y="573808"/>
                  <a:pt x="236125" y="558197"/>
                  <a:pt x="228600" y="538543"/>
                </a:cubicBezTo>
                <a:cubicBezTo>
                  <a:pt x="223558" y="525073"/>
                  <a:pt x="220914" y="510824"/>
                  <a:pt x="220789" y="496443"/>
                </a:cubicBezTo>
                <a:cubicBezTo>
                  <a:pt x="219075" y="472535"/>
                  <a:pt x="219075" y="465296"/>
                  <a:pt x="219075" y="404812"/>
                </a:cubicBezTo>
                <a:cubicBezTo>
                  <a:pt x="219075" y="344328"/>
                  <a:pt x="219075" y="337089"/>
                  <a:pt x="220408" y="313182"/>
                </a:cubicBezTo>
                <a:cubicBezTo>
                  <a:pt x="220655" y="298777"/>
                  <a:pt x="223428" y="284527"/>
                  <a:pt x="228600" y="271081"/>
                </a:cubicBezTo>
                <a:cubicBezTo>
                  <a:pt x="236258" y="251643"/>
                  <a:pt x="251643" y="236258"/>
                  <a:pt x="271081" y="228600"/>
                </a:cubicBezTo>
                <a:cubicBezTo>
                  <a:pt x="284551" y="223558"/>
                  <a:pt x="298800" y="220914"/>
                  <a:pt x="313181" y="220789"/>
                </a:cubicBezTo>
                <a:cubicBezTo>
                  <a:pt x="337089" y="219075"/>
                  <a:pt x="344328" y="219075"/>
                  <a:pt x="404812" y="219075"/>
                </a:cubicBezTo>
                <a:close/>
                <a:moveTo>
                  <a:pt x="405669" y="177736"/>
                </a:moveTo>
                <a:lnTo>
                  <a:pt x="404812" y="178212"/>
                </a:lnTo>
                <a:cubicBezTo>
                  <a:pt x="343281" y="178212"/>
                  <a:pt x="335565" y="178212"/>
                  <a:pt x="311372" y="179546"/>
                </a:cubicBezTo>
                <a:cubicBezTo>
                  <a:pt x="292533" y="180057"/>
                  <a:pt x="273917" y="183760"/>
                  <a:pt x="256317" y="190500"/>
                </a:cubicBezTo>
                <a:cubicBezTo>
                  <a:pt x="225602" y="202200"/>
                  <a:pt x="201343" y="226459"/>
                  <a:pt x="189642" y="257175"/>
                </a:cubicBezTo>
                <a:cubicBezTo>
                  <a:pt x="183033" y="274797"/>
                  <a:pt x="179458" y="293412"/>
                  <a:pt x="179069" y="312229"/>
                </a:cubicBezTo>
                <a:cubicBezTo>
                  <a:pt x="178022" y="336423"/>
                  <a:pt x="177736" y="344138"/>
                  <a:pt x="177736" y="405669"/>
                </a:cubicBezTo>
                <a:cubicBezTo>
                  <a:pt x="177736" y="467201"/>
                  <a:pt x="177736" y="474916"/>
                  <a:pt x="179069" y="499110"/>
                </a:cubicBezTo>
                <a:cubicBezTo>
                  <a:pt x="179828" y="517687"/>
                  <a:pt x="183692" y="536005"/>
                  <a:pt x="190500" y="553307"/>
                </a:cubicBezTo>
                <a:cubicBezTo>
                  <a:pt x="202200" y="584022"/>
                  <a:pt x="226459" y="608281"/>
                  <a:pt x="257175" y="619982"/>
                </a:cubicBezTo>
                <a:cubicBezTo>
                  <a:pt x="274797" y="626591"/>
                  <a:pt x="293412" y="630165"/>
                  <a:pt x="312229" y="630554"/>
                </a:cubicBezTo>
                <a:cubicBezTo>
                  <a:pt x="336423" y="631602"/>
                  <a:pt x="344138" y="631888"/>
                  <a:pt x="405669" y="631888"/>
                </a:cubicBezTo>
                <a:cubicBezTo>
                  <a:pt x="467201" y="631888"/>
                  <a:pt x="474916" y="631888"/>
                  <a:pt x="499110" y="630554"/>
                </a:cubicBezTo>
                <a:cubicBezTo>
                  <a:pt x="517927" y="630165"/>
                  <a:pt x="536542" y="626591"/>
                  <a:pt x="554164" y="619982"/>
                </a:cubicBezTo>
                <a:cubicBezTo>
                  <a:pt x="584880" y="608281"/>
                  <a:pt x="609138" y="584022"/>
                  <a:pt x="620839" y="553307"/>
                </a:cubicBezTo>
                <a:cubicBezTo>
                  <a:pt x="627448" y="535684"/>
                  <a:pt x="631023" y="517069"/>
                  <a:pt x="631412" y="498252"/>
                </a:cubicBezTo>
                <a:cubicBezTo>
                  <a:pt x="632460" y="474059"/>
                  <a:pt x="632745" y="466344"/>
                  <a:pt x="632745" y="404812"/>
                </a:cubicBezTo>
                <a:cubicBezTo>
                  <a:pt x="632745" y="343281"/>
                  <a:pt x="632745" y="335565"/>
                  <a:pt x="631412" y="311372"/>
                </a:cubicBezTo>
                <a:cubicBezTo>
                  <a:pt x="631023" y="292555"/>
                  <a:pt x="627448" y="273940"/>
                  <a:pt x="620839" y="256317"/>
                </a:cubicBezTo>
                <a:cubicBezTo>
                  <a:pt x="609138" y="225602"/>
                  <a:pt x="584880" y="201343"/>
                  <a:pt x="554164" y="189642"/>
                </a:cubicBezTo>
                <a:cubicBezTo>
                  <a:pt x="536542" y="183033"/>
                  <a:pt x="517927" y="179458"/>
                  <a:pt x="499110" y="179069"/>
                </a:cubicBezTo>
                <a:cubicBezTo>
                  <a:pt x="474916" y="178022"/>
                  <a:pt x="467201" y="177736"/>
                  <a:pt x="405669" y="177736"/>
                </a:cubicBezTo>
                <a:close/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37645F6A-EDD9-42D2-A01C-F8414798D57C}"/>
              </a:ext>
            </a:extLst>
          </p:cNvPr>
          <p:cNvSpPr>
            <a:spLocks noChangeAspect="1"/>
          </p:cNvSpPr>
          <p:nvPr/>
        </p:nvSpPr>
        <p:spPr>
          <a:xfrm>
            <a:off x="9446029" y="4501548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207835 w 809625"/>
              <a:gd name="connsiteY5" fmla="*/ 183451 h 809625"/>
              <a:gd name="connsiteX6" fmla="*/ 183451 w 809625"/>
              <a:gd name="connsiteY6" fmla="*/ 207835 h 809625"/>
              <a:gd name="connsiteX7" fmla="*/ 183451 w 809625"/>
              <a:gd name="connsiteY7" fmla="*/ 601789 h 809625"/>
              <a:gd name="connsiteX8" fmla="*/ 207835 w 809625"/>
              <a:gd name="connsiteY8" fmla="*/ 626173 h 809625"/>
              <a:gd name="connsiteX9" fmla="*/ 419957 w 809625"/>
              <a:gd name="connsiteY9" fmla="*/ 626173 h 809625"/>
              <a:gd name="connsiteX10" fmla="*/ 419957 w 809625"/>
              <a:gd name="connsiteY10" fmla="*/ 454723 h 809625"/>
              <a:gd name="connsiteX11" fmla="*/ 361950 w 809625"/>
              <a:gd name="connsiteY11" fmla="*/ 454723 h 809625"/>
              <a:gd name="connsiteX12" fmla="*/ 361950 w 809625"/>
              <a:gd name="connsiteY12" fmla="*/ 388048 h 809625"/>
              <a:gd name="connsiteX13" fmla="*/ 419671 w 809625"/>
              <a:gd name="connsiteY13" fmla="*/ 388048 h 809625"/>
              <a:gd name="connsiteX14" fmla="*/ 419671 w 809625"/>
              <a:gd name="connsiteY14" fmla="*/ 338613 h 809625"/>
              <a:gd name="connsiteX15" fmla="*/ 505396 w 809625"/>
              <a:gd name="connsiteY15" fmla="*/ 250317 h 809625"/>
              <a:gd name="connsiteX16" fmla="*/ 556926 w 809625"/>
              <a:gd name="connsiteY16" fmla="*/ 252984 h 809625"/>
              <a:gd name="connsiteX17" fmla="*/ 556926 w 809625"/>
              <a:gd name="connsiteY17" fmla="*/ 312705 h 809625"/>
              <a:gd name="connsiteX18" fmla="*/ 522065 w 809625"/>
              <a:gd name="connsiteY18" fmla="*/ 312705 h 809625"/>
              <a:gd name="connsiteX19" fmla="*/ 488918 w 809625"/>
              <a:gd name="connsiteY19" fmla="*/ 345281 h 809625"/>
              <a:gd name="connsiteX20" fmla="*/ 488918 w 809625"/>
              <a:gd name="connsiteY20" fmla="*/ 387953 h 809625"/>
              <a:gd name="connsiteX21" fmla="*/ 555593 w 809625"/>
              <a:gd name="connsiteY21" fmla="*/ 387953 h 809625"/>
              <a:gd name="connsiteX22" fmla="*/ 546925 w 809625"/>
              <a:gd name="connsiteY22" fmla="*/ 454628 h 809625"/>
              <a:gd name="connsiteX23" fmla="*/ 489775 w 809625"/>
              <a:gd name="connsiteY23" fmla="*/ 454628 h 809625"/>
              <a:gd name="connsiteX24" fmla="*/ 489775 w 809625"/>
              <a:gd name="connsiteY24" fmla="*/ 626078 h 809625"/>
              <a:gd name="connsiteX25" fmla="*/ 601789 w 809625"/>
              <a:gd name="connsiteY25" fmla="*/ 626078 h 809625"/>
              <a:gd name="connsiteX26" fmla="*/ 626173 w 809625"/>
              <a:gd name="connsiteY26" fmla="*/ 601694 h 809625"/>
              <a:gd name="connsiteX27" fmla="*/ 626173 w 809625"/>
              <a:gd name="connsiteY27" fmla="*/ 207835 h 809625"/>
              <a:gd name="connsiteX28" fmla="*/ 601789 w 809625"/>
              <a:gd name="connsiteY28" fmla="*/ 183451 h 809625"/>
              <a:gd name="connsiteX29" fmla="*/ 207835 w 809625"/>
              <a:gd name="connsiteY29" fmla="*/ 183451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207835" y="183451"/>
                </a:moveTo>
                <a:cubicBezTo>
                  <a:pt x="194368" y="183451"/>
                  <a:pt x="183451" y="194368"/>
                  <a:pt x="183451" y="207835"/>
                </a:cubicBezTo>
                <a:lnTo>
                  <a:pt x="183451" y="601789"/>
                </a:lnTo>
                <a:cubicBezTo>
                  <a:pt x="183451" y="615256"/>
                  <a:pt x="194368" y="626173"/>
                  <a:pt x="207835" y="626173"/>
                </a:cubicBezTo>
                <a:lnTo>
                  <a:pt x="419957" y="626173"/>
                </a:lnTo>
                <a:lnTo>
                  <a:pt x="419957" y="454723"/>
                </a:lnTo>
                <a:lnTo>
                  <a:pt x="361950" y="454723"/>
                </a:lnTo>
                <a:lnTo>
                  <a:pt x="361950" y="388048"/>
                </a:lnTo>
                <a:lnTo>
                  <a:pt x="419671" y="388048"/>
                </a:lnTo>
                <a:lnTo>
                  <a:pt x="419671" y="338613"/>
                </a:lnTo>
                <a:cubicBezTo>
                  <a:pt x="419671" y="281463"/>
                  <a:pt x="454533" y="250317"/>
                  <a:pt x="505396" y="250317"/>
                </a:cubicBezTo>
                <a:cubicBezTo>
                  <a:pt x="522609" y="250238"/>
                  <a:pt x="539813" y="251128"/>
                  <a:pt x="556926" y="252984"/>
                </a:cubicBezTo>
                <a:lnTo>
                  <a:pt x="556926" y="312705"/>
                </a:lnTo>
                <a:lnTo>
                  <a:pt x="522065" y="312705"/>
                </a:lnTo>
                <a:cubicBezTo>
                  <a:pt x="494252" y="312705"/>
                  <a:pt x="488918" y="325945"/>
                  <a:pt x="488918" y="345281"/>
                </a:cubicBezTo>
                <a:lnTo>
                  <a:pt x="488918" y="387953"/>
                </a:lnTo>
                <a:lnTo>
                  <a:pt x="555593" y="387953"/>
                </a:lnTo>
                <a:lnTo>
                  <a:pt x="546925" y="454628"/>
                </a:lnTo>
                <a:lnTo>
                  <a:pt x="489775" y="454628"/>
                </a:lnTo>
                <a:lnTo>
                  <a:pt x="489775" y="626078"/>
                </a:lnTo>
                <a:lnTo>
                  <a:pt x="601789" y="626078"/>
                </a:lnTo>
                <a:cubicBezTo>
                  <a:pt x="615256" y="626078"/>
                  <a:pt x="626173" y="615161"/>
                  <a:pt x="626173" y="601694"/>
                </a:cubicBezTo>
                <a:lnTo>
                  <a:pt x="626173" y="207835"/>
                </a:lnTo>
                <a:cubicBezTo>
                  <a:pt x="626173" y="194368"/>
                  <a:pt x="615256" y="183451"/>
                  <a:pt x="601789" y="183451"/>
                </a:cubicBezTo>
                <a:lnTo>
                  <a:pt x="207835" y="183451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2C0FD023-579A-62CD-4A09-817C603D34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4484" y="2549185"/>
            <a:ext cx="1976093" cy="879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5339415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76849F14-4971-4208-82A8-1F0513897926}"/>
              </a:ext>
            </a:extLst>
          </p:cNvPr>
          <p:cNvSpPr/>
          <p:nvPr userDrawn="1"/>
        </p:nvSpPr>
        <p:spPr>
          <a:xfrm>
            <a:off x="719400" y="-2"/>
            <a:ext cx="107532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096AA35B-6D3E-4809-9D78-9CF31081E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9400" y="-2"/>
            <a:ext cx="4680000" cy="4068000"/>
          </a:xfrm>
          <a:solidFill>
            <a:schemeClr val="tx2"/>
          </a:solidFill>
        </p:spPr>
        <p:txBody>
          <a:bodyPr lIns="342000" tIns="342000" rIns="0" bIns="504000" anchor="b" anchorCtr="0"/>
          <a:lstStyle>
            <a:lvl1pPr>
              <a:defRPr sz="4500">
                <a:solidFill>
                  <a:schemeClr val="accent1"/>
                </a:solidFill>
              </a:defRPr>
            </a:lvl1pPr>
          </a:lstStyle>
          <a:p>
            <a:r>
              <a:rPr lang="en-US"/>
              <a:t>Thank you</a:t>
            </a:r>
            <a:endParaRPr lang="en-AU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FD95F930-CD55-469B-9FD0-1150DA73B39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-2"/>
            <a:ext cx="12192000" cy="6876000"/>
          </a:xfrm>
          <a:custGeom>
            <a:avLst/>
            <a:gdLst>
              <a:gd name="connsiteX0" fmla="*/ 114726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472600 w 12192000"/>
              <a:gd name="connsiteY3" fmla="*/ 6858000 h 6858000"/>
              <a:gd name="connsiteX4" fmla="*/ 0 w 12192000"/>
              <a:gd name="connsiteY4" fmla="*/ 0 h 6858000"/>
              <a:gd name="connsiteX5" fmla="*/ 719400 w 12192000"/>
              <a:gd name="connsiteY5" fmla="*/ 0 h 6858000"/>
              <a:gd name="connsiteX6" fmla="*/ 7194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14726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472600" y="6858000"/>
                </a:lnTo>
                <a:close/>
                <a:moveTo>
                  <a:pt x="0" y="0"/>
                </a:moveTo>
                <a:lnTo>
                  <a:pt x="719400" y="0"/>
                </a:lnTo>
                <a:lnTo>
                  <a:pt x="7194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08000" tIns="108000" rIns="115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F8BC909C-567D-4F9C-A0DF-D05DE8F82075}"/>
              </a:ext>
            </a:extLst>
          </p:cNvPr>
          <p:cNvSpPr>
            <a:spLocks noChangeAspect="1"/>
          </p:cNvSpPr>
          <p:nvPr/>
        </p:nvSpPr>
        <p:spPr>
          <a:xfrm>
            <a:off x="7916652" y="4501548"/>
            <a:ext cx="242382" cy="242382"/>
          </a:xfrm>
          <a:custGeom>
            <a:avLst/>
            <a:gdLst>
              <a:gd name="connsiteX0" fmla="*/ 357950 w 809625"/>
              <a:gd name="connsiteY0" fmla="*/ 333375 h 809625"/>
              <a:gd name="connsiteX1" fmla="*/ 480537 w 809625"/>
              <a:gd name="connsiteY1" fmla="*/ 397002 h 809625"/>
              <a:gd name="connsiteX2" fmla="*/ 357950 w 809625"/>
              <a:gd name="connsiteY2" fmla="*/ 460439 h 809625"/>
              <a:gd name="connsiteX3" fmla="*/ 242887 w 809625"/>
              <a:gd name="connsiteY3" fmla="*/ 249555 h 809625"/>
              <a:gd name="connsiteX4" fmla="*/ 178117 w 809625"/>
              <a:gd name="connsiteY4" fmla="*/ 314325 h 809625"/>
              <a:gd name="connsiteX5" fmla="*/ 178117 w 809625"/>
              <a:gd name="connsiteY5" fmla="*/ 495300 h 809625"/>
              <a:gd name="connsiteX6" fmla="*/ 242887 w 809625"/>
              <a:gd name="connsiteY6" fmla="*/ 560070 h 809625"/>
              <a:gd name="connsiteX7" fmla="*/ 566737 w 809625"/>
              <a:gd name="connsiteY7" fmla="*/ 560070 h 809625"/>
              <a:gd name="connsiteX8" fmla="*/ 631507 w 809625"/>
              <a:gd name="connsiteY8" fmla="*/ 495300 h 809625"/>
              <a:gd name="connsiteX9" fmla="*/ 631507 w 809625"/>
              <a:gd name="connsiteY9" fmla="*/ 314325 h 809625"/>
              <a:gd name="connsiteX10" fmla="*/ 566737 w 809625"/>
              <a:gd name="connsiteY10" fmla="*/ 249555 h 809625"/>
              <a:gd name="connsiteX11" fmla="*/ 404813 w 809625"/>
              <a:gd name="connsiteY11" fmla="*/ 0 h 809625"/>
              <a:gd name="connsiteX12" fmla="*/ 809625 w 809625"/>
              <a:gd name="connsiteY12" fmla="*/ 404813 h 809625"/>
              <a:gd name="connsiteX13" fmla="*/ 404813 w 809625"/>
              <a:gd name="connsiteY13" fmla="*/ 809625 h 809625"/>
              <a:gd name="connsiteX14" fmla="*/ 0 w 809625"/>
              <a:gd name="connsiteY14" fmla="*/ 404813 h 809625"/>
              <a:gd name="connsiteX15" fmla="*/ 404813 w 809625"/>
              <a:gd name="connsiteY15" fmla="*/ 0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809625" h="809625">
                <a:moveTo>
                  <a:pt x="357950" y="333375"/>
                </a:moveTo>
                <a:lnTo>
                  <a:pt x="480537" y="397002"/>
                </a:lnTo>
                <a:lnTo>
                  <a:pt x="357950" y="460439"/>
                </a:lnTo>
                <a:close/>
                <a:moveTo>
                  <a:pt x="242887" y="249555"/>
                </a:moveTo>
                <a:cubicBezTo>
                  <a:pt x="207159" y="249660"/>
                  <a:pt x="178222" y="278597"/>
                  <a:pt x="178117" y="314325"/>
                </a:cubicBezTo>
                <a:lnTo>
                  <a:pt x="178117" y="495300"/>
                </a:lnTo>
                <a:cubicBezTo>
                  <a:pt x="178222" y="531028"/>
                  <a:pt x="207159" y="559965"/>
                  <a:pt x="242887" y="560070"/>
                </a:cubicBezTo>
                <a:lnTo>
                  <a:pt x="566737" y="560070"/>
                </a:lnTo>
                <a:cubicBezTo>
                  <a:pt x="602465" y="559965"/>
                  <a:pt x="631402" y="531028"/>
                  <a:pt x="631507" y="495300"/>
                </a:cubicBezTo>
                <a:lnTo>
                  <a:pt x="631507" y="314325"/>
                </a:lnTo>
                <a:cubicBezTo>
                  <a:pt x="631402" y="278597"/>
                  <a:pt x="602465" y="249660"/>
                  <a:pt x="566737" y="249555"/>
                </a:cubicBezTo>
                <a:close/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2487C176-18A9-4BB0-BD80-DEC34233A800}"/>
              </a:ext>
            </a:extLst>
          </p:cNvPr>
          <p:cNvSpPr>
            <a:spLocks noChangeAspect="1"/>
          </p:cNvSpPr>
          <p:nvPr/>
        </p:nvSpPr>
        <p:spPr>
          <a:xfrm>
            <a:off x="8298996" y="4501548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495146 w 809625"/>
              <a:gd name="connsiteY5" fmla="*/ 220645 h 809625"/>
              <a:gd name="connsiteX6" fmla="*/ 428527 w 809625"/>
              <a:gd name="connsiteY6" fmla="*/ 245841 h 809625"/>
              <a:gd name="connsiteX7" fmla="*/ 399192 w 809625"/>
              <a:gd name="connsiteY7" fmla="*/ 313563 h 809625"/>
              <a:gd name="connsiteX8" fmla="*/ 401573 w 809625"/>
              <a:gd name="connsiteY8" fmla="*/ 334803 h 809625"/>
              <a:gd name="connsiteX9" fmla="*/ 209549 w 809625"/>
              <a:gd name="connsiteY9" fmla="*/ 238125 h 809625"/>
              <a:gd name="connsiteX10" fmla="*/ 238124 w 809625"/>
              <a:gd name="connsiteY10" fmla="*/ 361950 h 809625"/>
              <a:gd name="connsiteX11" fmla="*/ 195928 w 809625"/>
              <a:gd name="connsiteY11" fmla="*/ 350329 h 809625"/>
              <a:gd name="connsiteX12" fmla="*/ 195929 w 809625"/>
              <a:gd name="connsiteY12" fmla="*/ 351567 h 809625"/>
              <a:gd name="connsiteX13" fmla="*/ 270605 w 809625"/>
              <a:gd name="connsiteY13" fmla="*/ 442722 h 809625"/>
              <a:gd name="connsiteX14" fmla="*/ 228599 w 809625"/>
              <a:gd name="connsiteY14" fmla="*/ 444341 h 809625"/>
              <a:gd name="connsiteX15" fmla="*/ 315467 w 809625"/>
              <a:gd name="connsiteY15" fmla="*/ 508920 h 809625"/>
              <a:gd name="connsiteX16" fmla="*/ 200024 w 809625"/>
              <a:gd name="connsiteY16" fmla="*/ 548544 h 809625"/>
              <a:gd name="connsiteX17" fmla="*/ 177831 w 809625"/>
              <a:gd name="connsiteY17" fmla="*/ 547211 h 809625"/>
              <a:gd name="connsiteX18" fmla="*/ 320706 w 809625"/>
              <a:gd name="connsiteY18" fmla="*/ 589026 h 809625"/>
              <a:gd name="connsiteX19" fmla="*/ 585406 w 809625"/>
              <a:gd name="connsiteY19" fmla="*/ 324421 h 809625"/>
              <a:gd name="connsiteX20" fmla="*/ 585406 w 809625"/>
              <a:gd name="connsiteY20" fmla="*/ 312324 h 809625"/>
              <a:gd name="connsiteX21" fmla="*/ 631507 w 809625"/>
              <a:gd name="connsiteY21" fmla="*/ 264223 h 809625"/>
              <a:gd name="connsiteX22" fmla="*/ 578072 w 809625"/>
              <a:gd name="connsiteY22" fmla="*/ 278892 h 809625"/>
              <a:gd name="connsiteX23" fmla="*/ 619124 w 809625"/>
              <a:gd name="connsiteY23" fmla="*/ 227361 h 809625"/>
              <a:gd name="connsiteX24" fmla="*/ 560069 w 809625"/>
              <a:gd name="connsiteY24" fmla="*/ 249936 h 809625"/>
              <a:gd name="connsiteX25" fmla="*/ 495146 w 809625"/>
              <a:gd name="connsiteY25" fmla="*/ 220645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495146" y="220645"/>
                </a:moveTo>
                <a:cubicBezTo>
                  <a:pt x="471342" y="219904"/>
                  <a:pt x="447255" y="228245"/>
                  <a:pt x="428527" y="245841"/>
                </a:cubicBezTo>
                <a:cubicBezTo>
                  <a:pt x="409833" y="263407"/>
                  <a:pt x="399219" y="287911"/>
                  <a:pt x="399192" y="313563"/>
                </a:cubicBezTo>
                <a:cubicBezTo>
                  <a:pt x="399204" y="320709"/>
                  <a:pt x="400003" y="327832"/>
                  <a:pt x="401573" y="334803"/>
                </a:cubicBezTo>
                <a:cubicBezTo>
                  <a:pt x="326768" y="331204"/>
                  <a:pt x="256991" y="296073"/>
                  <a:pt x="209549" y="238125"/>
                </a:cubicBezTo>
                <a:cubicBezTo>
                  <a:pt x="185023" y="280491"/>
                  <a:pt x="197513" y="334615"/>
                  <a:pt x="238124" y="361950"/>
                </a:cubicBezTo>
                <a:cubicBezTo>
                  <a:pt x="223336" y="361482"/>
                  <a:pt x="208871" y="357499"/>
                  <a:pt x="195928" y="350329"/>
                </a:cubicBezTo>
                <a:lnTo>
                  <a:pt x="195929" y="351567"/>
                </a:lnTo>
                <a:cubicBezTo>
                  <a:pt x="195962" y="395849"/>
                  <a:pt x="227195" y="433974"/>
                  <a:pt x="270605" y="442722"/>
                </a:cubicBezTo>
                <a:cubicBezTo>
                  <a:pt x="256901" y="446399"/>
                  <a:pt x="242546" y="446952"/>
                  <a:pt x="228599" y="444341"/>
                </a:cubicBezTo>
                <a:cubicBezTo>
                  <a:pt x="240745" y="482243"/>
                  <a:pt x="275672" y="508209"/>
                  <a:pt x="315467" y="508920"/>
                </a:cubicBezTo>
                <a:cubicBezTo>
                  <a:pt x="282513" y="534690"/>
                  <a:pt x="241858" y="548644"/>
                  <a:pt x="200024" y="548544"/>
                </a:cubicBezTo>
                <a:cubicBezTo>
                  <a:pt x="192607" y="548536"/>
                  <a:pt x="185196" y="548091"/>
                  <a:pt x="177831" y="547211"/>
                </a:cubicBezTo>
                <a:cubicBezTo>
                  <a:pt x="220421" y="574649"/>
                  <a:pt x="270043" y="589172"/>
                  <a:pt x="320706" y="589026"/>
                </a:cubicBezTo>
                <a:cubicBezTo>
                  <a:pt x="492156" y="589026"/>
                  <a:pt x="585406" y="447294"/>
                  <a:pt x="585406" y="324421"/>
                </a:cubicBezTo>
                <a:cubicBezTo>
                  <a:pt x="585406" y="320325"/>
                  <a:pt x="585406" y="316325"/>
                  <a:pt x="585406" y="312324"/>
                </a:cubicBezTo>
                <a:cubicBezTo>
                  <a:pt x="603503" y="299151"/>
                  <a:pt x="619113" y="282863"/>
                  <a:pt x="631507" y="264223"/>
                </a:cubicBezTo>
                <a:cubicBezTo>
                  <a:pt x="614513" y="271713"/>
                  <a:pt x="596508" y="276656"/>
                  <a:pt x="578072" y="278892"/>
                </a:cubicBezTo>
                <a:cubicBezTo>
                  <a:pt x="597588" y="267302"/>
                  <a:pt x="612190" y="248974"/>
                  <a:pt x="619124" y="227361"/>
                </a:cubicBezTo>
                <a:cubicBezTo>
                  <a:pt x="600877" y="238213"/>
                  <a:pt x="580902" y="245848"/>
                  <a:pt x="560069" y="249936"/>
                </a:cubicBezTo>
                <a:cubicBezTo>
                  <a:pt x="542473" y="231209"/>
                  <a:pt x="518951" y="221387"/>
                  <a:pt x="495146" y="22064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41393088-2A2D-4F19-A536-4C5B46718A69}"/>
              </a:ext>
            </a:extLst>
          </p:cNvPr>
          <p:cNvSpPr>
            <a:spLocks noChangeAspect="1"/>
          </p:cNvSpPr>
          <p:nvPr userDrawn="1"/>
        </p:nvSpPr>
        <p:spPr>
          <a:xfrm>
            <a:off x="8681340" y="4501548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230981 w 809625"/>
              <a:gd name="connsiteY5" fmla="*/ 177069 h 809625"/>
              <a:gd name="connsiteX6" fmla="*/ 176498 w 809625"/>
              <a:gd name="connsiteY6" fmla="*/ 231552 h 809625"/>
              <a:gd name="connsiteX7" fmla="*/ 230981 w 809625"/>
              <a:gd name="connsiteY7" fmla="*/ 286035 h 809625"/>
              <a:gd name="connsiteX8" fmla="*/ 285464 w 809625"/>
              <a:gd name="connsiteY8" fmla="*/ 231552 h 809625"/>
              <a:gd name="connsiteX9" fmla="*/ 230981 w 809625"/>
              <a:gd name="connsiteY9" fmla="*/ 177069 h 809625"/>
              <a:gd name="connsiteX10" fmla="*/ 517493 w 809625"/>
              <a:gd name="connsiteY10" fmla="*/ 319849 h 809625"/>
              <a:gd name="connsiteX11" fmla="*/ 428625 w 809625"/>
              <a:gd name="connsiteY11" fmla="*/ 368617 h 809625"/>
              <a:gd name="connsiteX12" fmla="*/ 426910 w 809625"/>
              <a:gd name="connsiteY12" fmla="*/ 368617 h 809625"/>
              <a:gd name="connsiteX13" fmla="*/ 426910 w 809625"/>
              <a:gd name="connsiteY13" fmla="*/ 327278 h 809625"/>
              <a:gd name="connsiteX14" fmla="*/ 336899 w 809625"/>
              <a:gd name="connsiteY14" fmla="*/ 327278 h 809625"/>
              <a:gd name="connsiteX15" fmla="*/ 336899 w 809625"/>
              <a:gd name="connsiteY15" fmla="*/ 629602 h 809625"/>
              <a:gd name="connsiteX16" fmla="*/ 430720 w 809625"/>
              <a:gd name="connsiteY16" fmla="*/ 629602 h 809625"/>
              <a:gd name="connsiteX17" fmla="*/ 430720 w 809625"/>
              <a:gd name="connsiteY17" fmla="*/ 480059 h 809625"/>
              <a:gd name="connsiteX18" fmla="*/ 487108 w 809625"/>
              <a:gd name="connsiteY18" fmla="*/ 402430 h 809625"/>
              <a:gd name="connsiteX19" fmla="*/ 535876 w 809625"/>
              <a:gd name="connsiteY19" fmla="*/ 482631 h 809625"/>
              <a:gd name="connsiteX20" fmla="*/ 535876 w 809625"/>
              <a:gd name="connsiteY20" fmla="*/ 629602 h 809625"/>
              <a:gd name="connsiteX21" fmla="*/ 630174 w 809625"/>
              <a:gd name="connsiteY21" fmla="*/ 629602 h 809625"/>
              <a:gd name="connsiteX22" fmla="*/ 630174 w 809625"/>
              <a:gd name="connsiteY22" fmla="*/ 463771 h 809625"/>
              <a:gd name="connsiteX23" fmla="*/ 517493 w 809625"/>
              <a:gd name="connsiteY23" fmla="*/ 319849 h 809625"/>
              <a:gd name="connsiteX24" fmla="*/ 183927 w 809625"/>
              <a:gd name="connsiteY24" fmla="*/ 327278 h 809625"/>
              <a:gd name="connsiteX25" fmla="*/ 183927 w 809625"/>
              <a:gd name="connsiteY25" fmla="*/ 629602 h 809625"/>
              <a:gd name="connsiteX26" fmla="*/ 277939 w 809625"/>
              <a:gd name="connsiteY26" fmla="*/ 629602 h 809625"/>
              <a:gd name="connsiteX27" fmla="*/ 277939 w 809625"/>
              <a:gd name="connsiteY27" fmla="*/ 327278 h 809625"/>
              <a:gd name="connsiteX28" fmla="*/ 183927 w 809625"/>
              <a:gd name="connsiteY28" fmla="*/ 327278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230981" y="177069"/>
                </a:moveTo>
                <a:cubicBezTo>
                  <a:pt x="200891" y="177069"/>
                  <a:pt x="176498" y="201462"/>
                  <a:pt x="176498" y="231552"/>
                </a:cubicBezTo>
                <a:cubicBezTo>
                  <a:pt x="176498" y="261642"/>
                  <a:pt x="200891" y="286035"/>
                  <a:pt x="230981" y="286035"/>
                </a:cubicBezTo>
                <a:cubicBezTo>
                  <a:pt x="261071" y="286035"/>
                  <a:pt x="285464" y="261642"/>
                  <a:pt x="285464" y="231552"/>
                </a:cubicBezTo>
                <a:cubicBezTo>
                  <a:pt x="285464" y="201462"/>
                  <a:pt x="261071" y="177069"/>
                  <a:pt x="230981" y="177069"/>
                </a:cubicBezTo>
                <a:close/>
                <a:moveTo>
                  <a:pt x="517493" y="319849"/>
                </a:moveTo>
                <a:cubicBezTo>
                  <a:pt x="481146" y="318484"/>
                  <a:pt x="446996" y="337225"/>
                  <a:pt x="428625" y="368617"/>
                </a:cubicBezTo>
                <a:lnTo>
                  <a:pt x="426910" y="368617"/>
                </a:lnTo>
                <a:lnTo>
                  <a:pt x="426910" y="327278"/>
                </a:lnTo>
                <a:lnTo>
                  <a:pt x="336899" y="327278"/>
                </a:lnTo>
                <a:lnTo>
                  <a:pt x="336899" y="629602"/>
                </a:lnTo>
                <a:lnTo>
                  <a:pt x="430720" y="629602"/>
                </a:lnTo>
                <a:lnTo>
                  <a:pt x="430720" y="480059"/>
                </a:lnTo>
                <a:cubicBezTo>
                  <a:pt x="430720" y="440530"/>
                  <a:pt x="438912" y="402430"/>
                  <a:pt x="487108" y="402430"/>
                </a:cubicBezTo>
                <a:cubicBezTo>
                  <a:pt x="535305" y="402430"/>
                  <a:pt x="535876" y="447579"/>
                  <a:pt x="535876" y="482631"/>
                </a:cubicBezTo>
                <a:lnTo>
                  <a:pt x="535876" y="629602"/>
                </a:lnTo>
                <a:lnTo>
                  <a:pt x="630174" y="629602"/>
                </a:lnTo>
                <a:lnTo>
                  <a:pt x="630174" y="463771"/>
                </a:lnTo>
                <a:cubicBezTo>
                  <a:pt x="630174" y="382428"/>
                  <a:pt x="612743" y="319849"/>
                  <a:pt x="517493" y="319849"/>
                </a:cubicBezTo>
                <a:close/>
                <a:moveTo>
                  <a:pt x="183927" y="327278"/>
                </a:moveTo>
                <a:lnTo>
                  <a:pt x="183927" y="629602"/>
                </a:lnTo>
                <a:lnTo>
                  <a:pt x="277939" y="629602"/>
                </a:lnTo>
                <a:lnTo>
                  <a:pt x="277939" y="327278"/>
                </a:lnTo>
                <a:lnTo>
                  <a:pt x="183927" y="32727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F1F78FC3-536A-4C34-B2A3-95085DF38A8D}"/>
              </a:ext>
            </a:extLst>
          </p:cNvPr>
          <p:cNvSpPr>
            <a:spLocks noChangeAspect="1"/>
          </p:cNvSpPr>
          <p:nvPr userDrawn="1"/>
        </p:nvSpPr>
        <p:spPr>
          <a:xfrm>
            <a:off x="9063685" y="4501548"/>
            <a:ext cx="242382" cy="242382"/>
          </a:xfrm>
          <a:custGeom>
            <a:avLst/>
            <a:gdLst>
              <a:gd name="connsiteX0" fmla="*/ 404812 w 809625"/>
              <a:gd name="connsiteY0" fmla="*/ 288417 h 809625"/>
              <a:gd name="connsiteX1" fmla="*/ 288417 w 809625"/>
              <a:gd name="connsiteY1" fmla="*/ 404812 h 809625"/>
              <a:gd name="connsiteX2" fmla="*/ 404812 w 809625"/>
              <a:gd name="connsiteY2" fmla="*/ 521208 h 809625"/>
              <a:gd name="connsiteX3" fmla="*/ 521208 w 809625"/>
              <a:gd name="connsiteY3" fmla="*/ 404812 h 809625"/>
              <a:gd name="connsiteX4" fmla="*/ 404812 w 809625"/>
              <a:gd name="connsiteY4" fmla="*/ 288417 h 809625"/>
              <a:gd name="connsiteX5" fmla="*/ 525780 w 809625"/>
              <a:gd name="connsiteY5" fmla="*/ 256603 h 809625"/>
              <a:gd name="connsiteX6" fmla="*/ 498538 w 809625"/>
              <a:gd name="connsiteY6" fmla="*/ 283844 h 809625"/>
              <a:gd name="connsiteX7" fmla="*/ 525780 w 809625"/>
              <a:gd name="connsiteY7" fmla="*/ 311086 h 809625"/>
              <a:gd name="connsiteX8" fmla="*/ 553021 w 809625"/>
              <a:gd name="connsiteY8" fmla="*/ 283844 h 809625"/>
              <a:gd name="connsiteX9" fmla="*/ 525780 w 809625"/>
              <a:gd name="connsiteY9" fmla="*/ 256603 h 809625"/>
              <a:gd name="connsiteX10" fmla="*/ 404812 w 809625"/>
              <a:gd name="connsiteY10" fmla="*/ 219075 h 809625"/>
              <a:gd name="connsiteX11" fmla="*/ 496443 w 809625"/>
              <a:gd name="connsiteY11" fmla="*/ 220408 h 809625"/>
              <a:gd name="connsiteX12" fmla="*/ 538543 w 809625"/>
              <a:gd name="connsiteY12" fmla="*/ 228218 h 809625"/>
              <a:gd name="connsiteX13" fmla="*/ 581501 w 809625"/>
              <a:gd name="connsiteY13" fmla="*/ 271176 h 809625"/>
              <a:gd name="connsiteX14" fmla="*/ 589311 w 809625"/>
              <a:gd name="connsiteY14" fmla="*/ 313277 h 809625"/>
              <a:gd name="connsiteX15" fmla="*/ 590645 w 809625"/>
              <a:gd name="connsiteY15" fmla="*/ 404907 h 809625"/>
              <a:gd name="connsiteX16" fmla="*/ 589311 w 809625"/>
              <a:gd name="connsiteY16" fmla="*/ 496538 h 809625"/>
              <a:gd name="connsiteX17" fmla="*/ 581501 w 809625"/>
              <a:gd name="connsiteY17" fmla="*/ 538638 h 809625"/>
              <a:gd name="connsiteX18" fmla="*/ 538543 w 809625"/>
              <a:gd name="connsiteY18" fmla="*/ 581596 h 809625"/>
              <a:gd name="connsiteX19" fmla="*/ 496443 w 809625"/>
              <a:gd name="connsiteY19" fmla="*/ 589406 h 809625"/>
              <a:gd name="connsiteX20" fmla="*/ 404812 w 809625"/>
              <a:gd name="connsiteY20" fmla="*/ 590740 h 809625"/>
              <a:gd name="connsiteX21" fmla="*/ 313182 w 809625"/>
              <a:gd name="connsiteY21" fmla="*/ 589407 h 809625"/>
              <a:gd name="connsiteX22" fmla="*/ 271081 w 809625"/>
              <a:gd name="connsiteY22" fmla="*/ 581596 h 809625"/>
              <a:gd name="connsiteX23" fmla="*/ 228600 w 809625"/>
              <a:gd name="connsiteY23" fmla="*/ 538543 h 809625"/>
              <a:gd name="connsiteX24" fmla="*/ 220789 w 809625"/>
              <a:gd name="connsiteY24" fmla="*/ 496443 h 809625"/>
              <a:gd name="connsiteX25" fmla="*/ 219075 w 809625"/>
              <a:gd name="connsiteY25" fmla="*/ 404812 h 809625"/>
              <a:gd name="connsiteX26" fmla="*/ 220408 w 809625"/>
              <a:gd name="connsiteY26" fmla="*/ 313182 h 809625"/>
              <a:gd name="connsiteX27" fmla="*/ 228600 w 809625"/>
              <a:gd name="connsiteY27" fmla="*/ 271081 h 809625"/>
              <a:gd name="connsiteX28" fmla="*/ 271081 w 809625"/>
              <a:gd name="connsiteY28" fmla="*/ 228600 h 809625"/>
              <a:gd name="connsiteX29" fmla="*/ 313181 w 809625"/>
              <a:gd name="connsiteY29" fmla="*/ 220789 h 809625"/>
              <a:gd name="connsiteX30" fmla="*/ 404812 w 809625"/>
              <a:gd name="connsiteY30" fmla="*/ 219075 h 809625"/>
              <a:gd name="connsiteX31" fmla="*/ 405669 w 809625"/>
              <a:gd name="connsiteY31" fmla="*/ 177736 h 809625"/>
              <a:gd name="connsiteX32" fmla="*/ 404812 w 809625"/>
              <a:gd name="connsiteY32" fmla="*/ 178212 h 809625"/>
              <a:gd name="connsiteX33" fmla="*/ 311372 w 809625"/>
              <a:gd name="connsiteY33" fmla="*/ 179546 h 809625"/>
              <a:gd name="connsiteX34" fmla="*/ 256317 w 809625"/>
              <a:gd name="connsiteY34" fmla="*/ 190500 h 809625"/>
              <a:gd name="connsiteX35" fmla="*/ 189642 w 809625"/>
              <a:gd name="connsiteY35" fmla="*/ 257175 h 809625"/>
              <a:gd name="connsiteX36" fmla="*/ 179069 w 809625"/>
              <a:gd name="connsiteY36" fmla="*/ 312229 h 809625"/>
              <a:gd name="connsiteX37" fmla="*/ 177736 w 809625"/>
              <a:gd name="connsiteY37" fmla="*/ 405669 h 809625"/>
              <a:gd name="connsiteX38" fmla="*/ 179069 w 809625"/>
              <a:gd name="connsiteY38" fmla="*/ 499110 h 809625"/>
              <a:gd name="connsiteX39" fmla="*/ 190500 w 809625"/>
              <a:gd name="connsiteY39" fmla="*/ 553307 h 809625"/>
              <a:gd name="connsiteX40" fmla="*/ 257175 w 809625"/>
              <a:gd name="connsiteY40" fmla="*/ 619982 h 809625"/>
              <a:gd name="connsiteX41" fmla="*/ 312229 w 809625"/>
              <a:gd name="connsiteY41" fmla="*/ 630554 h 809625"/>
              <a:gd name="connsiteX42" fmla="*/ 405669 w 809625"/>
              <a:gd name="connsiteY42" fmla="*/ 631888 h 809625"/>
              <a:gd name="connsiteX43" fmla="*/ 499110 w 809625"/>
              <a:gd name="connsiteY43" fmla="*/ 630554 h 809625"/>
              <a:gd name="connsiteX44" fmla="*/ 554164 w 809625"/>
              <a:gd name="connsiteY44" fmla="*/ 619982 h 809625"/>
              <a:gd name="connsiteX45" fmla="*/ 620839 w 809625"/>
              <a:gd name="connsiteY45" fmla="*/ 553307 h 809625"/>
              <a:gd name="connsiteX46" fmla="*/ 631412 w 809625"/>
              <a:gd name="connsiteY46" fmla="*/ 498252 h 809625"/>
              <a:gd name="connsiteX47" fmla="*/ 632745 w 809625"/>
              <a:gd name="connsiteY47" fmla="*/ 404812 h 809625"/>
              <a:gd name="connsiteX48" fmla="*/ 631412 w 809625"/>
              <a:gd name="connsiteY48" fmla="*/ 311372 h 809625"/>
              <a:gd name="connsiteX49" fmla="*/ 620839 w 809625"/>
              <a:gd name="connsiteY49" fmla="*/ 256317 h 809625"/>
              <a:gd name="connsiteX50" fmla="*/ 554164 w 809625"/>
              <a:gd name="connsiteY50" fmla="*/ 189642 h 809625"/>
              <a:gd name="connsiteX51" fmla="*/ 499110 w 809625"/>
              <a:gd name="connsiteY51" fmla="*/ 179069 h 809625"/>
              <a:gd name="connsiteX52" fmla="*/ 405669 w 809625"/>
              <a:gd name="connsiteY52" fmla="*/ 177736 h 809625"/>
              <a:gd name="connsiteX53" fmla="*/ 404813 w 809625"/>
              <a:gd name="connsiteY53" fmla="*/ 0 h 809625"/>
              <a:gd name="connsiteX54" fmla="*/ 809625 w 809625"/>
              <a:gd name="connsiteY54" fmla="*/ 404813 h 809625"/>
              <a:gd name="connsiteX55" fmla="*/ 404813 w 809625"/>
              <a:gd name="connsiteY55" fmla="*/ 809625 h 809625"/>
              <a:gd name="connsiteX56" fmla="*/ 0 w 809625"/>
              <a:gd name="connsiteY56" fmla="*/ 404813 h 809625"/>
              <a:gd name="connsiteX57" fmla="*/ 404813 w 809625"/>
              <a:gd name="connsiteY57" fmla="*/ 0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809625" h="809625">
                <a:moveTo>
                  <a:pt x="404812" y="288417"/>
                </a:moveTo>
                <a:cubicBezTo>
                  <a:pt x="340529" y="288417"/>
                  <a:pt x="288417" y="340529"/>
                  <a:pt x="288417" y="404812"/>
                </a:cubicBezTo>
                <a:cubicBezTo>
                  <a:pt x="288417" y="469096"/>
                  <a:pt x="340529" y="521208"/>
                  <a:pt x="404812" y="521208"/>
                </a:cubicBezTo>
                <a:cubicBezTo>
                  <a:pt x="469096" y="521208"/>
                  <a:pt x="521208" y="469096"/>
                  <a:pt x="521208" y="404812"/>
                </a:cubicBezTo>
                <a:cubicBezTo>
                  <a:pt x="521208" y="340529"/>
                  <a:pt x="469096" y="288417"/>
                  <a:pt x="404812" y="288417"/>
                </a:cubicBezTo>
                <a:close/>
                <a:moveTo>
                  <a:pt x="525780" y="256603"/>
                </a:moveTo>
                <a:cubicBezTo>
                  <a:pt x="510734" y="256603"/>
                  <a:pt x="498538" y="268799"/>
                  <a:pt x="498538" y="283844"/>
                </a:cubicBezTo>
                <a:cubicBezTo>
                  <a:pt x="498538" y="298890"/>
                  <a:pt x="510734" y="311086"/>
                  <a:pt x="525780" y="311086"/>
                </a:cubicBezTo>
                <a:cubicBezTo>
                  <a:pt x="540825" y="311086"/>
                  <a:pt x="553021" y="298890"/>
                  <a:pt x="553021" y="283844"/>
                </a:cubicBezTo>
                <a:cubicBezTo>
                  <a:pt x="553021" y="268799"/>
                  <a:pt x="540825" y="256603"/>
                  <a:pt x="525780" y="256603"/>
                </a:cubicBezTo>
                <a:close/>
                <a:moveTo>
                  <a:pt x="404812" y="219075"/>
                </a:moveTo>
                <a:cubicBezTo>
                  <a:pt x="465296" y="219075"/>
                  <a:pt x="472535" y="219075"/>
                  <a:pt x="496443" y="220408"/>
                </a:cubicBezTo>
                <a:cubicBezTo>
                  <a:pt x="510824" y="220533"/>
                  <a:pt x="525073" y="223177"/>
                  <a:pt x="538543" y="228218"/>
                </a:cubicBezTo>
                <a:cubicBezTo>
                  <a:pt x="558257" y="235874"/>
                  <a:pt x="573845" y="251463"/>
                  <a:pt x="581501" y="271176"/>
                </a:cubicBezTo>
                <a:cubicBezTo>
                  <a:pt x="586542" y="284646"/>
                  <a:pt x="589186" y="298895"/>
                  <a:pt x="589311" y="313277"/>
                </a:cubicBezTo>
                <a:cubicBezTo>
                  <a:pt x="590454" y="337185"/>
                  <a:pt x="590645" y="344424"/>
                  <a:pt x="590645" y="404907"/>
                </a:cubicBezTo>
                <a:cubicBezTo>
                  <a:pt x="590645" y="465391"/>
                  <a:pt x="590645" y="472630"/>
                  <a:pt x="589311" y="496538"/>
                </a:cubicBezTo>
                <a:cubicBezTo>
                  <a:pt x="589186" y="510920"/>
                  <a:pt x="586543" y="525168"/>
                  <a:pt x="581501" y="538638"/>
                </a:cubicBezTo>
                <a:cubicBezTo>
                  <a:pt x="573845" y="558352"/>
                  <a:pt x="558257" y="573940"/>
                  <a:pt x="538543" y="581596"/>
                </a:cubicBezTo>
                <a:cubicBezTo>
                  <a:pt x="525073" y="586638"/>
                  <a:pt x="510824" y="589281"/>
                  <a:pt x="496443" y="589406"/>
                </a:cubicBezTo>
                <a:cubicBezTo>
                  <a:pt x="472535" y="590550"/>
                  <a:pt x="465391" y="590740"/>
                  <a:pt x="404812" y="590740"/>
                </a:cubicBezTo>
                <a:cubicBezTo>
                  <a:pt x="344233" y="590740"/>
                  <a:pt x="337089" y="590740"/>
                  <a:pt x="313182" y="589407"/>
                </a:cubicBezTo>
                <a:cubicBezTo>
                  <a:pt x="298800" y="589281"/>
                  <a:pt x="284551" y="586638"/>
                  <a:pt x="271081" y="581596"/>
                </a:cubicBezTo>
                <a:cubicBezTo>
                  <a:pt x="251529" y="573808"/>
                  <a:pt x="236125" y="558197"/>
                  <a:pt x="228600" y="538543"/>
                </a:cubicBezTo>
                <a:cubicBezTo>
                  <a:pt x="223558" y="525073"/>
                  <a:pt x="220914" y="510824"/>
                  <a:pt x="220789" y="496443"/>
                </a:cubicBezTo>
                <a:cubicBezTo>
                  <a:pt x="219075" y="472535"/>
                  <a:pt x="219075" y="465296"/>
                  <a:pt x="219075" y="404812"/>
                </a:cubicBezTo>
                <a:cubicBezTo>
                  <a:pt x="219075" y="344328"/>
                  <a:pt x="219075" y="337089"/>
                  <a:pt x="220408" y="313182"/>
                </a:cubicBezTo>
                <a:cubicBezTo>
                  <a:pt x="220655" y="298777"/>
                  <a:pt x="223428" y="284527"/>
                  <a:pt x="228600" y="271081"/>
                </a:cubicBezTo>
                <a:cubicBezTo>
                  <a:pt x="236258" y="251643"/>
                  <a:pt x="251643" y="236258"/>
                  <a:pt x="271081" y="228600"/>
                </a:cubicBezTo>
                <a:cubicBezTo>
                  <a:pt x="284551" y="223558"/>
                  <a:pt x="298800" y="220914"/>
                  <a:pt x="313181" y="220789"/>
                </a:cubicBezTo>
                <a:cubicBezTo>
                  <a:pt x="337089" y="219075"/>
                  <a:pt x="344328" y="219075"/>
                  <a:pt x="404812" y="219075"/>
                </a:cubicBezTo>
                <a:close/>
                <a:moveTo>
                  <a:pt x="405669" y="177736"/>
                </a:moveTo>
                <a:lnTo>
                  <a:pt x="404812" y="178212"/>
                </a:lnTo>
                <a:cubicBezTo>
                  <a:pt x="343281" y="178212"/>
                  <a:pt x="335565" y="178212"/>
                  <a:pt x="311372" y="179546"/>
                </a:cubicBezTo>
                <a:cubicBezTo>
                  <a:pt x="292533" y="180057"/>
                  <a:pt x="273917" y="183760"/>
                  <a:pt x="256317" y="190500"/>
                </a:cubicBezTo>
                <a:cubicBezTo>
                  <a:pt x="225602" y="202200"/>
                  <a:pt x="201343" y="226459"/>
                  <a:pt x="189642" y="257175"/>
                </a:cubicBezTo>
                <a:cubicBezTo>
                  <a:pt x="183033" y="274797"/>
                  <a:pt x="179458" y="293412"/>
                  <a:pt x="179069" y="312229"/>
                </a:cubicBezTo>
                <a:cubicBezTo>
                  <a:pt x="178022" y="336423"/>
                  <a:pt x="177736" y="344138"/>
                  <a:pt x="177736" y="405669"/>
                </a:cubicBezTo>
                <a:cubicBezTo>
                  <a:pt x="177736" y="467201"/>
                  <a:pt x="177736" y="474916"/>
                  <a:pt x="179069" y="499110"/>
                </a:cubicBezTo>
                <a:cubicBezTo>
                  <a:pt x="179828" y="517687"/>
                  <a:pt x="183692" y="536005"/>
                  <a:pt x="190500" y="553307"/>
                </a:cubicBezTo>
                <a:cubicBezTo>
                  <a:pt x="202200" y="584022"/>
                  <a:pt x="226459" y="608281"/>
                  <a:pt x="257175" y="619982"/>
                </a:cubicBezTo>
                <a:cubicBezTo>
                  <a:pt x="274797" y="626591"/>
                  <a:pt x="293412" y="630165"/>
                  <a:pt x="312229" y="630554"/>
                </a:cubicBezTo>
                <a:cubicBezTo>
                  <a:pt x="336423" y="631602"/>
                  <a:pt x="344138" y="631888"/>
                  <a:pt x="405669" y="631888"/>
                </a:cubicBezTo>
                <a:cubicBezTo>
                  <a:pt x="467201" y="631888"/>
                  <a:pt x="474916" y="631888"/>
                  <a:pt x="499110" y="630554"/>
                </a:cubicBezTo>
                <a:cubicBezTo>
                  <a:pt x="517927" y="630165"/>
                  <a:pt x="536542" y="626591"/>
                  <a:pt x="554164" y="619982"/>
                </a:cubicBezTo>
                <a:cubicBezTo>
                  <a:pt x="584880" y="608281"/>
                  <a:pt x="609138" y="584022"/>
                  <a:pt x="620839" y="553307"/>
                </a:cubicBezTo>
                <a:cubicBezTo>
                  <a:pt x="627448" y="535684"/>
                  <a:pt x="631023" y="517069"/>
                  <a:pt x="631412" y="498252"/>
                </a:cubicBezTo>
                <a:cubicBezTo>
                  <a:pt x="632460" y="474059"/>
                  <a:pt x="632745" y="466344"/>
                  <a:pt x="632745" y="404812"/>
                </a:cubicBezTo>
                <a:cubicBezTo>
                  <a:pt x="632745" y="343281"/>
                  <a:pt x="632745" y="335565"/>
                  <a:pt x="631412" y="311372"/>
                </a:cubicBezTo>
                <a:cubicBezTo>
                  <a:pt x="631023" y="292555"/>
                  <a:pt x="627448" y="273940"/>
                  <a:pt x="620839" y="256317"/>
                </a:cubicBezTo>
                <a:cubicBezTo>
                  <a:pt x="609138" y="225602"/>
                  <a:pt x="584880" y="201343"/>
                  <a:pt x="554164" y="189642"/>
                </a:cubicBezTo>
                <a:cubicBezTo>
                  <a:pt x="536542" y="183033"/>
                  <a:pt x="517927" y="179458"/>
                  <a:pt x="499110" y="179069"/>
                </a:cubicBezTo>
                <a:cubicBezTo>
                  <a:pt x="474916" y="178022"/>
                  <a:pt x="467201" y="177736"/>
                  <a:pt x="405669" y="177736"/>
                </a:cubicBezTo>
                <a:close/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37645F6A-EDD9-42D2-A01C-F8414798D57C}"/>
              </a:ext>
            </a:extLst>
          </p:cNvPr>
          <p:cNvSpPr>
            <a:spLocks noChangeAspect="1"/>
          </p:cNvSpPr>
          <p:nvPr/>
        </p:nvSpPr>
        <p:spPr>
          <a:xfrm>
            <a:off x="9446029" y="4501548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207835 w 809625"/>
              <a:gd name="connsiteY5" fmla="*/ 183451 h 809625"/>
              <a:gd name="connsiteX6" fmla="*/ 183451 w 809625"/>
              <a:gd name="connsiteY6" fmla="*/ 207835 h 809625"/>
              <a:gd name="connsiteX7" fmla="*/ 183451 w 809625"/>
              <a:gd name="connsiteY7" fmla="*/ 601789 h 809625"/>
              <a:gd name="connsiteX8" fmla="*/ 207835 w 809625"/>
              <a:gd name="connsiteY8" fmla="*/ 626173 h 809625"/>
              <a:gd name="connsiteX9" fmla="*/ 419957 w 809625"/>
              <a:gd name="connsiteY9" fmla="*/ 626173 h 809625"/>
              <a:gd name="connsiteX10" fmla="*/ 419957 w 809625"/>
              <a:gd name="connsiteY10" fmla="*/ 454723 h 809625"/>
              <a:gd name="connsiteX11" fmla="*/ 361950 w 809625"/>
              <a:gd name="connsiteY11" fmla="*/ 454723 h 809625"/>
              <a:gd name="connsiteX12" fmla="*/ 361950 w 809625"/>
              <a:gd name="connsiteY12" fmla="*/ 388048 h 809625"/>
              <a:gd name="connsiteX13" fmla="*/ 419671 w 809625"/>
              <a:gd name="connsiteY13" fmla="*/ 388048 h 809625"/>
              <a:gd name="connsiteX14" fmla="*/ 419671 w 809625"/>
              <a:gd name="connsiteY14" fmla="*/ 338613 h 809625"/>
              <a:gd name="connsiteX15" fmla="*/ 505396 w 809625"/>
              <a:gd name="connsiteY15" fmla="*/ 250317 h 809625"/>
              <a:gd name="connsiteX16" fmla="*/ 556926 w 809625"/>
              <a:gd name="connsiteY16" fmla="*/ 252984 h 809625"/>
              <a:gd name="connsiteX17" fmla="*/ 556926 w 809625"/>
              <a:gd name="connsiteY17" fmla="*/ 312705 h 809625"/>
              <a:gd name="connsiteX18" fmla="*/ 522065 w 809625"/>
              <a:gd name="connsiteY18" fmla="*/ 312705 h 809625"/>
              <a:gd name="connsiteX19" fmla="*/ 488918 w 809625"/>
              <a:gd name="connsiteY19" fmla="*/ 345281 h 809625"/>
              <a:gd name="connsiteX20" fmla="*/ 488918 w 809625"/>
              <a:gd name="connsiteY20" fmla="*/ 387953 h 809625"/>
              <a:gd name="connsiteX21" fmla="*/ 555593 w 809625"/>
              <a:gd name="connsiteY21" fmla="*/ 387953 h 809625"/>
              <a:gd name="connsiteX22" fmla="*/ 546925 w 809625"/>
              <a:gd name="connsiteY22" fmla="*/ 454628 h 809625"/>
              <a:gd name="connsiteX23" fmla="*/ 489775 w 809625"/>
              <a:gd name="connsiteY23" fmla="*/ 454628 h 809625"/>
              <a:gd name="connsiteX24" fmla="*/ 489775 w 809625"/>
              <a:gd name="connsiteY24" fmla="*/ 626078 h 809625"/>
              <a:gd name="connsiteX25" fmla="*/ 601789 w 809625"/>
              <a:gd name="connsiteY25" fmla="*/ 626078 h 809625"/>
              <a:gd name="connsiteX26" fmla="*/ 626173 w 809625"/>
              <a:gd name="connsiteY26" fmla="*/ 601694 h 809625"/>
              <a:gd name="connsiteX27" fmla="*/ 626173 w 809625"/>
              <a:gd name="connsiteY27" fmla="*/ 207835 h 809625"/>
              <a:gd name="connsiteX28" fmla="*/ 601789 w 809625"/>
              <a:gd name="connsiteY28" fmla="*/ 183451 h 809625"/>
              <a:gd name="connsiteX29" fmla="*/ 207835 w 809625"/>
              <a:gd name="connsiteY29" fmla="*/ 183451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207835" y="183451"/>
                </a:moveTo>
                <a:cubicBezTo>
                  <a:pt x="194368" y="183451"/>
                  <a:pt x="183451" y="194368"/>
                  <a:pt x="183451" y="207835"/>
                </a:cubicBezTo>
                <a:lnTo>
                  <a:pt x="183451" y="601789"/>
                </a:lnTo>
                <a:cubicBezTo>
                  <a:pt x="183451" y="615256"/>
                  <a:pt x="194368" y="626173"/>
                  <a:pt x="207835" y="626173"/>
                </a:cubicBezTo>
                <a:lnTo>
                  <a:pt x="419957" y="626173"/>
                </a:lnTo>
                <a:lnTo>
                  <a:pt x="419957" y="454723"/>
                </a:lnTo>
                <a:lnTo>
                  <a:pt x="361950" y="454723"/>
                </a:lnTo>
                <a:lnTo>
                  <a:pt x="361950" y="388048"/>
                </a:lnTo>
                <a:lnTo>
                  <a:pt x="419671" y="388048"/>
                </a:lnTo>
                <a:lnTo>
                  <a:pt x="419671" y="338613"/>
                </a:lnTo>
                <a:cubicBezTo>
                  <a:pt x="419671" y="281463"/>
                  <a:pt x="454533" y="250317"/>
                  <a:pt x="505396" y="250317"/>
                </a:cubicBezTo>
                <a:cubicBezTo>
                  <a:pt x="522609" y="250238"/>
                  <a:pt x="539813" y="251128"/>
                  <a:pt x="556926" y="252984"/>
                </a:cubicBezTo>
                <a:lnTo>
                  <a:pt x="556926" y="312705"/>
                </a:lnTo>
                <a:lnTo>
                  <a:pt x="522065" y="312705"/>
                </a:lnTo>
                <a:cubicBezTo>
                  <a:pt x="494252" y="312705"/>
                  <a:pt x="488918" y="325945"/>
                  <a:pt x="488918" y="345281"/>
                </a:cubicBezTo>
                <a:lnTo>
                  <a:pt x="488918" y="387953"/>
                </a:lnTo>
                <a:lnTo>
                  <a:pt x="555593" y="387953"/>
                </a:lnTo>
                <a:lnTo>
                  <a:pt x="546925" y="454628"/>
                </a:lnTo>
                <a:lnTo>
                  <a:pt x="489775" y="454628"/>
                </a:lnTo>
                <a:lnTo>
                  <a:pt x="489775" y="626078"/>
                </a:lnTo>
                <a:lnTo>
                  <a:pt x="601789" y="626078"/>
                </a:lnTo>
                <a:cubicBezTo>
                  <a:pt x="615256" y="626078"/>
                  <a:pt x="626173" y="615161"/>
                  <a:pt x="626173" y="601694"/>
                </a:cubicBezTo>
                <a:lnTo>
                  <a:pt x="626173" y="207835"/>
                </a:lnTo>
                <a:cubicBezTo>
                  <a:pt x="626173" y="194368"/>
                  <a:pt x="615256" y="183451"/>
                  <a:pt x="601789" y="183451"/>
                </a:cubicBezTo>
                <a:lnTo>
                  <a:pt x="207835" y="183451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3D3ABB1F-7F2A-4579-5538-F4815BCE51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4484" y="2549185"/>
            <a:ext cx="1976093" cy="879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543984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E9670259-4695-428B-A004-7FC80D7094B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1062000" tIns="3348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FCAC8505-DEDF-4C01-A608-94D176EC4352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7540580" y="1"/>
            <a:ext cx="4651420" cy="1673605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1740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5383366-B84A-4AF0-9ECA-0C40F072B9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7C2BF5B2-F39C-5692-1D90-615BA55F4F0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170" y="303442"/>
            <a:ext cx="979715" cy="43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5180771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D50AE23D-06D1-4F9E-B490-E50D424CE9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DFCCD94-C178-488E-A0A8-B9933C21C8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B6B25C7-EDE8-4C6A-A016-B0BC2F236A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FSC-IKEA Blockchain+EUDR Information Requirements 17-08-23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3CEBA6-B1B6-4DE4-9914-AA9310C6B7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8951947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87CEE9C-A8AE-431B-A0E0-C79E2E22CC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0C04917-818A-4A3D-87A1-5D1A3CEF6E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FSC-IKEA Blockchain+EUDR Information Requirements 17-08-23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14D6DCE-44D6-472C-8A31-1D8DC27A62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6175939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E396722-86FB-4B61-980E-29BB1A84BF5F}"/>
              </a:ext>
            </a:extLst>
          </p:cNvPr>
          <p:cNvSpPr/>
          <p:nvPr userDrawn="1"/>
        </p:nvSpPr>
        <p:spPr>
          <a:xfrm>
            <a:off x="0" y="-1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D50AE23D-06D1-4F9E-B490-E50D424CE9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892E96-6CF9-4BCC-9A9B-CB94EC6D1A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97B376B-D4F9-4143-A8AE-817EB0EA6B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fr-FR"/>
              <a:t>FSC-IKEA Blockchain+EUDR Information Requirements 17-08-23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84A53671-41EC-45C8-A0C1-D1426C22F9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3719458C-151F-A29A-A9A7-BEFD54AD5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170" y="303442"/>
            <a:ext cx="979715" cy="43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4972516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E396722-86FB-4B61-980E-29BB1A84BF5F}"/>
              </a:ext>
            </a:extLst>
          </p:cNvPr>
          <p:cNvSpPr/>
          <p:nvPr userDrawn="1"/>
        </p:nvSpPr>
        <p:spPr>
          <a:xfrm>
            <a:off x="0" y="-1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892E96-6CF9-4BCC-9A9B-CB94EC6D1A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97B376B-D4F9-4143-A8AE-817EB0EA6B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fr-FR"/>
              <a:t>FSC-IKEA Blockchain+EUDR Information Requirements 17-08-23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84A53671-41EC-45C8-A0C1-D1426C22F9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EF831236-2046-FD7C-DFFA-DF8D44CC7F9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170" y="303442"/>
            <a:ext cx="979715" cy="43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28712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7F07ECCF-5EE7-4BA4-BD7C-50DF82C3F5BF}"/>
              </a:ext>
            </a:extLst>
          </p:cNvPr>
          <p:cNvSpPr/>
          <p:nvPr userDrawn="1"/>
        </p:nvSpPr>
        <p:spPr>
          <a:xfrm>
            <a:off x="0" y="0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F1044E10-4BD7-47DE-8A5A-57C9557A0B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42214" y="2106271"/>
            <a:ext cx="4507572" cy="2281251"/>
          </a:xfrm>
        </p:spPr>
        <p:txBody>
          <a:bodyPr/>
          <a:lstStyle>
            <a:lvl1pPr>
              <a:defRPr sz="2800" cap="none" baseline="0">
                <a:solidFill>
                  <a:schemeClr val="accent1"/>
                </a:solidFill>
                <a:latin typeface="+mj-lt"/>
              </a:defRPr>
            </a:lvl1pPr>
            <a:lvl2pPr algn="l">
              <a:spcBef>
                <a:spcPts val="600"/>
              </a:spcBef>
              <a:defRPr sz="1600" b="0" cap="none" baseline="0">
                <a:solidFill>
                  <a:schemeClr val="accent1"/>
                </a:solidFill>
              </a:defRPr>
            </a:lvl2pPr>
            <a:lvl3pPr algn="l">
              <a:defRPr sz="1600" cap="none">
                <a:solidFill>
                  <a:schemeClr val="accent1"/>
                </a:solidFill>
              </a:defRPr>
            </a:lvl3pPr>
            <a:lvl4pPr algn="l">
              <a:defRPr sz="1600" cap="none">
                <a:solidFill>
                  <a:schemeClr val="accent1"/>
                </a:solidFill>
              </a:defRPr>
            </a:lvl4pPr>
            <a:lvl5pPr algn="l">
              <a:defRPr sz="1600" cap="none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CCFA2A9-BC18-4CF8-AD38-42B263119472}"/>
              </a:ext>
            </a:extLst>
          </p:cNvPr>
          <p:cNvSpPr txBox="1"/>
          <p:nvPr userDrawn="1"/>
        </p:nvSpPr>
        <p:spPr>
          <a:xfrm>
            <a:off x="1878852" y="782157"/>
            <a:ext cx="914033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2000">
                <a:solidFill>
                  <a:schemeClr val="accent1"/>
                </a:solidFill>
                <a:latin typeface="+mj-lt"/>
              </a:rPr>
              <a:t>“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9C98CC0-E077-4ADE-8BC2-9559518E22D8}"/>
              </a:ext>
            </a:extLst>
          </p:cNvPr>
          <p:cNvSpPr txBox="1"/>
          <p:nvPr userDrawn="1"/>
        </p:nvSpPr>
        <p:spPr>
          <a:xfrm>
            <a:off x="8577415" y="3692995"/>
            <a:ext cx="1643399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2000">
                <a:solidFill>
                  <a:schemeClr val="tx2"/>
                </a:solidFill>
                <a:latin typeface="+mj-lt"/>
              </a:rPr>
              <a:t>“</a:t>
            </a:r>
            <a:r>
              <a:rPr lang="en-AU" sz="12000">
                <a:solidFill>
                  <a:schemeClr val="accent1"/>
                </a:solidFill>
                <a:latin typeface="+mj-lt"/>
              </a:rPr>
              <a:t>”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25A78CB-C25F-477B-ACB8-7A8C3B33F7D7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0DC4922-3AFC-43D6-9996-17D5CAC06E9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54801EF-D4C3-4D21-A7DC-76D432B0F00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1D97197-E691-46BF-8B8E-EB258D24F5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849886" y="333375"/>
            <a:ext cx="1006304" cy="448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2316303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ing slide-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E9670259-4695-428B-A004-7FC80D7094B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19400" y="1"/>
            <a:ext cx="107532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342000" tIns="342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552E04E-D25F-4B05-AD2F-C588430EFE7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40308" y="2569331"/>
            <a:ext cx="3511384" cy="156478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>
            <a:glow rad="571500">
              <a:schemeClr val="tx1">
                <a:alpha val="20000"/>
              </a:schemeClr>
            </a:glow>
          </a:effectLst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C3F7B8-0B35-40FF-8CB7-4337CBF123A9}"/>
              </a:ext>
            </a:extLst>
          </p:cNvPr>
          <p:cNvSpPr/>
          <p:nvPr userDrawn="1"/>
        </p:nvSpPr>
        <p:spPr>
          <a:xfrm>
            <a:off x="0" y="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CCB27E3-026E-4103-AE04-0346F7EF5C2F}"/>
              </a:ext>
            </a:extLst>
          </p:cNvPr>
          <p:cNvSpPr/>
          <p:nvPr userDrawn="1"/>
        </p:nvSpPr>
        <p:spPr>
          <a:xfrm>
            <a:off x="11472000" y="-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018133485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3979AE5-365E-4EEB-8F4C-F4E45C728AEF}"/>
              </a:ext>
            </a:extLst>
          </p:cNvPr>
          <p:cNvSpPr/>
          <p:nvPr userDrawn="1"/>
        </p:nvSpPr>
        <p:spPr>
          <a:xfrm>
            <a:off x="719400" y="-2"/>
            <a:ext cx="107532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E31FF5A-63AE-45A7-AF45-BF707B1A337A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14726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472600 w 12192000"/>
              <a:gd name="connsiteY3" fmla="*/ 6858000 h 6858000"/>
              <a:gd name="connsiteX4" fmla="*/ 0 w 12192000"/>
              <a:gd name="connsiteY4" fmla="*/ 0 h 6858000"/>
              <a:gd name="connsiteX5" fmla="*/ 719400 w 12192000"/>
              <a:gd name="connsiteY5" fmla="*/ 0 h 6858000"/>
              <a:gd name="connsiteX6" fmla="*/ 7194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14726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472600" y="6858000"/>
                </a:lnTo>
                <a:close/>
                <a:moveTo>
                  <a:pt x="0" y="0"/>
                </a:moveTo>
                <a:lnTo>
                  <a:pt x="719400" y="0"/>
                </a:lnTo>
                <a:lnTo>
                  <a:pt x="7194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08000" tIns="108000" rIns="115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99E31010-2D9D-4F4E-9267-AD318E40DB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116752" y="5624625"/>
            <a:ext cx="2018068" cy="899999"/>
          </a:xfrm>
          <a:prstGeom prst="rect">
            <a:avLst/>
          </a:prstGeom>
        </p:spPr>
      </p:pic>
      <p:sp>
        <p:nvSpPr>
          <p:cNvPr id="6" name="Subtitle 2">
            <a:extLst>
              <a:ext uri="{FF2B5EF4-FFF2-40B4-BE49-F238E27FC236}">
                <a16:creationId xmlns:a16="http://schemas.microsoft.com/office/drawing/2014/main" id="{B113A054-12CB-4197-89CB-FBA21D5F89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5688" y="4097865"/>
            <a:ext cx="5040312" cy="14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800" b="1" cap="none">
                <a:solidFill>
                  <a:schemeClr val="bg1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6pPr>
            <a:lvl7pPr marL="0" indent="0" algn="l">
              <a:buNone/>
              <a:defRPr sz="1800" b="1">
                <a:solidFill>
                  <a:schemeClr val="bg1"/>
                </a:solidFill>
              </a:defRPr>
            </a:lvl7pPr>
            <a:lvl8pPr marL="0" indent="0" algn="l">
              <a:buNone/>
              <a:defRPr sz="1800" b="1">
                <a:solidFill>
                  <a:schemeClr val="bg1"/>
                </a:solidFill>
              </a:defRPr>
            </a:lvl8pPr>
            <a:lvl9pPr marL="0" indent="0" algn="l">
              <a:buNone/>
              <a:defRPr sz="1800" b="1">
                <a:solidFill>
                  <a:schemeClr val="bg1"/>
                </a:solidFill>
              </a:defRPr>
            </a:lvl9pPr>
          </a:lstStyle>
          <a:p>
            <a:r>
              <a:rPr lang="en-AU"/>
              <a:t>Subtitle or presenters name and date</a:t>
            </a:r>
            <a:endParaRPr lang="en-GB"/>
          </a:p>
          <a:p>
            <a:pPr lvl="1"/>
            <a:r>
              <a:rPr lang="en-US"/>
              <a:t>2</a:t>
            </a:r>
          </a:p>
          <a:p>
            <a:pPr lvl="2"/>
            <a:r>
              <a:rPr lang="en-US"/>
              <a:t>3</a:t>
            </a:r>
          </a:p>
          <a:p>
            <a:pPr lvl="3"/>
            <a:r>
              <a:rPr lang="en-US"/>
              <a:t>4</a:t>
            </a:r>
          </a:p>
          <a:p>
            <a:pPr lvl="4"/>
            <a:r>
              <a:rPr lang="en-US"/>
              <a:t>5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287AC88-A942-4E4F-A359-307B996A79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1946566"/>
            <a:ext cx="10753200" cy="1620000"/>
          </a:xfrm>
          <a:noFill/>
        </p:spPr>
        <p:txBody>
          <a:bodyPr lIns="342000" tIns="342000" rIns="2160000" bIns="0" anchor="b" anchorCtr="0"/>
          <a:lstStyle>
            <a:lvl1pPr>
              <a:defRPr sz="4500" cap="all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98BCAB1-59A8-4C66-87FD-A76DA0651EF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</p:spTree>
    <p:extLst>
      <p:ext uri="{BB962C8B-B14F-4D97-AF65-F5344CB8AC3E}">
        <p14:creationId xmlns:p14="http://schemas.microsoft.com/office/powerpoint/2010/main" val="2269290768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l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E9670259-4695-428B-A004-7FC80D7094B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19400" y="1"/>
            <a:ext cx="107532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342000" tIns="342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F9144E-5217-4B9A-B2C1-83385827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1946566"/>
            <a:ext cx="10753200" cy="1620000"/>
          </a:xfrm>
          <a:noFill/>
        </p:spPr>
        <p:txBody>
          <a:bodyPr lIns="342000" tIns="342000" rIns="2160000" bIns="0" anchor="b" anchorCtr="0"/>
          <a:lstStyle>
            <a:lvl1pPr>
              <a:defRPr sz="4500" cap="all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113A054-12CB-4197-89CB-FBA21D5F89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5688" y="4097865"/>
            <a:ext cx="5040312" cy="14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800" b="1" cap="none">
                <a:solidFill>
                  <a:schemeClr val="bg2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6pPr>
            <a:lvl7pPr marL="0" indent="0" algn="l">
              <a:buNone/>
              <a:defRPr sz="1800" b="1">
                <a:solidFill>
                  <a:schemeClr val="bg2"/>
                </a:solidFill>
              </a:defRPr>
            </a:lvl7pPr>
            <a:lvl8pPr marL="0" indent="0" algn="l">
              <a:buNone/>
              <a:defRPr sz="1800" b="1">
                <a:solidFill>
                  <a:schemeClr val="bg2"/>
                </a:solidFill>
              </a:defRPr>
            </a:lvl8pPr>
            <a:lvl9pPr marL="0" indent="0" algn="l">
              <a:buNone/>
              <a:defRPr sz="1800" b="1">
                <a:solidFill>
                  <a:schemeClr val="bg2"/>
                </a:solidFill>
              </a:defRPr>
            </a:lvl9pPr>
          </a:lstStyle>
          <a:p>
            <a:r>
              <a:rPr lang="en-AU"/>
              <a:t>Subtitle or presenters name and date</a:t>
            </a:r>
            <a:endParaRPr lang="en-GB"/>
          </a:p>
          <a:p>
            <a:pPr lvl="1"/>
            <a:r>
              <a:rPr lang="en-US"/>
              <a:t>2</a:t>
            </a:r>
          </a:p>
          <a:p>
            <a:pPr lvl="2"/>
            <a:r>
              <a:rPr lang="en-US"/>
              <a:t>3</a:t>
            </a:r>
          </a:p>
          <a:p>
            <a:pPr lvl="3"/>
            <a:r>
              <a:rPr lang="en-US"/>
              <a:t>4</a:t>
            </a:r>
          </a:p>
          <a:p>
            <a:pPr lvl="4"/>
            <a:r>
              <a:rPr lang="en-US"/>
              <a:t>5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C3F7B8-0B35-40FF-8CB7-4337CBF123A9}"/>
              </a:ext>
            </a:extLst>
          </p:cNvPr>
          <p:cNvSpPr/>
          <p:nvPr userDrawn="1"/>
        </p:nvSpPr>
        <p:spPr>
          <a:xfrm>
            <a:off x="0" y="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CCB27E3-026E-4103-AE04-0346F7EF5C2F}"/>
              </a:ext>
            </a:extLst>
          </p:cNvPr>
          <p:cNvSpPr/>
          <p:nvPr userDrawn="1"/>
        </p:nvSpPr>
        <p:spPr>
          <a:xfrm>
            <a:off x="11472000" y="-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C4A1CEB9-11E9-4D44-B10D-C1106153B09E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6096000" y="3940935"/>
            <a:ext cx="5376000" cy="2917066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40000"/>
                </a:schemeClr>
              </a:gs>
            </a:gsLst>
            <a:lin ang="372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552E04E-D25F-4B05-AD2F-C588430EFE7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16713" y="5624625"/>
            <a:ext cx="2019600" cy="900000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6F98E5-C772-4C1B-AEA2-5FA88430480D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</p:spTree>
    <p:extLst>
      <p:ext uri="{BB962C8B-B14F-4D97-AF65-F5344CB8AC3E}">
        <p14:creationId xmlns:p14="http://schemas.microsoft.com/office/powerpoint/2010/main" val="3311071111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dark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E9670259-4695-428B-A004-7FC80D7094B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19400" y="1"/>
            <a:ext cx="107532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342000" tIns="342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FC044026-2D0A-4F4C-B231-B0EF94B3258C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6096000" y="3940935"/>
            <a:ext cx="5376000" cy="2917066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40000"/>
                </a:schemeClr>
              </a:gs>
            </a:gsLst>
            <a:lin ang="372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F9144E-5217-4B9A-B2C1-83385827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1946566"/>
            <a:ext cx="10753200" cy="1620000"/>
          </a:xfrm>
          <a:noFill/>
        </p:spPr>
        <p:txBody>
          <a:bodyPr lIns="342000" tIns="342000" rIns="2160000" bIns="0" anchor="b" anchorCtr="0"/>
          <a:lstStyle>
            <a:lvl1pPr>
              <a:defRPr sz="4500" cap="all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113A054-12CB-4197-89CB-FBA21D5F89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5688" y="4097865"/>
            <a:ext cx="5040312" cy="14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800" b="1" cap="none">
                <a:solidFill>
                  <a:schemeClr val="bg2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6pPr>
            <a:lvl7pPr marL="0" indent="0" algn="l">
              <a:buNone/>
              <a:defRPr sz="1800" b="1">
                <a:solidFill>
                  <a:schemeClr val="bg2"/>
                </a:solidFill>
              </a:defRPr>
            </a:lvl7pPr>
            <a:lvl8pPr marL="0" indent="0" algn="l">
              <a:buNone/>
              <a:defRPr sz="1800" b="1">
                <a:solidFill>
                  <a:schemeClr val="bg2"/>
                </a:solidFill>
              </a:defRPr>
            </a:lvl8pPr>
            <a:lvl9pPr marL="0" indent="0" algn="l">
              <a:buNone/>
              <a:defRPr sz="1800" b="1">
                <a:solidFill>
                  <a:schemeClr val="bg2"/>
                </a:solidFill>
              </a:defRPr>
            </a:lvl9pPr>
          </a:lstStyle>
          <a:p>
            <a:r>
              <a:rPr lang="en-AU"/>
              <a:t>Subtitle or presenters name and date</a:t>
            </a:r>
            <a:endParaRPr lang="en-GB"/>
          </a:p>
          <a:p>
            <a:pPr lvl="1"/>
            <a:r>
              <a:rPr lang="en-US"/>
              <a:t>2</a:t>
            </a:r>
          </a:p>
          <a:p>
            <a:pPr lvl="2"/>
            <a:r>
              <a:rPr lang="en-US"/>
              <a:t>3</a:t>
            </a:r>
          </a:p>
          <a:p>
            <a:pPr lvl="3"/>
            <a:r>
              <a:rPr lang="en-US"/>
              <a:t>4</a:t>
            </a:r>
          </a:p>
          <a:p>
            <a:pPr lvl="4"/>
            <a:r>
              <a:rPr lang="en-US"/>
              <a:t>5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GB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552E04E-D25F-4B05-AD2F-C588430EFE7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16713" y="5624625"/>
            <a:ext cx="2019600" cy="900000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C3F7B8-0B35-40FF-8CB7-4337CBF123A9}"/>
              </a:ext>
            </a:extLst>
          </p:cNvPr>
          <p:cNvSpPr/>
          <p:nvPr userDrawn="1"/>
        </p:nvSpPr>
        <p:spPr>
          <a:xfrm>
            <a:off x="0" y="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CCB27E3-026E-4103-AE04-0346F7EF5C2F}"/>
              </a:ext>
            </a:extLst>
          </p:cNvPr>
          <p:cNvSpPr/>
          <p:nvPr userDrawn="1"/>
        </p:nvSpPr>
        <p:spPr>
          <a:xfrm>
            <a:off x="11472000" y="-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1C0FFFF4-D9E3-4A0E-BB93-6DCF367821CD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1055688" y="6288257"/>
            <a:ext cx="7913940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</p:spTree>
    <p:extLst>
      <p:ext uri="{BB962C8B-B14F-4D97-AF65-F5344CB8AC3E}">
        <p14:creationId xmlns:p14="http://schemas.microsoft.com/office/powerpoint/2010/main" val="2975625155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E9670259-4695-428B-A004-7FC80D7094B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1062000" tIns="342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A57D46A-D8D7-49BF-9479-240175CDBE8A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7540580" y="1"/>
            <a:ext cx="4651420" cy="1673605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1740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F9144E-5217-4B9A-B2C1-83385827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2619000"/>
            <a:ext cx="9000000" cy="1620000"/>
          </a:xfrm>
          <a:noFill/>
        </p:spPr>
        <p:txBody>
          <a:bodyPr lIns="342000" tIns="0" rIns="2160000" bIns="0" anchor="ctr" anchorCtr="0"/>
          <a:lstStyle>
            <a:lvl1pPr>
              <a:defRPr sz="4500" cap="all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DC10E613-8E2B-4D31-ABB0-5128576B7EE8}"/>
              </a:ext>
            </a:extLst>
          </p:cNvPr>
          <p:cNvSpPr>
            <a:spLocks noGrp="1" noChangeAspect="1"/>
          </p:cNvSpPr>
          <p:nvPr>
            <p:ph type="body" sz="quarter" idx="16"/>
          </p:nvPr>
        </p:nvSpPr>
        <p:spPr>
          <a:xfrm>
            <a:off x="10849038" y="333375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765992470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2DC463D-2F1B-4364-A3E4-F6CD28DDD6E5}"/>
              </a:ext>
            </a:extLst>
          </p:cNvPr>
          <p:cNvSpPr/>
          <p:nvPr userDrawn="1"/>
        </p:nvSpPr>
        <p:spPr>
          <a:xfrm>
            <a:off x="0" y="0"/>
            <a:ext cx="12192000" cy="687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F9144E-5217-4B9A-B2C1-83385827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2619000"/>
            <a:ext cx="9000000" cy="1620000"/>
          </a:xfrm>
          <a:noFill/>
        </p:spPr>
        <p:txBody>
          <a:bodyPr lIns="342000" tIns="0" rIns="2160000" bIns="0" anchor="ctr" anchorCtr="0"/>
          <a:lstStyle>
            <a:lvl1pPr>
              <a:defRPr sz="4500" cap="all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5DE51C8-82A3-E04F-8E00-64119A7BC465}"/>
              </a:ext>
            </a:extLst>
          </p:cNvPr>
          <p:cNvSpPr>
            <a:spLocks noGrp="1" noChangeAspect="1"/>
          </p:cNvSpPr>
          <p:nvPr>
            <p:ph type="body" sz="quarter" idx="16"/>
          </p:nvPr>
        </p:nvSpPr>
        <p:spPr>
          <a:xfrm>
            <a:off x="10849038" y="333375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273045392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61B3790-BDEB-43E5-BF9C-3E8D289EECE8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9628" y="333375"/>
            <a:ext cx="10080000" cy="1080000"/>
          </a:xfrm>
        </p:spPr>
        <p:txBody>
          <a:bodyPr/>
          <a:lstStyle>
            <a:lvl1pPr>
              <a:defRPr cap="all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FEB565-49CC-408C-BDD2-C2590A4A642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49629" y="1880314"/>
            <a:ext cx="4320000" cy="3960000"/>
          </a:xfrm>
        </p:spPr>
        <p:txBody>
          <a:bodyPr/>
          <a:lstStyle>
            <a:lvl1pPr marL="288000" indent="-288000">
              <a:spcBef>
                <a:spcPts val="1200"/>
              </a:spcBef>
              <a:buFont typeface="+mj-lt"/>
              <a:buAutoNum type="arabicPeriod"/>
              <a:defRPr sz="2200"/>
            </a:lvl1pPr>
            <a:lvl2pPr marL="288000">
              <a:spcBef>
                <a:spcPts val="600"/>
              </a:spcBef>
              <a:spcAft>
                <a:spcPts val="600"/>
              </a:spcAft>
              <a:defRPr b="0" cap="none" baseline="0">
                <a:solidFill>
                  <a:schemeClr val="tx2"/>
                </a:solidFill>
              </a:defRPr>
            </a:lvl2pPr>
            <a:lvl3pPr marL="468000">
              <a:defRPr/>
            </a:lvl3pPr>
            <a:lvl4pPr marL="0" indent="0">
              <a:buNone/>
              <a:defRPr cap="all" baseline="0">
                <a:solidFill>
                  <a:schemeClr val="accent1"/>
                </a:solidFill>
                <a:latin typeface="+mj-lt"/>
              </a:defRPr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add Agenda item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5E5FA15F-A1ED-4F06-8C67-E1D73CF85C8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1880314"/>
            <a:ext cx="4320000" cy="3960000"/>
          </a:xfrm>
        </p:spPr>
        <p:txBody>
          <a:bodyPr/>
          <a:lstStyle>
            <a:lvl1pPr marL="288000" indent="-288000">
              <a:spcBef>
                <a:spcPts val="1200"/>
              </a:spcBef>
              <a:buFont typeface="+mj-lt"/>
              <a:buAutoNum type="arabicPeriod"/>
              <a:defRPr sz="2200"/>
            </a:lvl1pPr>
            <a:lvl2pPr marL="288000">
              <a:spcBef>
                <a:spcPts val="600"/>
              </a:spcBef>
              <a:spcAft>
                <a:spcPts val="600"/>
              </a:spcAft>
              <a:defRPr b="0" cap="none" baseline="0">
                <a:solidFill>
                  <a:schemeClr val="tx2"/>
                </a:solidFill>
              </a:defRPr>
            </a:lvl2pPr>
            <a:lvl3pPr marL="468000">
              <a:defRPr/>
            </a:lvl3pPr>
            <a:lvl4pPr marL="0" indent="0">
              <a:buNone/>
              <a:defRPr cap="all" baseline="0">
                <a:solidFill>
                  <a:schemeClr val="accent1"/>
                </a:solidFill>
                <a:latin typeface="+mj-lt"/>
              </a:defRPr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add Agenda item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98866983-58A4-4EC2-ADBC-AEEA6B9D69AB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8248903" y="6288257"/>
            <a:ext cx="1183557" cy="365125"/>
          </a:xfrm>
        </p:spPr>
        <p:txBody>
          <a:bodyPr/>
          <a:lstStyle/>
          <a:p>
            <a:endParaRPr lang="en-GB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F6B299B-0652-4E6B-BB65-0DE715526B4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55688" y="6288257"/>
            <a:ext cx="7193215" cy="365125"/>
          </a:xfrm>
        </p:spPr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42DCA20-AF8B-4853-AA2C-E5E7CD8D26F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8B1AC7E-46EA-441D-9455-6E65525B6A5A}"/>
              </a:ext>
            </a:extLst>
          </p:cNvPr>
          <p:cNvSpPr/>
          <p:nvPr userDrawn="1"/>
        </p:nvSpPr>
        <p:spPr>
          <a:xfrm>
            <a:off x="0" y="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C9469F0-045F-4A85-8721-359D41A43D06}"/>
              </a:ext>
            </a:extLst>
          </p:cNvPr>
          <p:cNvSpPr/>
          <p:nvPr userDrawn="1"/>
        </p:nvSpPr>
        <p:spPr>
          <a:xfrm>
            <a:off x="11472000" y="-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2179EAA8-E18E-42F9-924F-98FF7A3E70C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128313" y="333375"/>
            <a:ext cx="1008000" cy="448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0521430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880315"/>
            <a:ext cx="10080000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06AFE3-EE64-4522-825B-815C6A28E9F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CCCCDE7-B8EA-4773-A164-304D34F89D0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C4FDAA8-8585-4D16-87AD-3485D164648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1404850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1312C68-9CDC-4DDF-AFFD-F813984EE08A}"/>
              </a:ext>
            </a:extLst>
          </p:cNvPr>
          <p:cNvSpPr/>
          <p:nvPr userDrawn="1"/>
        </p:nvSpPr>
        <p:spPr>
          <a:xfrm>
            <a:off x="0" y="-11798"/>
            <a:ext cx="12192000" cy="690814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880315"/>
            <a:ext cx="10080000" cy="396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  <a:lvl6pPr>
              <a:defRPr>
                <a:solidFill>
                  <a:schemeClr val="bg2"/>
                </a:solidFill>
              </a:defRPr>
            </a:lvl6pPr>
            <a:lvl7pPr>
              <a:defRPr>
                <a:solidFill>
                  <a:schemeClr val="bg2"/>
                </a:solidFill>
              </a:defRPr>
            </a:lvl7pPr>
            <a:lvl8pPr>
              <a:defRPr>
                <a:solidFill>
                  <a:schemeClr val="bg2"/>
                </a:solidFill>
              </a:defRPr>
            </a:lvl8pPr>
            <a:lvl9pPr>
              <a:defRPr>
                <a:solidFill>
                  <a:schemeClr val="bg2"/>
                </a:solidFill>
              </a:defRPr>
            </a:lvl9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06AFE3-EE64-4522-825B-815C6A28E9F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CCCCDE7-B8EA-4773-A164-304D34F89D0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C4FDAA8-8585-4D16-87AD-3485D164648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13531284-6BE9-BD4E-988C-3BBCE7CCAE7F}"/>
              </a:ext>
            </a:extLst>
          </p:cNvPr>
          <p:cNvSpPr>
            <a:spLocks noGrp="1" noChangeAspect="1"/>
          </p:cNvSpPr>
          <p:nvPr>
            <p:ph type="body" sz="quarter" idx="18"/>
          </p:nvPr>
        </p:nvSpPr>
        <p:spPr>
          <a:xfrm>
            <a:off x="10849038" y="333375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56357055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880315"/>
            <a:ext cx="4680000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06AFE3-EE64-4522-825B-815C6A28E9F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CCCCDE7-B8EA-4773-A164-304D34F89D0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C4FDAA8-8585-4D16-87AD-3485D164648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9FAA2598-9FF1-4FD4-A0B9-1D5412ADF05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734962" y="1880315"/>
            <a:ext cx="4680000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683917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3979AE5-365E-4EEB-8F4C-F4E45C728AEF}"/>
              </a:ext>
            </a:extLst>
          </p:cNvPr>
          <p:cNvSpPr/>
          <p:nvPr userDrawn="1"/>
        </p:nvSpPr>
        <p:spPr>
          <a:xfrm>
            <a:off x="719400" y="-2"/>
            <a:ext cx="107532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E31FF5A-63AE-45A7-AF45-BF707B1A337A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14726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472600 w 12192000"/>
              <a:gd name="connsiteY3" fmla="*/ 6858000 h 6858000"/>
              <a:gd name="connsiteX4" fmla="*/ 0 w 12192000"/>
              <a:gd name="connsiteY4" fmla="*/ 0 h 6858000"/>
              <a:gd name="connsiteX5" fmla="*/ 719400 w 12192000"/>
              <a:gd name="connsiteY5" fmla="*/ 0 h 6858000"/>
              <a:gd name="connsiteX6" fmla="*/ 7194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14726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472600" y="6858000"/>
                </a:lnTo>
                <a:close/>
                <a:moveTo>
                  <a:pt x="0" y="0"/>
                </a:moveTo>
                <a:lnTo>
                  <a:pt x="719400" y="0"/>
                </a:lnTo>
                <a:lnTo>
                  <a:pt x="7194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08000" tIns="108000" rIns="115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113A054-12CB-4197-89CB-FBA21D5F89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5688" y="4097865"/>
            <a:ext cx="5040312" cy="14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800" b="1" cap="none">
                <a:solidFill>
                  <a:schemeClr val="bg1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6pPr>
            <a:lvl7pPr marL="0" indent="0" algn="l">
              <a:buNone/>
              <a:defRPr sz="1800" b="1">
                <a:solidFill>
                  <a:schemeClr val="bg1"/>
                </a:solidFill>
              </a:defRPr>
            </a:lvl7pPr>
            <a:lvl8pPr marL="0" indent="0" algn="l">
              <a:buNone/>
              <a:defRPr sz="1800" b="1">
                <a:solidFill>
                  <a:schemeClr val="bg1"/>
                </a:solidFill>
              </a:defRPr>
            </a:lvl8pPr>
            <a:lvl9pPr marL="0" indent="0" algn="l">
              <a:buNone/>
              <a:defRPr sz="1800" b="1">
                <a:solidFill>
                  <a:schemeClr val="bg1"/>
                </a:solidFill>
              </a:defRPr>
            </a:lvl9pPr>
          </a:lstStyle>
          <a:p>
            <a:r>
              <a:rPr lang="en-AU"/>
              <a:t>Subtitle or presenters name and date</a:t>
            </a:r>
            <a:endParaRPr lang="en-GB"/>
          </a:p>
          <a:p>
            <a:pPr lvl="1"/>
            <a:r>
              <a:rPr lang="en-US"/>
              <a:t>2</a:t>
            </a:r>
          </a:p>
          <a:p>
            <a:pPr lvl="2"/>
            <a:r>
              <a:rPr lang="en-US"/>
              <a:t>3</a:t>
            </a:r>
          </a:p>
          <a:p>
            <a:pPr lvl="3"/>
            <a:r>
              <a:rPr lang="en-US"/>
              <a:t>4</a:t>
            </a:r>
          </a:p>
          <a:p>
            <a:pPr lvl="4"/>
            <a:r>
              <a:rPr lang="en-US"/>
              <a:t>5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287AC88-A942-4E4F-A359-307B996A79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1946566"/>
            <a:ext cx="10753200" cy="1620000"/>
          </a:xfrm>
          <a:noFill/>
        </p:spPr>
        <p:txBody>
          <a:bodyPr lIns="342000" tIns="342000" rIns="2160000" bIns="0" anchor="b" anchorCtr="0"/>
          <a:lstStyle>
            <a:lvl1pPr>
              <a:defRPr sz="4500" cap="all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98BCAB1-59A8-4C66-87FD-A76DA0651EF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pic>
        <p:nvPicPr>
          <p:cNvPr id="8" name="Picture 7" descr="A picture containing text&#10;&#10;Description automatically generated">
            <a:extLst>
              <a:ext uri="{FF2B5EF4-FFF2-40B4-BE49-F238E27FC236}">
                <a16:creationId xmlns:a16="http://schemas.microsoft.com/office/drawing/2014/main" id="{BD87F913-85BA-DB14-F1BE-ED71CCC523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29750" y="5742725"/>
            <a:ext cx="1824968" cy="812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512310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10794666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5EE857-4C7E-47C5-A433-5F303A10690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963" y="1413375"/>
            <a:ext cx="10794665" cy="72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3" name="Table Placeholder 12">
            <a:extLst>
              <a:ext uri="{FF2B5EF4-FFF2-40B4-BE49-F238E27FC236}">
                <a16:creationId xmlns:a16="http://schemas.microsoft.com/office/drawing/2014/main" id="{12720170-841B-4714-B671-AE40B2FE0283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334963" y="2243443"/>
            <a:ext cx="10794665" cy="3600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table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4E7EDCB-670C-46CB-A20E-159535CC5C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D18779D-2EB2-4254-A93E-7459659F2BB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8B347AD-5E50-42AC-AFB4-7F625291AB6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300567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F17809F-093D-4878-B686-CA14CFB80D98}"/>
              </a:ext>
            </a:extLst>
          </p:cNvPr>
          <p:cNvSpPr/>
          <p:nvPr userDrawn="1"/>
        </p:nvSpPr>
        <p:spPr>
          <a:xfrm>
            <a:off x="0" y="-1"/>
            <a:ext cx="12192000" cy="687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880315"/>
            <a:ext cx="4680000" cy="396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06AFE3-EE64-4522-825B-815C6A28E9F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CCCCDE7-B8EA-4773-A164-304D34F89D0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C4FDAA8-8585-4D16-87AD-3485D164648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9FAA2598-9FF1-4FD4-A0B9-1D5412ADF05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734962" y="1880315"/>
            <a:ext cx="4680000" cy="396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50471501-2B09-C34C-8512-8323391D9F9A}"/>
              </a:ext>
            </a:extLst>
          </p:cNvPr>
          <p:cNvSpPr>
            <a:spLocks noGrp="1" noChangeAspect="1"/>
          </p:cNvSpPr>
          <p:nvPr>
            <p:ph type="body" sz="quarter" idx="19"/>
          </p:nvPr>
        </p:nvSpPr>
        <p:spPr>
          <a:xfrm>
            <a:off x="10849038" y="333375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49236542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lef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450744" y="1880315"/>
            <a:ext cx="4691628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23DD628-AE63-4907-AF4B-6B53C077707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4963" y="1880314"/>
            <a:ext cx="5761037" cy="4644311"/>
          </a:xfrm>
          <a:prstGeom prst="roundRect">
            <a:avLst>
              <a:gd name="adj" fmla="val 1982"/>
            </a:avLst>
          </a:prstGeom>
          <a:solidFill>
            <a:schemeClr val="bg1">
              <a:lumMod val="85000"/>
            </a:schemeClr>
          </a:solidFill>
        </p:spPr>
        <p:txBody>
          <a:bodyPr lIns="342000" tIns="342000" rIns="342000" bIns="342000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AU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6453E03-EC16-4564-B43B-27855EB9BD2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450744" y="6288257"/>
            <a:ext cx="4320000" cy="365125"/>
          </a:xfrm>
        </p:spPr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A913BC-780A-4949-92A0-B5967D36080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459140" y="6159500"/>
            <a:ext cx="727410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3689459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16EF975B-AD72-4CB0-A546-757A6175A51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83255" y="1880314"/>
            <a:ext cx="5761038" cy="4644311"/>
          </a:xfrm>
          <a:prstGeom prst="roundRect">
            <a:avLst>
              <a:gd name="adj" fmla="val 1982"/>
            </a:avLst>
          </a:prstGeom>
          <a:solidFill>
            <a:schemeClr val="bg1">
              <a:lumMod val="85000"/>
            </a:schemeClr>
          </a:solidFill>
        </p:spPr>
        <p:txBody>
          <a:bodyPr lIns="342000" tIns="342000" rIns="342000" bIns="342000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AU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880315"/>
            <a:ext cx="4691628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C94176C4-3B30-43F2-91DE-33D09AEA7B5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A95B7BCF-DC6C-46BC-B3D2-2F18F9BC75D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547064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-full wid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23DD628-AE63-4907-AF4B-6B53C077707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4963" y="1880314"/>
            <a:ext cx="11509330" cy="4644311"/>
          </a:xfrm>
          <a:prstGeom prst="roundRect">
            <a:avLst>
              <a:gd name="adj" fmla="val 1982"/>
            </a:avLst>
          </a:prstGeom>
          <a:solidFill>
            <a:schemeClr val="bg1">
              <a:lumMod val="85000"/>
            </a:schemeClr>
          </a:solidFill>
        </p:spPr>
        <p:txBody>
          <a:bodyPr lIns="342000" tIns="342000" rIns="342000" bIns="342000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AU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6E7A7DD-8C14-4B85-B39F-1E990E1FFE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333375"/>
            <a:ext cx="5761038" cy="108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7D8FAF2-858C-419E-A577-F0425218264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15444" y="333375"/>
            <a:ext cx="3600000" cy="126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D048DB48-6039-4A0D-ACBF-D5EB8DD358F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459140" y="6159500"/>
            <a:ext cx="727410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39370715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-full ble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0">
            <a:extLst>
              <a:ext uri="{FF2B5EF4-FFF2-40B4-BE49-F238E27FC236}">
                <a16:creationId xmlns:a16="http://schemas.microsoft.com/office/drawing/2014/main" id="{5AF6F1E8-5ECE-4267-92B5-43C3523BCBE3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1062000" tIns="360000" rIns="4320000" bIns="360000" anchor="ctr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8390923A-6BDB-44C8-9456-CEB6E0A0A293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7540580" y="1"/>
            <a:ext cx="4651420" cy="1673605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1740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36FF9FCE-BF48-40F0-8FF3-3252AB1CF679}"/>
              </a:ext>
            </a:extLst>
          </p:cNvPr>
          <p:cNvSpPr>
            <a:spLocks noGrp="1" noChangeAspect="1"/>
          </p:cNvSpPr>
          <p:nvPr>
            <p:ph type="body" sz="quarter" idx="16"/>
          </p:nvPr>
        </p:nvSpPr>
        <p:spPr>
          <a:xfrm>
            <a:off x="10849038" y="333375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6E7A7DD-8C14-4B85-B39F-1E990E1FFE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333375"/>
            <a:ext cx="5761038" cy="108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7D8FAF2-858C-419E-A577-F0425218264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15444" y="333375"/>
            <a:ext cx="3600000" cy="126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  <a:lvl6pPr>
              <a:defRPr>
                <a:solidFill>
                  <a:schemeClr val="bg2"/>
                </a:solidFill>
              </a:defRPr>
            </a:lvl6pPr>
            <a:lvl7pPr>
              <a:defRPr>
                <a:solidFill>
                  <a:schemeClr val="bg2"/>
                </a:solidFill>
              </a:defRPr>
            </a:lvl7pPr>
            <a:lvl8pPr>
              <a:defRPr>
                <a:solidFill>
                  <a:schemeClr val="bg2"/>
                </a:solidFill>
              </a:defRPr>
            </a:lvl8pPr>
            <a:lvl9pPr>
              <a:defRPr>
                <a:solidFill>
                  <a:schemeClr val="bg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E0AD6A4-0D42-4CCD-B0CB-498EE201FE4E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21E9B0E-B319-4C6F-97AF-0F8D83942F0C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65D74DCF-D99B-4098-B297-0BD016160D35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16571394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right 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23DD628-AE63-4907-AF4B-6B53C077707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0"/>
            <a:ext cx="6096000" cy="6858000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</p:spPr>
        <p:txBody>
          <a:bodyPr lIns="342000" tIns="342000" rIns="1440000" bIns="342000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AU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EB2F477-266C-4C9D-A64F-287BA3F4CF3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4962" y="1880314"/>
            <a:ext cx="5220000" cy="396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771A36E-45E1-4553-9842-66EF392719C7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844884" y="1880314"/>
            <a:ext cx="2160000" cy="396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7D669EEE-6563-477F-A4CD-D425F6140F00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347256" y="1880314"/>
            <a:ext cx="2160000" cy="396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A5DE353-D720-4A1F-9ECC-89FB139059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2218" y="333375"/>
            <a:ext cx="5220000" cy="108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913AB32-E310-49A2-9A47-2348F6B61E52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6266A723-640D-4EFF-93D1-1E964694156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C4DEE883-581D-4AC9-9251-8929D0C8E380}"/>
              </a:ext>
            </a:extLst>
          </p:cNvPr>
          <p:cNvSpPr>
            <a:spLocks noGrp="1" noChangeAspect="1"/>
          </p:cNvSpPr>
          <p:nvPr>
            <p:ph type="body" sz="quarter" idx="25"/>
          </p:nvPr>
        </p:nvSpPr>
        <p:spPr>
          <a:xfrm>
            <a:off x="7540580" y="1"/>
            <a:ext cx="4651420" cy="1673605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1740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44C9A43E-093B-42AD-B427-BA16E45D56B6}"/>
              </a:ext>
            </a:extLst>
          </p:cNvPr>
          <p:cNvSpPr>
            <a:spLocks noGrp="1" noChangeAspect="1"/>
          </p:cNvSpPr>
          <p:nvPr>
            <p:ph type="body" sz="quarter" idx="26"/>
          </p:nvPr>
        </p:nvSpPr>
        <p:spPr>
          <a:xfrm>
            <a:off x="10849038" y="333375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290052413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7F07ECCF-5EE7-4BA4-BD7C-50DF82C3F5BF}"/>
              </a:ext>
            </a:extLst>
          </p:cNvPr>
          <p:cNvSpPr/>
          <p:nvPr userDrawn="1"/>
        </p:nvSpPr>
        <p:spPr>
          <a:xfrm>
            <a:off x="0" y="0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10080000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08DD2E7-C8BF-4E45-AE9F-C1389B7B38D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963" y="2600315"/>
            <a:ext cx="2160000" cy="3240000"/>
          </a:xfrm>
        </p:spPr>
        <p:txBody>
          <a:bodyPr/>
          <a:lstStyle>
            <a:lvl1pPr>
              <a:defRPr sz="1600" cap="all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 b="0" cap="none" baseline="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D7BC8491-CCAE-458C-BD6D-862F904604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979212" y="2600315"/>
            <a:ext cx="2160000" cy="3240000"/>
          </a:xfrm>
        </p:spPr>
        <p:txBody>
          <a:bodyPr/>
          <a:lstStyle>
            <a:lvl1pPr>
              <a:defRPr sz="1600" cap="all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 b="0" cap="none" baseline="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B036190F-67DD-4555-BB1F-179E8E9C46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23461" y="2600315"/>
            <a:ext cx="2160000" cy="3240000"/>
          </a:xfrm>
        </p:spPr>
        <p:txBody>
          <a:bodyPr/>
          <a:lstStyle>
            <a:lvl1pPr>
              <a:defRPr sz="1600" cap="all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 b="0" cap="none" baseline="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F1044E10-4BD7-47DE-8A5A-57C9557A0B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67709" y="2600315"/>
            <a:ext cx="2160000" cy="3240000"/>
          </a:xfrm>
        </p:spPr>
        <p:txBody>
          <a:bodyPr/>
          <a:lstStyle>
            <a:lvl1pPr>
              <a:defRPr sz="1600" cap="all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 b="0" cap="none" baseline="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B900929-35E2-4B6A-A4BF-9E02733E3AB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6B47C34-75D5-42A4-8A99-FADDAF9BBA6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67B0344-E805-4D5F-B3FB-AF95BC74870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49792A8A-88CD-4947-B7C8-CF7FA124B20A}"/>
              </a:ext>
            </a:extLst>
          </p:cNvPr>
          <p:cNvSpPr>
            <a:spLocks noGrp="1" noChangeAspect="1"/>
          </p:cNvSpPr>
          <p:nvPr>
            <p:ph type="body" sz="quarter" idx="23"/>
          </p:nvPr>
        </p:nvSpPr>
        <p:spPr>
          <a:xfrm>
            <a:off x="10849038" y="333375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822617426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7F07ECCF-5EE7-4BA4-BD7C-50DF82C3F5BF}"/>
              </a:ext>
            </a:extLst>
          </p:cNvPr>
          <p:cNvSpPr/>
          <p:nvPr userDrawn="1"/>
        </p:nvSpPr>
        <p:spPr>
          <a:xfrm>
            <a:off x="0" y="0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F1044E10-4BD7-47DE-8A5A-57C9557A0B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42214" y="2106271"/>
            <a:ext cx="4507572" cy="2281251"/>
          </a:xfrm>
        </p:spPr>
        <p:txBody>
          <a:bodyPr/>
          <a:lstStyle>
            <a:lvl1pPr>
              <a:defRPr sz="2800" cap="none" baseline="0">
                <a:solidFill>
                  <a:schemeClr val="accent1"/>
                </a:solidFill>
                <a:latin typeface="+mj-lt"/>
              </a:defRPr>
            </a:lvl1pPr>
            <a:lvl2pPr algn="l">
              <a:spcBef>
                <a:spcPts val="600"/>
              </a:spcBef>
              <a:defRPr sz="1600" b="0" cap="none" baseline="0">
                <a:solidFill>
                  <a:schemeClr val="accent1"/>
                </a:solidFill>
              </a:defRPr>
            </a:lvl2pPr>
            <a:lvl3pPr algn="l">
              <a:defRPr sz="1600" cap="none">
                <a:solidFill>
                  <a:schemeClr val="accent1"/>
                </a:solidFill>
              </a:defRPr>
            </a:lvl3pPr>
            <a:lvl4pPr algn="l">
              <a:defRPr sz="1600" cap="none">
                <a:solidFill>
                  <a:schemeClr val="accent1"/>
                </a:solidFill>
              </a:defRPr>
            </a:lvl4pPr>
            <a:lvl5pPr algn="l">
              <a:defRPr sz="1600" cap="none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CCFA2A9-BC18-4CF8-AD38-42B263119472}"/>
              </a:ext>
            </a:extLst>
          </p:cNvPr>
          <p:cNvSpPr txBox="1"/>
          <p:nvPr userDrawn="1"/>
        </p:nvSpPr>
        <p:spPr>
          <a:xfrm>
            <a:off x="2756995" y="1307904"/>
            <a:ext cx="914033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2000">
                <a:solidFill>
                  <a:schemeClr val="accent1"/>
                </a:solidFill>
                <a:latin typeface="+mj-lt"/>
              </a:rPr>
              <a:t>“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9C98CC0-E077-4ADE-8BC2-9559518E22D8}"/>
              </a:ext>
            </a:extLst>
          </p:cNvPr>
          <p:cNvSpPr txBox="1"/>
          <p:nvPr userDrawn="1"/>
        </p:nvSpPr>
        <p:spPr>
          <a:xfrm>
            <a:off x="7755716" y="3692995"/>
            <a:ext cx="1643399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2000">
                <a:solidFill>
                  <a:schemeClr val="tx2"/>
                </a:solidFill>
                <a:latin typeface="+mj-lt"/>
              </a:rPr>
              <a:t>“</a:t>
            </a:r>
            <a:r>
              <a:rPr lang="en-AU" sz="12000">
                <a:solidFill>
                  <a:schemeClr val="accent1"/>
                </a:solidFill>
                <a:latin typeface="+mj-lt"/>
              </a:rPr>
              <a:t>”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25A78CB-C25F-477B-ACB8-7A8C3B33F7D7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0DC4922-3AFC-43D6-9996-17D5CAC06E9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54801EF-D4C3-4D21-A7DC-76D432B0F00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7E00BA3E-95EC-1C47-9AC2-327806835F07}"/>
              </a:ext>
            </a:extLst>
          </p:cNvPr>
          <p:cNvSpPr>
            <a:spLocks noGrp="1" noChangeAspect="1"/>
          </p:cNvSpPr>
          <p:nvPr>
            <p:ph type="body" sz="quarter" idx="16"/>
          </p:nvPr>
        </p:nvSpPr>
        <p:spPr>
          <a:xfrm>
            <a:off x="10849038" y="333375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504482830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10794666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5EE857-4C7E-47C5-A433-5F303A10690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963" y="1413375"/>
            <a:ext cx="10794665" cy="72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3" name="Table Placeholder 12">
            <a:extLst>
              <a:ext uri="{FF2B5EF4-FFF2-40B4-BE49-F238E27FC236}">
                <a16:creationId xmlns:a16="http://schemas.microsoft.com/office/drawing/2014/main" id="{12720170-841B-4714-B671-AE40B2FE0283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334963" y="2243443"/>
            <a:ext cx="10794665" cy="3600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table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4E7EDCB-670C-46CB-A20E-159535CC5C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D18779D-2EB2-4254-A93E-7459659F2BB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8B347AD-5E50-42AC-AFB4-7F625291AB6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0407963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10801351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5EE857-4C7E-47C5-A433-5F303A10690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964" y="1413375"/>
            <a:ext cx="10801350" cy="72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D1ECE4F1-33EB-4137-BED8-59885BB39C47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334963" y="2243442"/>
            <a:ext cx="10801350" cy="3599999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778F5DE-1344-42BD-82D0-6611DD7B1FC6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D0D518F-1062-474E-BA48-10EA56B2C55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2C63567-251B-4660-ADF6-37AB6DCF01D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205561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10801351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5EE857-4C7E-47C5-A433-5F303A10690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964" y="1413375"/>
            <a:ext cx="10801350" cy="72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D1ECE4F1-33EB-4137-BED8-59885BB39C47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334963" y="2243442"/>
            <a:ext cx="10801350" cy="3599999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778F5DE-1344-42BD-82D0-6611DD7B1FC6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D0D518F-1062-474E-BA48-10EA56B2C55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2C63567-251B-4660-ADF6-37AB6DCF01D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0035165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D583ABC-22A1-400D-B5EB-018BF7A1B892}"/>
              </a:ext>
            </a:extLst>
          </p:cNvPr>
          <p:cNvSpPr/>
          <p:nvPr userDrawn="1"/>
        </p:nvSpPr>
        <p:spPr>
          <a:xfrm>
            <a:off x="0" y="0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10794666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5EE857-4C7E-47C5-A433-5F303A10690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963" y="1413375"/>
            <a:ext cx="10794665" cy="72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3" name="Table Placeholder 12">
            <a:extLst>
              <a:ext uri="{FF2B5EF4-FFF2-40B4-BE49-F238E27FC236}">
                <a16:creationId xmlns:a16="http://schemas.microsoft.com/office/drawing/2014/main" id="{12720170-841B-4714-B671-AE40B2FE0283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334963" y="2243443"/>
            <a:ext cx="10794665" cy="3600000"/>
          </a:xfrm>
        </p:spPr>
        <p:txBody>
          <a:bodyPr anchor="ctr" anchorCtr="0"/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4E7EDCB-670C-46CB-A20E-159535CC5C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D18779D-2EB2-4254-A93E-7459659F2BB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8B347AD-5E50-42AC-AFB4-7F625291AB6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37ADFEC-1009-E74F-BF45-0942A2AC8772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10849038" y="333375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6024917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C60C8A8-1B70-4653-94B4-DE00B5C785B3}"/>
              </a:ext>
            </a:extLst>
          </p:cNvPr>
          <p:cNvSpPr/>
          <p:nvPr userDrawn="1"/>
        </p:nvSpPr>
        <p:spPr>
          <a:xfrm>
            <a:off x="0" y="0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10801351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5EE857-4C7E-47C5-A433-5F303A10690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964" y="1413375"/>
            <a:ext cx="10801350" cy="72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D1ECE4F1-33EB-4137-BED8-59885BB39C47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334963" y="2243442"/>
            <a:ext cx="10801350" cy="3599999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778F5DE-1344-42BD-82D0-6611DD7B1FC6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D0D518F-1062-474E-BA48-10EA56B2C55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2C63567-251B-4660-ADF6-37AB6DCF01D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A3FF1CD0-9CAF-AC4A-8BD8-B3F2D6F6D323}"/>
              </a:ext>
            </a:extLst>
          </p:cNvPr>
          <p:cNvSpPr>
            <a:spLocks noGrp="1" noChangeAspect="1"/>
          </p:cNvSpPr>
          <p:nvPr>
            <p:ph type="body" sz="quarter" idx="16"/>
          </p:nvPr>
        </p:nvSpPr>
        <p:spPr>
          <a:xfrm>
            <a:off x="10849038" y="333375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38169285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76849F14-4971-4208-82A8-1F0513897926}"/>
              </a:ext>
            </a:extLst>
          </p:cNvPr>
          <p:cNvSpPr/>
          <p:nvPr userDrawn="1"/>
        </p:nvSpPr>
        <p:spPr>
          <a:xfrm>
            <a:off x="719400" y="-2"/>
            <a:ext cx="107532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096AA35B-6D3E-4809-9D78-9CF31081E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9400" y="-2"/>
            <a:ext cx="4680000" cy="4068000"/>
          </a:xfrm>
          <a:solidFill>
            <a:schemeClr val="tx2"/>
          </a:solidFill>
        </p:spPr>
        <p:txBody>
          <a:bodyPr lIns="342000" tIns="342000" rIns="0" bIns="504000" anchor="b" anchorCtr="0"/>
          <a:lstStyle>
            <a:lvl1pPr>
              <a:defRPr sz="4500">
                <a:solidFill>
                  <a:schemeClr val="accent1"/>
                </a:solidFill>
              </a:defRPr>
            </a:lvl1pPr>
          </a:lstStyle>
          <a:p>
            <a:r>
              <a:rPr lang="en-US"/>
              <a:t>Thank you</a:t>
            </a:r>
            <a:endParaRPr lang="en-AU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FD95F930-CD55-469B-9FD0-1150DA73B39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-2"/>
            <a:ext cx="12192000" cy="6876000"/>
          </a:xfrm>
          <a:custGeom>
            <a:avLst/>
            <a:gdLst>
              <a:gd name="connsiteX0" fmla="*/ 114726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472600 w 12192000"/>
              <a:gd name="connsiteY3" fmla="*/ 6858000 h 6858000"/>
              <a:gd name="connsiteX4" fmla="*/ 0 w 12192000"/>
              <a:gd name="connsiteY4" fmla="*/ 0 h 6858000"/>
              <a:gd name="connsiteX5" fmla="*/ 719400 w 12192000"/>
              <a:gd name="connsiteY5" fmla="*/ 0 h 6858000"/>
              <a:gd name="connsiteX6" fmla="*/ 7194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14726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472600" y="6858000"/>
                </a:lnTo>
                <a:close/>
                <a:moveTo>
                  <a:pt x="0" y="0"/>
                </a:moveTo>
                <a:lnTo>
                  <a:pt x="719400" y="0"/>
                </a:lnTo>
                <a:lnTo>
                  <a:pt x="7194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08000" tIns="108000" rIns="115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F8BC909C-567D-4F9C-A0DF-D05DE8F82075}"/>
              </a:ext>
            </a:extLst>
          </p:cNvPr>
          <p:cNvSpPr>
            <a:spLocks noChangeAspect="1"/>
          </p:cNvSpPr>
          <p:nvPr/>
        </p:nvSpPr>
        <p:spPr>
          <a:xfrm>
            <a:off x="7916652" y="4591756"/>
            <a:ext cx="242382" cy="242382"/>
          </a:xfrm>
          <a:custGeom>
            <a:avLst/>
            <a:gdLst>
              <a:gd name="connsiteX0" fmla="*/ 357950 w 809625"/>
              <a:gd name="connsiteY0" fmla="*/ 333375 h 809625"/>
              <a:gd name="connsiteX1" fmla="*/ 480537 w 809625"/>
              <a:gd name="connsiteY1" fmla="*/ 397002 h 809625"/>
              <a:gd name="connsiteX2" fmla="*/ 357950 w 809625"/>
              <a:gd name="connsiteY2" fmla="*/ 460439 h 809625"/>
              <a:gd name="connsiteX3" fmla="*/ 242887 w 809625"/>
              <a:gd name="connsiteY3" fmla="*/ 249555 h 809625"/>
              <a:gd name="connsiteX4" fmla="*/ 178117 w 809625"/>
              <a:gd name="connsiteY4" fmla="*/ 314325 h 809625"/>
              <a:gd name="connsiteX5" fmla="*/ 178117 w 809625"/>
              <a:gd name="connsiteY5" fmla="*/ 495300 h 809625"/>
              <a:gd name="connsiteX6" fmla="*/ 242887 w 809625"/>
              <a:gd name="connsiteY6" fmla="*/ 560070 h 809625"/>
              <a:gd name="connsiteX7" fmla="*/ 566737 w 809625"/>
              <a:gd name="connsiteY7" fmla="*/ 560070 h 809625"/>
              <a:gd name="connsiteX8" fmla="*/ 631507 w 809625"/>
              <a:gd name="connsiteY8" fmla="*/ 495300 h 809625"/>
              <a:gd name="connsiteX9" fmla="*/ 631507 w 809625"/>
              <a:gd name="connsiteY9" fmla="*/ 314325 h 809625"/>
              <a:gd name="connsiteX10" fmla="*/ 566737 w 809625"/>
              <a:gd name="connsiteY10" fmla="*/ 249555 h 809625"/>
              <a:gd name="connsiteX11" fmla="*/ 404813 w 809625"/>
              <a:gd name="connsiteY11" fmla="*/ 0 h 809625"/>
              <a:gd name="connsiteX12" fmla="*/ 809625 w 809625"/>
              <a:gd name="connsiteY12" fmla="*/ 404813 h 809625"/>
              <a:gd name="connsiteX13" fmla="*/ 404813 w 809625"/>
              <a:gd name="connsiteY13" fmla="*/ 809625 h 809625"/>
              <a:gd name="connsiteX14" fmla="*/ 0 w 809625"/>
              <a:gd name="connsiteY14" fmla="*/ 404813 h 809625"/>
              <a:gd name="connsiteX15" fmla="*/ 404813 w 809625"/>
              <a:gd name="connsiteY15" fmla="*/ 0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809625" h="809625">
                <a:moveTo>
                  <a:pt x="357950" y="333375"/>
                </a:moveTo>
                <a:lnTo>
                  <a:pt x="480537" y="397002"/>
                </a:lnTo>
                <a:lnTo>
                  <a:pt x="357950" y="460439"/>
                </a:lnTo>
                <a:close/>
                <a:moveTo>
                  <a:pt x="242887" y="249555"/>
                </a:moveTo>
                <a:cubicBezTo>
                  <a:pt x="207159" y="249660"/>
                  <a:pt x="178222" y="278597"/>
                  <a:pt x="178117" y="314325"/>
                </a:cubicBezTo>
                <a:lnTo>
                  <a:pt x="178117" y="495300"/>
                </a:lnTo>
                <a:cubicBezTo>
                  <a:pt x="178222" y="531028"/>
                  <a:pt x="207159" y="559965"/>
                  <a:pt x="242887" y="560070"/>
                </a:cubicBezTo>
                <a:lnTo>
                  <a:pt x="566737" y="560070"/>
                </a:lnTo>
                <a:cubicBezTo>
                  <a:pt x="602465" y="559965"/>
                  <a:pt x="631402" y="531028"/>
                  <a:pt x="631507" y="495300"/>
                </a:cubicBezTo>
                <a:lnTo>
                  <a:pt x="631507" y="314325"/>
                </a:lnTo>
                <a:cubicBezTo>
                  <a:pt x="631402" y="278597"/>
                  <a:pt x="602465" y="249660"/>
                  <a:pt x="566737" y="249555"/>
                </a:cubicBezTo>
                <a:close/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2487C176-18A9-4BB0-BD80-DEC34233A800}"/>
              </a:ext>
            </a:extLst>
          </p:cNvPr>
          <p:cNvSpPr>
            <a:spLocks noChangeAspect="1"/>
          </p:cNvSpPr>
          <p:nvPr/>
        </p:nvSpPr>
        <p:spPr>
          <a:xfrm>
            <a:off x="8298996" y="4591756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495146 w 809625"/>
              <a:gd name="connsiteY5" fmla="*/ 220645 h 809625"/>
              <a:gd name="connsiteX6" fmla="*/ 428527 w 809625"/>
              <a:gd name="connsiteY6" fmla="*/ 245841 h 809625"/>
              <a:gd name="connsiteX7" fmla="*/ 399192 w 809625"/>
              <a:gd name="connsiteY7" fmla="*/ 313563 h 809625"/>
              <a:gd name="connsiteX8" fmla="*/ 401573 w 809625"/>
              <a:gd name="connsiteY8" fmla="*/ 334803 h 809625"/>
              <a:gd name="connsiteX9" fmla="*/ 209549 w 809625"/>
              <a:gd name="connsiteY9" fmla="*/ 238125 h 809625"/>
              <a:gd name="connsiteX10" fmla="*/ 238124 w 809625"/>
              <a:gd name="connsiteY10" fmla="*/ 361950 h 809625"/>
              <a:gd name="connsiteX11" fmla="*/ 195928 w 809625"/>
              <a:gd name="connsiteY11" fmla="*/ 350329 h 809625"/>
              <a:gd name="connsiteX12" fmla="*/ 195929 w 809625"/>
              <a:gd name="connsiteY12" fmla="*/ 351567 h 809625"/>
              <a:gd name="connsiteX13" fmla="*/ 270605 w 809625"/>
              <a:gd name="connsiteY13" fmla="*/ 442722 h 809625"/>
              <a:gd name="connsiteX14" fmla="*/ 228599 w 809625"/>
              <a:gd name="connsiteY14" fmla="*/ 444341 h 809625"/>
              <a:gd name="connsiteX15" fmla="*/ 315467 w 809625"/>
              <a:gd name="connsiteY15" fmla="*/ 508920 h 809625"/>
              <a:gd name="connsiteX16" fmla="*/ 200024 w 809625"/>
              <a:gd name="connsiteY16" fmla="*/ 548544 h 809625"/>
              <a:gd name="connsiteX17" fmla="*/ 177831 w 809625"/>
              <a:gd name="connsiteY17" fmla="*/ 547211 h 809625"/>
              <a:gd name="connsiteX18" fmla="*/ 320706 w 809625"/>
              <a:gd name="connsiteY18" fmla="*/ 589026 h 809625"/>
              <a:gd name="connsiteX19" fmla="*/ 585406 w 809625"/>
              <a:gd name="connsiteY19" fmla="*/ 324421 h 809625"/>
              <a:gd name="connsiteX20" fmla="*/ 585406 w 809625"/>
              <a:gd name="connsiteY20" fmla="*/ 312324 h 809625"/>
              <a:gd name="connsiteX21" fmla="*/ 631507 w 809625"/>
              <a:gd name="connsiteY21" fmla="*/ 264223 h 809625"/>
              <a:gd name="connsiteX22" fmla="*/ 578072 w 809625"/>
              <a:gd name="connsiteY22" fmla="*/ 278892 h 809625"/>
              <a:gd name="connsiteX23" fmla="*/ 619124 w 809625"/>
              <a:gd name="connsiteY23" fmla="*/ 227361 h 809625"/>
              <a:gd name="connsiteX24" fmla="*/ 560069 w 809625"/>
              <a:gd name="connsiteY24" fmla="*/ 249936 h 809625"/>
              <a:gd name="connsiteX25" fmla="*/ 495146 w 809625"/>
              <a:gd name="connsiteY25" fmla="*/ 220645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495146" y="220645"/>
                </a:moveTo>
                <a:cubicBezTo>
                  <a:pt x="471342" y="219904"/>
                  <a:pt x="447255" y="228245"/>
                  <a:pt x="428527" y="245841"/>
                </a:cubicBezTo>
                <a:cubicBezTo>
                  <a:pt x="409833" y="263407"/>
                  <a:pt x="399219" y="287911"/>
                  <a:pt x="399192" y="313563"/>
                </a:cubicBezTo>
                <a:cubicBezTo>
                  <a:pt x="399204" y="320709"/>
                  <a:pt x="400003" y="327832"/>
                  <a:pt x="401573" y="334803"/>
                </a:cubicBezTo>
                <a:cubicBezTo>
                  <a:pt x="326768" y="331204"/>
                  <a:pt x="256991" y="296073"/>
                  <a:pt x="209549" y="238125"/>
                </a:cubicBezTo>
                <a:cubicBezTo>
                  <a:pt x="185023" y="280491"/>
                  <a:pt x="197513" y="334615"/>
                  <a:pt x="238124" y="361950"/>
                </a:cubicBezTo>
                <a:cubicBezTo>
                  <a:pt x="223336" y="361482"/>
                  <a:pt x="208871" y="357499"/>
                  <a:pt x="195928" y="350329"/>
                </a:cubicBezTo>
                <a:lnTo>
                  <a:pt x="195929" y="351567"/>
                </a:lnTo>
                <a:cubicBezTo>
                  <a:pt x="195962" y="395849"/>
                  <a:pt x="227195" y="433974"/>
                  <a:pt x="270605" y="442722"/>
                </a:cubicBezTo>
                <a:cubicBezTo>
                  <a:pt x="256901" y="446399"/>
                  <a:pt x="242546" y="446952"/>
                  <a:pt x="228599" y="444341"/>
                </a:cubicBezTo>
                <a:cubicBezTo>
                  <a:pt x="240745" y="482243"/>
                  <a:pt x="275672" y="508209"/>
                  <a:pt x="315467" y="508920"/>
                </a:cubicBezTo>
                <a:cubicBezTo>
                  <a:pt x="282513" y="534690"/>
                  <a:pt x="241858" y="548644"/>
                  <a:pt x="200024" y="548544"/>
                </a:cubicBezTo>
                <a:cubicBezTo>
                  <a:pt x="192607" y="548536"/>
                  <a:pt x="185196" y="548091"/>
                  <a:pt x="177831" y="547211"/>
                </a:cubicBezTo>
                <a:cubicBezTo>
                  <a:pt x="220421" y="574649"/>
                  <a:pt x="270043" y="589172"/>
                  <a:pt x="320706" y="589026"/>
                </a:cubicBezTo>
                <a:cubicBezTo>
                  <a:pt x="492156" y="589026"/>
                  <a:pt x="585406" y="447294"/>
                  <a:pt x="585406" y="324421"/>
                </a:cubicBezTo>
                <a:cubicBezTo>
                  <a:pt x="585406" y="320325"/>
                  <a:pt x="585406" y="316325"/>
                  <a:pt x="585406" y="312324"/>
                </a:cubicBezTo>
                <a:cubicBezTo>
                  <a:pt x="603503" y="299151"/>
                  <a:pt x="619113" y="282863"/>
                  <a:pt x="631507" y="264223"/>
                </a:cubicBezTo>
                <a:cubicBezTo>
                  <a:pt x="614513" y="271713"/>
                  <a:pt x="596508" y="276656"/>
                  <a:pt x="578072" y="278892"/>
                </a:cubicBezTo>
                <a:cubicBezTo>
                  <a:pt x="597588" y="267302"/>
                  <a:pt x="612190" y="248974"/>
                  <a:pt x="619124" y="227361"/>
                </a:cubicBezTo>
                <a:cubicBezTo>
                  <a:pt x="600877" y="238213"/>
                  <a:pt x="580902" y="245848"/>
                  <a:pt x="560069" y="249936"/>
                </a:cubicBezTo>
                <a:cubicBezTo>
                  <a:pt x="542473" y="231209"/>
                  <a:pt x="518951" y="221387"/>
                  <a:pt x="495146" y="22064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41393088-2A2D-4F19-A536-4C5B46718A69}"/>
              </a:ext>
            </a:extLst>
          </p:cNvPr>
          <p:cNvSpPr>
            <a:spLocks noChangeAspect="1"/>
          </p:cNvSpPr>
          <p:nvPr/>
        </p:nvSpPr>
        <p:spPr>
          <a:xfrm>
            <a:off x="8681340" y="4591756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230981 w 809625"/>
              <a:gd name="connsiteY5" fmla="*/ 177069 h 809625"/>
              <a:gd name="connsiteX6" fmla="*/ 176498 w 809625"/>
              <a:gd name="connsiteY6" fmla="*/ 231552 h 809625"/>
              <a:gd name="connsiteX7" fmla="*/ 230981 w 809625"/>
              <a:gd name="connsiteY7" fmla="*/ 286035 h 809625"/>
              <a:gd name="connsiteX8" fmla="*/ 285464 w 809625"/>
              <a:gd name="connsiteY8" fmla="*/ 231552 h 809625"/>
              <a:gd name="connsiteX9" fmla="*/ 230981 w 809625"/>
              <a:gd name="connsiteY9" fmla="*/ 177069 h 809625"/>
              <a:gd name="connsiteX10" fmla="*/ 517493 w 809625"/>
              <a:gd name="connsiteY10" fmla="*/ 319849 h 809625"/>
              <a:gd name="connsiteX11" fmla="*/ 428625 w 809625"/>
              <a:gd name="connsiteY11" fmla="*/ 368617 h 809625"/>
              <a:gd name="connsiteX12" fmla="*/ 426910 w 809625"/>
              <a:gd name="connsiteY12" fmla="*/ 368617 h 809625"/>
              <a:gd name="connsiteX13" fmla="*/ 426910 w 809625"/>
              <a:gd name="connsiteY13" fmla="*/ 327278 h 809625"/>
              <a:gd name="connsiteX14" fmla="*/ 336899 w 809625"/>
              <a:gd name="connsiteY14" fmla="*/ 327278 h 809625"/>
              <a:gd name="connsiteX15" fmla="*/ 336899 w 809625"/>
              <a:gd name="connsiteY15" fmla="*/ 629602 h 809625"/>
              <a:gd name="connsiteX16" fmla="*/ 430720 w 809625"/>
              <a:gd name="connsiteY16" fmla="*/ 629602 h 809625"/>
              <a:gd name="connsiteX17" fmla="*/ 430720 w 809625"/>
              <a:gd name="connsiteY17" fmla="*/ 480059 h 809625"/>
              <a:gd name="connsiteX18" fmla="*/ 487108 w 809625"/>
              <a:gd name="connsiteY18" fmla="*/ 402430 h 809625"/>
              <a:gd name="connsiteX19" fmla="*/ 535876 w 809625"/>
              <a:gd name="connsiteY19" fmla="*/ 482631 h 809625"/>
              <a:gd name="connsiteX20" fmla="*/ 535876 w 809625"/>
              <a:gd name="connsiteY20" fmla="*/ 629602 h 809625"/>
              <a:gd name="connsiteX21" fmla="*/ 630174 w 809625"/>
              <a:gd name="connsiteY21" fmla="*/ 629602 h 809625"/>
              <a:gd name="connsiteX22" fmla="*/ 630174 w 809625"/>
              <a:gd name="connsiteY22" fmla="*/ 463771 h 809625"/>
              <a:gd name="connsiteX23" fmla="*/ 517493 w 809625"/>
              <a:gd name="connsiteY23" fmla="*/ 319849 h 809625"/>
              <a:gd name="connsiteX24" fmla="*/ 183927 w 809625"/>
              <a:gd name="connsiteY24" fmla="*/ 327278 h 809625"/>
              <a:gd name="connsiteX25" fmla="*/ 183927 w 809625"/>
              <a:gd name="connsiteY25" fmla="*/ 629602 h 809625"/>
              <a:gd name="connsiteX26" fmla="*/ 277939 w 809625"/>
              <a:gd name="connsiteY26" fmla="*/ 629602 h 809625"/>
              <a:gd name="connsiteX27" fmla="*/ 277939 w 809625"/>
              <a:gd name="connsiteY27" fmla="*/ 327278 h 809625"/>
              <a:gd name="connsiteX28" fmla="*/ 183927 w 809625"/>
              <a:gd name="connsiteY28" fmla="*/ 327278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230981" y="177069"/>
                </a:moveTo>
                <a:cubicBezTo>
                  <a:pt x="200891" y="177069"/>
                  <a:pt x="176498" y="201462"/>
                  <a:pt x="176498" y="231552"/>
                </a:cubicBezTo>
                <a:cubicBezTo>
                  <a:pt x="176498" y="261642"/>
                  <a:pt x="200891" y="286035"/>
                  <a:pt x="230981" y="286035"/>
                </a:cubicBezTo>
                <a:cubicBezTo>
                  <a:pt x="261071" y="286035"/>
                  <a:pt x="285464" y="261642"/>
                  <a:pt x="285464" y="231552"/>
                </a:cubicBezTo>
                <a:cubicBezTo>
                  <a:pt x="285464" y="201462"/>
                  <a:pt x="261071" y="177069"/>
                  <a:pt x="230981" y="177069"/>
                </a:cubicBezTo>
                <a:close/>
                <a:moveTo>
                  <a:pt x="517493" y="319849"/>
                </a:moveTo>
                <a:cubicBezTo>
                  <a:pt x="481146" y="318484"/>
                  <a:pt x="446996" y="337225"/>
                  <a:pt x="428625" y="368617"/>
                </a:cubicBezTo>
                <a:lnTo>
                  <a:pt x="426910" y="368617"/>
                </a:lnTo>
                <a:lnTo>
                  <a:pt x="426910" y="327278"/>
                </a:lnTo>
                <a:lnTo>
                  <a:pt x="336899" y="327278"/>
                </a:lnTo>
                <a:lnTo>
                  <a:pt x="336899" y="629602"/>
                </a:lnTo>
                <a:lnTo>
                  <a:pt x="430720" y="629602"/>
                </a:lnTo>
                <a:lnTo>
                  <a:pt x="430720" y="480059"/>
                </a:lnTo>
                <a:cubicBezTo>
                  <a:pt x="430720" y="440530"/>
                  <a:pt x="438912" y="402430"/>
                  <a:pt x="487108" y="402430"/>
                </a:cubicBezTo>
                <a:cubicBezTo>
                  <a:pt x="535305" y="402430"/>
                  <a:pt x="535876" y="447579"/>
                  <a:pt x="535876" y="482631"/>
                </a:cubicBezTo>
                <a:lnTo>
                  <a:pt x="535876" y="629602"/>
                </a:lnTo>
                <a:lnTo>
                  <a:pt x="630174" y="629602"/>
                </a:lnTo>
                <a:lnTo>
                  <a:pt x="630174" y="463771"/>
                </a:lnTo>
                <a:cubicBezTo>
                  <a:pt x="630174" y="382428"/>
                  <a:pt x="612743" y="319849"/>
                  <a:pt x="517493" y="319849"/>
                </a:cubicBezTo>
                <a:close/>
                <a:moveTo>
                  <a:pt x="183927" y="327278"/>
                </a:moveTo>
                <a:lnTo>
                  <a:pt x="183927" y="629602"/>
                </a:lnTo>
                <a:lnTo>
                  <a:pt x="277939" y="629602"/>
                </a:lnTo>
                <a:lnTo>
                  <a:pt x="277939" y="327278"/>
                </a:lnTo>
                <a:lnTo>
                  <a:pt x="183927" y="32727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F1F78FC3-536A-4C34-B2A3-95085DF38A8D}"/>
              </a:ext>
            </a:extLst>
          </p:cNvPr>
          <p:cNvSpPr>
            <a:spLocks noChangeAspect="1"/>
          </p:cNvSpPr>
          <p:nvPr/>
        </p:nvSpPr>
        <p:spPr>
          <a:xfrm>
            <a:off x="9063685" y="4591756"/>
            <a:ext cx="242382" cy="242382"/>
          </a:xfrm>
          <a:custGeom>
            <a:avLst/>
            <a:gdLst>
              <a:gd name="connsiteX0" fmla="*/ 404812 w 809625"/>
              <a:gd name="connsiteY0" fmla="*/ 288417 h 809625"/>
              <a:gd name="connsiteX1" fmla="*/ 288417 w 809625"/>
              <a:gd name="connsiteY1" fmla="*/ 404812 h 809625"/>
              <a:gd name="connsiteX2" fmla="*/ 404812 w 809625"/>
              <a:gd name="connsiteY2" fmla="*/ 521208 h 809625"/>
              <a:gd name="connsiteX3" fmla="*/ 521208 w 809625"/>
              <a:gd name="connsiteY3" fmla="*/ 404812 h 809625"/>
              <a:gd name="connsiteX4" fmla="*/ 404812 w 809625"/>
              <a:gd name="connsiteY4" fmla="*/ 288417 h 809625"/>
              <a:gd name="connsiteX5" fmla="*/ 525780 w 809625"/>
              <a:gd name="connsiteY5" fmla="*/ 256603 h 809625"/>
              <a:gd name="connsiteX6" fmla="*/ 498538 w 809625"/>
              <a:gd name="connsiteY6" fmla="*/ 283844 h 809625"/>
              <a:gd name="connsiteX7" fmla="*/ 525780 w 809625"/>
              <a:gd name="connsiteY7" fmla="*/ 311086 h 809625"/>
              <a:gd name="connsiteX8" fmla="*/ 553021 w 809625"/>
              <a:gd name="connsiteY8" fmla="*/ 283844 h 809625"/>
              <a:gd name="connsiteX9" fmla="*/ 525780 w 809625"/>
              <a:gd name="connsiteY9" fmla="*/ 256603 h 809625"/>
              <a:gd name="connsiteX10" fmla="*/ 404812 w 809625"/>
              <a:gd name="connsiteY10" fmla="*/ 219075 h 809625"/>
              <a:gd name="connsiteX11" fmla="*/ 496443 w 809625"/>
              <a:gd name="connsiteY11" fmla="*/ 220408 h 809625"/>
              <a:gd name="connsiteX12" fmla="*/ 538543 w 809625"/>
              <a:gd name="connsiteY12" fmla="*/ 228218 h 809625"/>
              <a:gd name="connsiteX13" fmla="*/ 581501 w 809625"/>
              <a:gd name="connsiteY13" fmla="*/ 271176 h 809625"/>
              <a:gd name="connsiteX14" fmla="*/ 589311 w 809625"/>
              <a:gd name="connsiteY14" fmla="*/ 313277 h 809625"/>
              <a:gd name="connsiteX15" fmla="*/ 590645 w 809625"/>
              <a:gd name="connsiteY15" fmla="*/ 404907 h 809625"/>
              <a:gd name="connsiteX16" fmla="*/ 589311 w 809625"/>
              <a:gd name="connsiteY16" fmla="*/ 496538 h 809625"/>
              <a:gd name="connsiteX17" fmla="*/ 581501 w 809625"/>
              <a:gd name="connsiteY17" fmla="*/ 538638 h 809625"/>
              <a:gd name="connsiteX18" fmla="*/ 538543 w 809625"/>
              <a:gd name="connsiteY18" fmla="*/ 581596 h 809625"/>
              <a:gd name="connsiteX19" fmla="*/ 496443 w 809625"/>
              <a:gd name="connsiteY19" fmla="*/ 589406 h 809625"/>
              <a:gd name="connsiteX20" fmla="*/ 404812 w 809625"/>
              <a:gd name="connsiteY20" fmla="*/ 590740 h 809625"/>
              <a:gd name="connsiteX21" fmla="*/ 313182 w 809625"/>
              <a:gd name="connsiteY21" fmla="*/ 589407 h 809625"/>
              <a:gd name="connsiteX22" fmla="*/ 271081 w 809625"/>
              <a:gd name="connsiteY22" fmla="*/ 581596 h 809625"/>
              <a:gd name="connsiteX23" fmla="*/ 228600 w 809625"/>
              <a:gd name="connsiteY23" fmla="*/ 538543 h 809625"/>
              <a:gd name="connsiteX24" fmla="*/ 220789 w 809625"/>
              <a:gd name="connsiteY24" fmla="*/ 496443 h 809625"/>
              <a:gd name="connsiteX25" fmla="*/ 219075 w 809625"/>
              <a:gd name="connsiteY25" fmla="*/ 404812 h 809625"/>
              <a:gd name="connsiteX26" fmla="*/ 220408 w 809625"/>
              <a:gd name="connsiteY26" fmla="*/ 313182 h 809625"/>
              <a:gd name="connsiteX27" fmla="*/ 228600 w 809625"/>
              <a:gd name="connsiteY27" fmla="*/ 271081 h 809625"/>
              <a:gd name="connsiteX28" fmla="*/ 271081 w 809625"/>
              <a:gd name="connsiteY28" fmla="*/ 228600 h 809625"/>
              <a:gd name="connsiteX29" fmla="*/ 313181 w 809625"/>
              <a:gd name="connsiteY29" fmla="*/ 220789 h 809625"/>
              <a:gd name="connsiteX30" fmla="*/ 404812 w 809625"/>
              <a:gd name="connsiteY30" fmla="*/ 219075 h 809625"/>
              <a:gd name="connsiteX31" fmla="*/ 405669 w 809625"/>
              <a:gd name="connsiteY31" fmla="*/ 177736 h 809625"/>
              <a:gd name="connsiteX32" fmla="*/ 404812 w 809625"/>
              <a:gd name="connsiteY32" fmla="*/ 178212 h 809625"/>
              <a:gd name="connsiteX33" fmla="*/ 311372 w 809625"/>
              <a:gd name="connsiteY33" fmla="*/ 179546 h 809625"/>
              <a:gd name="connsiteX34" fmla="*/ 256317 w 809625"/>
              <a:gd name="connsiteY34" fmla="*/ 190500 h 809625"/>
              <a:gd name="connsiteX35" fmla="*/ 189642 w 809625"/>
              <a:gd name="connsiteY35" fmla="*/ 257175 h 809625"/>
              <a:gd name="connsiteX36" fmla="*/ 179069 w 809625"/>
              <a:gd name="connsiteY36" fmla="*/ 312229 h 809625"/>
              <a:gd name="connsiteX37" fmla="*/ 177736 w 809625"/>
              <a:gd name="connsiteY37" fmla="*/ 405669 h 809625"/>
              <a:gd name="connsiteX38" fmla="*/ 179069 w 809625"/>
              <a:gd name="connsiteY38" fmla="*/ 499110 h 809625"/>
              <a:gd name="connsiteX39" fmla="*/ 190500 w 809625"/>
              <a:gd name="connsiteY39" fmla="*/ 553307 h 809625"/>
              <a:gd name="connsiteX40" fmla="*/ 257175 w 809625"/>
              <a:gd name="connsiteY40" fmla="*/ 619982 h 809625"/>
              <a:gd name="connsiteX41" fmla="*/ 312229 w 809625"/>
              <a:gd name="connsiteY41" fmla="*/ 630554 h 809625"/>
              <a:gd name="connsiteX42" fmla="*/ 405669 w 809625"/>
              <a:gd name="connsiteY42" fmla="*/ 631888 h 809625"/>
              <a:gd name="connsiteX43" fmla="*/ 499110 w 809625"/>
              <a:gd name="connsiteY43" fmla="*/ 630554 h 809625"/>
              <a:gd name="connsiteX44" fmla="*/ 554164 w 809625"/>
              <a:gd name="connsiteY44" fmla="*/ 619982 h 809625"/>
              <a:gd name="connsiteX45" fmla="*/ 620839 w 809625"/>
              <a:gd name="connsiteY45" fmla="*/ 553307 h 809625"/>
              <a:gd name="connsiteX46" fmla="*/ 631412 w 809625"/>
              <a:gd name="connsiteY46" fmla="*/ 498252 h 809625"/>
              <a:gd name="connsiteX47" fmla="*/ 632745 w 809625"/>
              <a:gd name="connsiteY47" fmla="*/ 404812 h 809625"/>
              <a:gd name="connsiteX48" fmla="*/ 631412 w 809625"/>
              <a:gd name="connsiteY48" fmla="*/ 311372 h 809625"/>
              <a:gd name="connsiteX49" fmla="*/ 620839 w 809625"/>
              <a:gd name="connsiteY49" fmla="*/ 256317 h 809625"/>
              <a:gd name="connsiteX50" fmla="*/ 554164 w 809625"/>
              <a:gd name="connsiteY50" fmla="*/ 189642 h 809625"/>
              <a:gd name="connsiteX51" fmla="*/ 499110 w 809625"/>
              <a:gd name="connsiteY51" fmla="*/ 179069 h 809625"/>
              <a:gd name="connsiteX52" fmla="*/ 405669 w 809625"/>
              <a:gd name="connsiteY52" fmla="*/ 177736 h 809625"/>
              <a:gd name="connsiteX53" fmla="*/ 404813 w 809625"/>
              <a:gd name="connsiteY53" fmla="*/ 0 h 809625"/>
              <a:gd name="connsiteX54" fmla="*/ 809625 w 809625"/>
              <a:gd name="connsiteY54" fmla="*/ 404813 h 809625"/>
              <a:gd name="connsiteX55" fmla="*/ 404813 w 809625"/>
              <a:gd name="connsiteY55" fmla="*/ 809625 h 809625"/>
              <a:gd name="connsiteX56" fmla="*/ 0 w 809625"/>
              <a:gd name="connsiteY56" fmla="*/ 404813 h 809625"/>
              <a:gd name="connsiteX57" fmla="*/ 404813 w 809625"/>
              <a:gd name="connsiteY57" fmla="*/ 0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809625" h="809625">
                <a:moveTo>
                  <a:pt x="404812" y="288417"/>
                </a:moveTo>
                <a:cubicBezTo>
                  <a:pt x="340529" y="288417"/>
                  <a:pt x="288417" y="340529"/>
                  <a:pt x="288417" y="404812"/>
                </a:cubicBezTo>
                <a:cubicBezTo>
                  <a:pt x="288417" y="469096"/>
                  <a:pt x="340529" y="521208"/>
                  <a:pt x="404812" y="521208"/>
                </a:cubicBezTo>
                <a:cubicBezTo>
                  <a:pt x="469096" y="521208"/>
                  <a:pt x="521208" y="469096"/>
                  <a:pt x="521208" y="404812"/>
                </a:cubicBezTo>
                <a:cubicBezTo>
                  <a:pt x="521208" y="340529"/>
                  <a:pt x="469096" y="288417"/>
                  <a:pt x="404812" y="288417"/>
                </a:cubicBezTo>
                <a:close/>
                <a:moveTo>
                  <a:pt x="525780" y="256603"/>
                </a:moveTo>
                <a:cubicBezTo>
                  <a:pt x="510734" y="256603"/>
                  <a:pt x="498538" y="268799"/>
                  <a:pt x="498538" y="283844"/>
                </a:cubicBezTo>
                <a:cubicBezTo>
                  <a:pt x="498538" y="298890"/>
                  <a:pt x="510734" y="311086"/>
                  <a:pt x="525780" y="311086"/>
                </a:cubicBezTo>
                <a:cubicBezTo>
                  <a:pt x="540825" y="311086"/>
                  <a:pt x="553021" y="298890"/>
                  <a:pt x="553021" y="283844"/>
                </a:cubicBezTo>
                <a:cubicBezTo>
                  <a:pt x="553021" y="268799"/>
                  <a:pt x="540825" y="256603"/>
                  <a:pt x="525780" y="256603"/>
                </a:cubicBezTo>
                <a:close/>
                <a:moveTo>
                  <a:pt x="404812" y="219075"/>
                </a:moveTo>
                <a:cubicBezTo>
                  <a:pt x="465296" y="219075"/>
                  <a:pt x="472535" y="219075"/>
                  <a:pt x="496443" y="220408"/>
                </a:cubicBezTo>
                <a:cubicBezTo>
                  <a:pt x="510824" y="220533"/>
                  <a:pt x="525073" y="223177"/>
                  <a:pt x="538543" y="228218"/>
                </a:cubicBezTo>
                <a:cubicBezTo>
                  <a:pt x="558257" y="235874"/>
                  <a:pt x="573845" y="251463"/>
                  <a:pt x="581501" y="271176"/>
                </a:cubicBezTo>
                <a:cubicBezTo>
                  <a:pt x="586542" y="284646"/>
                  <a:pt x="589186" y="298895"/>
                  <a:pt x="589311" y="313277"/>
                </a:cubicBezTo>
                <a:cubicBezTo>
                  <a:pt x="590454" y="337185"/>
                  <a:pt x="590645" y="344424"/>
                  <a:pt x="590645" y="404907"/>
                </a:cubicBezTo>
                <a:cubicBezTo>
                  <a:pt x="590645" y="465391"/>
                  <a:pt x="590645" y="472630"/>
                  <a:pt x="589311" y="496538"/>
                </a:cubicBezTo>
                <a:cubicBezTo>
                  <a:pt x="589186" y="510920"/>
                  <a:pt x="586543" y="525168"/>
                  <a:pt x="581501" y="538638"/>
                </a:cubicBezTo>
                <a:cubicBezTo>
                  <a:pt x="573845" y="558352"/>
                  <a:pt x="558257" y="573940"/>
                  <a:pt x="538543" y="581596"/>
                </a:cubicBezTo>
                <a:cubicBezTo>
                  <a:pt x="525073" y="586638"/>
                  <a:pt x="510824" y="589281"/>
                  <a:pt x="496443" y="589406"/>
                </a:cubicBezTo>
                <a:cubicBezTo>
                  <a:pt x="472535" y="590550"/>
                  <a:pt x="465391" y="590740"/>
                  <a:pt x="404812" y="590740"/>
                </a:cubicBezTo>
                <a:cubicBezTo>
                  <a:pt x="344233" y="590740"/>
                  <a:pt x="337089" y="590740"/>
                  <a:pt x="313182" y="589407"/>
                </a:cubicBezTo>
                <a:cubicBezTo>
                  <a:pt x="298800" y="589281"/>
                  <a:pt x="284551" y="586638"/>
                  <a:pt x="271081" y="581596"/>
                </a:cubicBezTo>
                <a:cubicBezTo>
                  <a:pt x="251529" y="573808"/>
                  <a:pt x="236125" y="558197"/>
                  <a:pt x="228600" y="538543"/>
                </a:cubicBezTo>
                <a:cubicBezTo>
                  <a:pt x="223558" y="525073"/>
                  <a:pt x="220914" y="510824"/>
                  <a:pt x="220789" y="496443"/>
                </a:cubicBezTo>
                <a:cubicBezTo>
                  <a:pt x="219075" y="472535"/>
                  <a:pt x="219075" y="465296"/>
                  <a:pt x="219075" y="404812"/>
                </a:cubicBezTo>
                <a:cubicBezTo>
                  <a:pt x="219075" y="344328"/>
                  <a:pt x="219075" y="337089"/>
                  <a:pt x="220408" y="313182"/>
                </a:cubicBezTo>
                <a:cubicBezTo>
                  <a:pt x="220655" y="298777"/>
                  <a:pt x="223428" y="284527"/>
                  <a:pt x="228600" y="271081"/>
                </a:cubicBezTo>
                <a:cubicBezTo>
                  <a:pt x="236258" y="251643"/>
                  <a:pt x="251643" y="236258"/>
                  <a:pt x="271081" y="228600"/>
                </a:cubicBezTo>
                <a:cubicBezTo>
                  <a:pt x="284551" y="223558"/>
                  <a:pt x="298800" y="220914"/>
                  <a:pt x="313181" y="220789"/>
                </a:cubicBezTo>
                <a:cubicBezTo>
                  <a:pt x="337089" y="219075"/>
                  <a:pt x="344328" y="219075"/>
                  <a:pt x="404812" y="219075"/>
                </a:cubicBezTo>
                <a:close/>
                <a:moveTo>
                  <a:pt x="405669" y="177736"/>
                </a:moveTo>
                <a:lnTo>
                  <a:pt x="404812" y="178212"/>
                </a:lnTo>
                <a:cubicBezTo>
                  <a:pt x="343281" y="178212"/>
                  <a:pt x="335565" y="178212"/>
                  <a:pt x="311372" y="179546"/>
                </a:cubicBezTo>
                <a:cubicBezTo>
                  <a:pt x="292533" y="180057"/>
                  <a:pt x="273917" y="183760"/>
                  <a:pt x="256317" y="190500"/>
                </a:cubicBezTo>
                <a:cubicBezTo>
                  <a:pt x="225602" y="202200"/>
                  <a:pt x="201343" y="226459"/>
                  <a:pt x="189642" y="257175"/>
                </a:cubicBezTo>
                <a:cubicBezTo>
                  <a:pt x="183033" y="274797"/>
                  <a:pt x="179458" y="293412"/>
                  <a:pt x="179069" y="312229"/>
                </a:cubicBezTo>
                <a:cubicBezTo>
                  <a:pt x="178022" y="336423"/>
                  <a:pt x="177736" y="344138"/>
                  <a:pt x="177736" y="405669"/>
                </a:cubicBezTo>
                <a:cubicBezTo>
                  <a:pt x="177736" y="467201"/>
                  <a:pt x="177736" y="474916"/>
                  <a:pt x="179069" y="499110"/>
                </a:cubicBezTo>
                <a:cubicBezTo>
                  <a:pt x="179828" y="517687"/>
                  <a:pt x="183692" y="536005"/>
                  <a:pt x="190500" y="553307"/>
                </a:cubicBezTo>
                <a:cubicBezTo>
                  <a:pt x="202200" y="584022"/>
                  <a:pt x="226459" y="608281"/>
                  <a:pt x="257175" y="619982"/>
                </a:cubicBezTo>
                <a:cubicBezTo>
                  <a:pt x="274797" y="626591"/>
                  <a:pt x="293412" y="630165"/>
                  <a:pt x="312229" y="630554"/>
                </a:cubicBezTo>
                <a:cubicBezTo>
                  <a:pt x="336423" y="631602"/>
                  <a:pt x="344138" y="631888"/>
                  <a:pt x="405669" y="631888"/>
                </a:cubicBezTo>
                <a:cubicBezTo>
                  <a:pt x="467201" y="631888"/>
                  <a:pt x="474916" y="631888"/>
                  <a:pt x="499110" y="630554"/>
                </a:cubicBezTo>
                <a:cubicBezTo>
                  <a:pt x="517927" y="630165"/>
                  <a:pt x="536542" y="626591"/>
                  <a:pt x="554164" y="619982"/>
                </a:cubicBezTo>
                <a:cubicBezTo>
                  <a:pt x="584880" y="608281"/>
                  <a:pt x="609138" y="584022"/>
                  <a:pt x="620839" y="553307"/>
                </a:cubicBezTo>
                <a:cubicBezTo>
                  <a:pt x="627448" y="535684"/>
                  <a:pt x="631023" y="517069"/>
                  <a:pt x="631412" y="498252"/>
                </a:cubicBezTo>
                <a:cubicBezTo>
                  <a:pt x="632460" y="474059"/>
                  <a:pt x="632745" y="466344"/>
                  <a:pt x="632745" y="404812"/>
                </a:cubicBezTo>
                <a:cubicBezTo>
                  <a:pt x="632745" y="343281"/>
                  <a:pt x="632745" y="335565"/>
                  <a:pt x="631412" y="311372"/>
                </a:cubicBezTo>
                <a:cubicBezTo>
                  <a:pt x="631023" y="292555"/>
                  <a:pt x="627448" y="273940"/>
                  <a:pt x="620839" y="256317"/>
                </a:cubicBezTo>
                <a:cubicBezTo>
                  <a:pt x="609138" y="225602"/>
                  <a:pt x="584880" y="201343"/>
                  <a:pt x="554164" y="189642"/>
                </a:cubicBezTo>
                <a:cubicBezTo>
                  <a:pt x="536542" y="183033"/>
                  <a:pt x="517927" y="179458"/>
                  <a:pt x="499110" y="179069"/>
                </a:cubicBezTo>
                <a:cubicBezTo>
                  <a:pt x="474916" y="178022"/>
                  <a:pt x="467201" y="177736"/>
                  <a:pt x="405669" y="177736"/>
                </a:cubicBezTo>
                <a:close/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37645F6A-EDD9-42D2-A01C-F8414798D57C}"/>
              </a:ext>
            </a:extLst>
          </p:cNvPr>
          <p:cNvSpPr>
            <a:spLocks noChangeAspect="1"/>
          </p:cNvSpPr>
          <p:nvPr/>
        </p:nvSpPr>
        <p:spPr>
          <a:xfrm>
            <a:off x="9446029" y="4591756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207835 w 809625"/>
              <a:gd name="connsiteY5" fmla="*/ 183451 h 809625"/>
              <a:gd name="connsiteX6" fmla="*/ 183451 w 809625"/>
              <a:gd name="connsiteY6" fmla="*/ 207835 h 809625"/>
              <a:gd name="connsiteX7" fmla="*/ 183451 w 809625"/>
              <a:gd name="connsiteY7" fmla="*/ 601789 h 809625"/>
              <a:gd name="connsiteX8" fmla="*/ 207835 w 809625"/>
              <a:gd name="connsiteY8" fmla="*/ 626173 h 809625"/>
              <a:gd name="connsiteX9" fmla="*/ 419957 w 809625"/>
              <a:gd name="connsiteY9" fmla="*/ 626173 h 809625"/>
              <a:gd name="connsiteX10" fmla="*/ 419957 w 809625"/>
              <a:gd name="connsiteY10" fmla="*/ 454723 h 809625"/>
              <a:gd name="connsiteX11" fmla="*/ 361950 w 809625"/>
              <a:gd name="connsiteY11" fmla="*/ 454723 h 809625"/>
              <a:gd name="connsiteX12" fmla="*/ 361950 w 809625"/>
              <a:gd name="connsiteY12" fmla="*/ 388048 h 809625"/>
              <a:gd name="connsiteX13" fmla="*/ 419671 w 809625"/>
              <a:gd name="connsiteY13" fmla="*/ 388048 h 809625"/>
              <a:gd name="connsiteX14" fmla="*/ 419671 w 809625"/>
              <a:gd name="connsiteY14" fmla="*/ 338613 h 809625"/>
              <a:gd name="connsiteX15" fmla="*/ 505396 w 809625"/>
              <a:gd name="connsiteY15" fmla="*/ 250317 h 809625"/>
              <a:gd name="connsiteX16" fmla="*/ 556926 w 809625"/>
              <a:gd name="connsiteY16" fmla="*/ 252984 h 809625"/>
              <a:gd name="connsiteX17" fmla="*/ 556926 w 809625"/>
              <a:gd name="connsiteY17" fmla="*/ 312705 h 809625"/>
              <a:gd name="connsiteX18" fmla="*/ 522065 w 809625"/>
              <a:gd name="connsiteY18" fmla="*/ 312705 h 809625"/>
              <a:gd name="connsiteX19" fmla="*/ 488918 w 809625"/>
              <a:gd name="connsiteY19" fmla="*/ 345281 h 809625"/>
              <a:gd name="connsiteX20" fmla="*/ 488918 w 809625"/>
              <a:gd name="connsiteY20" fmla="*/ 387953 h 809625"/>
              <a:gd name="connsiteX21" fmla="*/ 555593 w 809625"/>
              <a:gd name="connsiteY21" fmla="*/ 387953 h 809625"/>
              <a:gd name="connsiteX22" fmla="*/ 546925 w 809625"/>
              <a:gd name="connsiteY22" fmla="*/ 454628 h 809625"/>
              <a:gd name="connsiteX23" fmla="*/ 489775 w 809625"/>
              <a:gd name="connsiteY23" fmla="*/ 454628 h 809625"/>
              <a:gd name="connsiteX24" fmla="*/ 489775 w 809625"/>
              <a:gd name="connsiteY24" fmla="*/ 626078 h 809625"/>
              <a:gd name="connsiteX25" fmla="*/ 601789 w 809625"/>
              <a:gd name="connsiteY25" fmla="*/ 626078 h 809625"/>
              <a:gd name="connsiteX26" fmla="*/ 626173 w 809625"/>
              <a:gd name="connsiteY26" fmla="*/ 601694 h 809625"/>
              <a:gd name="connsiteX27" fmla="*/ 626173 w 809625"/>
              <a:gd name="connsiteY27" fmla="*/ 207835 h 809625"/>
              <a:gd name="connsiteX28" fmla="*/ 601789 w 809625"/>
              <a:gd name="connsiteY28" fmla="*/ 183451 h 809625"/>
              <a:gd name="connsiteX29" fmla="*/ 207835 w 809625"/>
              <a:gd name="connsiteY29" fmla="*/ 183451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207835" y="183451"/>
                </a:moveTo>
                <a:cubicBezTo>
                  <a:pt x="194368" y="183451"/>
                  <a:pt x="183451" y="194368"/>
                  <a:pt x="183451" y="207835"/>
                </a:cubicBezTo>
                <a:lnTo>
                  <a:pt x="183451" y="601789"/>
                </a:lnTo>
                <a:cubicBezTo>
                  <a:pt x="183451" y="615256"/>
                  <a:pt x="194368" y="626173"/>
                  <a:pt x="207835" y="626173"/>
                </a:cubicBezTo>
                <a:lnTo>
                  <a:pt x="419957" y="626173"/>
                </a:lnTo>
                <a:lnTo>
                  <a:pt x="419957" y="454723"/>
                </a:lnTo>
                <a:lnTo>
                  <a:pt x="361950" y="454723"/>
                </a:lnTo>
                <a:lnTo>
                  <a:pt x="361950" y="388048"/>
                </a:lnTo>
                <a:lnTo>
                  <a:pt x="419671" y="388048"/>
                </a:lnTo>
                <a:lnTo>
                  <a:pt x="419671" y="338613"/>
                </a:lnTo>
                <a:cubicBezTo>
                  <a:pt x="419671" y="281463"/>
                  <a:pt x="454533" y="250317"/>
                  <a:pt x="505396" y="250317"/>
                </a:cubicBezTo>
                <a:cubicBezTo>
                  <a:pt x="522609" y="250238"/>
                  <a:pt x="539813" y="251128"/>
                  <a:pt x="556926" y="252984"/>
                </a:cubicBezTo>
                <a:lnTo>
                  <a:pt x="556926" y="312705"/>
                </a:lnTo>
                <a:lnTo>
                  <a:pt x="522065" y="312705"/>
                </a:lnTo>
                <a:cubicBezTo>
                  <a:pt x="494252" y="312705"/>
                  <a:pt x="488918" y="325945"/>
                  <a:pt x="488918" y="345281"/>
                </a:cubicBezTo>
                <a:lnTo>
                  <a:pt x="488918" y="387953"/>
                </a:lnTo>
                <a:lnTo>
                  <a:pt x="555593" y="387953"/>
                </a:lnTo>
                <a:lnTo>
                  <a:pt x="546925" y="454628"/>
                </a:lnTo>
                <a:lnTo>
                  <a:pt x="489775" y="454628"/>
                </a:lnTo>
                <a:lnTo>
                  <a:pt x="489775" y="626078"/>
                </a:lnTo>
                <a:lnTo>
                  <a:pt x="601789" y="626078"/>
                </a:lnTo>
                <a:cubicBezTo>
                  <a:pt x="615256" y="626078"/>
                  <a:pt x="626173" y="615161"/>
                  <a:pt x="626173" y="601694"/>
                </a:cubicBezTo>
                <a:lnTo>
                  <a:pt x="626173" y="207835"/>
                </a:lnTo>
                <a:cubicBezTo>
                  <a:pt x="626173" y="194368"/>
                  <a:pt x="615256" y="183451"/>
                  <a:pt x="601789" y="183451"/>
                </a:cubicBezTo>
                <a:lnTo>
                  <a:pt x="207835" y="183451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737EC4F3-8130-2F4D-B18F-7AF3E2C71869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7824743" y="2730825"/>
            <a:ext cx="1941914" cy="865381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" b="0" kern="1200" cap="none" baseline="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" b="1" kern="1200" cap="all" baseline="0">
                <a:noFill/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00" kern="1200">
                <a:noFill/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400" b="0" kern="1200">
                <a:noFill/>
                <a:latin typeface="+mn-lt"/>
                <a:ea typeface="+mn-ea"/>
                <a:cs typeface="+mn-cs"/>
              </a:defRPr>
            </a:lvl4pPr>
            <a:lvl5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 sz="400" kern="1200">
                <a:noFill/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00" kern="1200">
                <a:noFill/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00" kern="1200">
                <a:noFill/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00" kern="1200">
                <a:noFill/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00" kern="1200">
                <a:noFill/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45911884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76849F14-4971-4208-82A8-1F0513897926}"/>
              </a:ext>
            </a:extLst>
          </p:cNvPr>
          <p:cNvSpPr/>
          <p:nvPr userDrawn="1"/>
        </p:nvSpPr>
        <p:spPr>
          <a:xfrm>
            <a:off x="719400" y="-2"/>
            <a:ext cx="107532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096AA35B-6D3E-4809-9D78-9CF31081E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9400" y="-2"/>
            <a:ext cx="4680000" cy="4068000"/>
          </a:xfrm>
          <a:solidFill>
            <a:schemeClr val="tx2"/>
          </a:solidFill>
        </p:spPr>
        <p:txBody>
          <a:bodyPr lIns="342000" tIns="342000" rIns="0" bIns="504000" anchor="b" anchorCtr="0"/>
          <a:lstStyle>
            <a:lvl1pPr>
              <a:defRPr sz="4500">
                <a:solidFill>
                  <a:schemeClr val="accent1"/>
                </a:solidFill>
              </a:defRPr>
            </a:lvl1pPr>
          </a:lstStyle>
          <a:p>
            <a:r>
              <a:rPr lang="en-US"/>
              <a:t>Thank you</a:t>
            </a:r>
            <a:endParaRPr lang="en-AU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FD95F930-CD55-469B-9FD0-1150DA73B39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-2"/>
            <a:ext cx="12192000" cy="6876000"/>
          </a:xfrm>
          <a:custGeom>
            <a:avLst/>
            <a:gdLst>
              <a:gd name="connsiteX0" fmla="*/ 114726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472600 w 12192000"/>
              <a:gd name="connsiteY3" fmla="*/ 6858000 h 6858000"/>
              <a:gd name="connsiteX4" fmla="*/ 0 w 12192000"/>
              <a:gd name="connsiteY4" fmla="*/ 0 h 6858000"/>
              <a:gd name="connsiteX5" fmla="*/ 719400 w 12192000"/>
              <a:gd name="connsiteY5" fmla="*/ 0 h 6858000"/>
              <a:gd name="connsiteX6" fmla="*/ 7194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14726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472600" y="6858000"/>
                </a:lnTo>
                <a:close/>
                <a:moveTo>
                  <a:pt x="0" y="0"/>
                </a:moveTo>
                <a:lnTo>
                  <a:pt x="719400" y="0"/>
                </a:lnTo>
                <a:lnTo>
                  <a:pt x="7194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08000" tIns="108000" rIns="115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4417D20-4CB7-471C-A5C4-50706D404792}"/>
              </a:ext>
            </a:extLst>
          </p:cNvPr>
          <p:cNvSpPr txBox="1"/>
          <p:nvPr userDrawn="1"/>
        </p:nvSpPr>
        <p:spPr>
          <a:xfrm>
            <a:off x="7877158" y="3841087"/>
            <a:ext cx="3321238" cy="25564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 cap="none" baseline="0">
                <a:solidFill>
                  <a:schemeClr val="bg1"/>
                </a:solidFill>
              </a:defRPr>
            </a:lvl1pPr>
            <a:lvl2pPr marL="0" lvl="1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b="1" cap="all" baseline="0">
                <a:solidFill>
                  <a:schemeClr val="bg1"/>
                </a:solidFill>
              </a:defRPr>
            </a:lvl2pPr>
            <a:lvl3pPr marL="0" lvl="2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3pPr>
            <a:lvl4pPr marL="0" lvl="3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4pPr>
            <a:lvl5pPr marL="0" lvl="4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5pPr>
            <a:lvl6pPr marL="0" lvl="5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6pPr>
            <a:lvl7pPr marL="0" lvl="6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7pPr>
            <a:lvl8pPr marL="0" lvl="7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8pPr>
            <a:lvl9pPr marL="0" lvl="8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9pPr>
          </a:lstStyle>
          <a:p>
            <a:pPr lvl="0">
              <a:spcBef>
                <a:spcPts val="400"/>
              </a:spcBef>
            </a:pPr>
            <a:r>
              <a:rPr lang="en-US" altLang="en-US" sz="1600" b="0">
                <a:solidFill>
                  <a:schemeClr val="bg2"/>
                </a:solidFill>
                <a:latin typeface="+mj-lt"/>
              </a:rPr>
              <a:t>Forest Stewardship Council®</a:t>
            </a:r>
          </a:p>
          <a:p>
            <a:pPr lvl="0">
              <a:spcBef>
                <a:spcPts val="400"/>
              </a:spcBef>
              <a:spcAft>
                <a:spcPts val="1200"/>
              </a:spcAft>
            </a:pPr>
            <a:r>
              <a:rPr lang="en-US" altLang="en-US" sz="1500" b="1">
                <a:solidFill>
                  <a:schemeClr val="bg2"/>
                </a:solidFill>
              </a:rPr>
              <a:t>FSC® Asociación Civil </a:t>
            </a:r>
          </a:p>
          <a:p>
            <a:pPr lvl="0"/>
            <a:endParaRPr lang="en-US" altLang="en-US" sz="1600" b="0"/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Calle Margarita </a:t>
            </a:r>
            <a:r>
              <a:rPr lang="en-US" altLang="en-US" sz="1200" b="0" err="1">
                <a:solidFill>
                  <a:schemeClr val="bg2"/>
                </a:solidFill>
              </a:rPr>
              <a:t>Maza</a:t>
            </a:r>
            <a:r>
              <a:rPr lang="en-US" altLang="en-US" sz="1200" b="0">
                <a:solidFill>
                  <a:schemeClr val="bg2"/>
                </a:solidFill>
              </a:rPr>
              <a:t> de Juárez 422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Colonia Centro,  Oaxaca, México, CP. 68000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Phone: +52 951 502 6533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Fax: +52 951 502 6594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FSC Asociación Civil © All rights reserved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 err="1">
                <a:solidFill>
                  <a:schemeClr val="bg2"/>
                </a:solidFill>
              </a:rPr>
              <a:t>FSC</a:t>
            </a:r>
            <a:r>
              <a:rPr lang="en-US" altLang="en-US" sz="1200" b="0">
                <a:solidFill>
                  <a:schemeClr val="bg2"/>
                </a:solidFill>
              </a:rPr>
              <a:t>® </a:t>
            </a:r>
            <a:r>
              <a:rPr lang="en-US" altLang="en-US" sz="1200" b="0" err="1">
                <a:solidFill>
                  <a:schemeClr val="bg2"/>
                </a:solidFill>
              </a:rPr>
              <a:t>F000100</a:t>
            </a:r>
            <a:r>
              <a:rPr lang="en-US" altLang="en-US" sz="1200" b="0">
                <a:solidFill>
                  <a:schemeClr val="bg2"/>
                </a:solidFill>
              </a:rPr>
              <a:t> </a:t>
            </a:r>
          </a:p>
          <a:p>
            <a:pPr lvl="0"/>
            <a:r>
              <a:rPr lang="en-US" altLang="en-US" sz="1400" b="0" err="1">
                <a:solidFill>
                  <a:schemeClr val="bg2"/>
                </a:solidFill>
                <a:latin typeface="+mj-lt"/>
              </a:rPr>
              <a:t>www.fsc.org</a:t>
            </a:r>
            <a:endParaRPr lang="en-US" altLang="en-US" sz="1400" b="0">
              <a:solidFill>
                <a:schemeClr val="bg2"/>
              </a:solidFill>
              <a:latin typeface="+mj-lt"/>
            </a:endParaRPr>
          </a:p>
          <a:p>
            <a:pPr lvl="0"/>
            <a:endParaRPr lang="en-US" altLang="en-US" sz="1600" b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F8BC909C-567D-4F9C-A0DF-D05DE8F82075}"/>
              </a:ext>
            </a:extLst>
          </p:cNvPr>
          <p:cNvSpPr>
            <a:spLocks noChangeAspect="1"/>
          </p:cNvSpPr>
          <p:nvPr/>
        </p:nvSpPr>
        <p:spPr>
          <a:xfrm>
            <a:off x="7916652" y="4501548"/>
            <a:ext cx="242382" cy="242382"/>
          </a:xfrm>
          <a:custGeom>
            <a:avLst/>
            <a:gdLst>
              <a:gd name="connsiteX0" fmla="*/ 357950 w 809625"/>
              <a:gd name="connsiteY0" fmla="*/ 333375 h 809625"/>
              <a:gd name="connsiteX1" fmla="*/ 480537 w 809625"/>
              <a:gd name="connsiteY1" fmla="*/ 397002 h 809625"/>
              <a:gd name="connsiteX2" fmla="*/ 357950 w 809625"/>
              <a:gd name="connsiteY2" fmla="*/ 460439 h 809625"/>
              <a:gd name="connsiteX3" fmla="*/ 242887 w 809625"/>
              <a:gd name="connsiteY3" fmla="*/ 249555 h 809625"/>
              <a:gd name="connsiteX4" fmla="*/ 178117 w 809625"/>
              <a:gd name="connsiteY4" fmla="*/ 314325 h 809625"/>
              <a:gd name="connsiteX5" fmla="*/ 178117 w 809625"/>
              <a:gd name="connsiteY5" fmla="*/ 495300 h 809625"/>
              <a:gd name="connsiteX6" fmla="*/ 242887 w 809625"/>
              <a:gd name="connsiteY6" fmla="*/ 560070 h 809625"/>
              <a:gd name="connsiteX7" fmla="*/ 566737 w 809625"/>
              <a:gd name="connsiteY7" fmla="*/ 560070 h 809625"/>
              <a:gd name="connsiteX8" fmla="*/ 631507 w 809625"/>
              <a:gd name="connsiteY8" fmla="*/ 495300 h 809625"/>
              <a:gd name="connsiteX9" fmla="*/ 631507 w 809625"/>
              <a:gd name="connsiteY9" fmla="*/ 314325 h 809625"/>
              <a:gd name="connsiteX10" fmla="*/ 566737 w 809625"/>
              <a:gd name="connsiteY10" fmla="*/ 249555 h 809625"/>
              <a:gd name="connsiteX11" fmla="*/ 404813 w 809625"/>
              <a:gd name="connsiteY11" fmla="*/ 0 h 809625"/>
              <a:gd name="connsiteX12" fmla="*/ 809625 w 809625"/>
              <a:gd name="connsiteY12" fmla="*/ 404813 h 809625"/>
              <a:gd name="connsiteX13" fmla="*/ 404813 w 809625"/>
              <a:gd name="connsiteY13" fmla="*/ 809625 h 809625"/>
              <a:gd name="connsiteX14" fmla="*/ 0 w 809625"/>
              <a:gd name="connsiteY14" fmla="*/ 404813 h 809625"/>
              <a:gd name="connsiteX15" fmla="*/ 404813 w 809625"/>
              <a:gd name="connsiteY15" fmla="*/ 0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809625" h="809625">
                <a:moveTo>
                  <a:pt x="357950" y="333375"/>
                </a:moveTo>
                <a:lnTo>
                  <a:pt x="480537" y="397002"/>
                </a:lnTo>
                <a:lnTo>
                  <a:pt x="357950" y="460439"/>
                </a:lnTo>
                <a:close/>
                <a:moveTo>
                  <a:pt x="242887" y="249555"/>
                </a:moveTo>
                <a:cubicBezTo>
                  <a:pt x="207159" y="249660"/>
                  <a:pt x="178222" y="278597"/>
                  <a:pt x="178117" y="314325"/>
                </a:cubicBezTo>
                <a:lnTo>
                  <a:pt x="178117" y="495300"/>
                </a:lnTo>
                <a:cubicBezTo>
                  <a:pt x="178222" y="531028"/>
                  <a:pt x="207159" y="559965"/>
                  <a:pt x="242887" y="560070"/>
                </a:cubicBezTo>
                <a:lnTo>
                  <a:pt x="566737" y="560070"/>
                </a:lnTo>
                <a:cubicBezTo>
                  <a:pt x="602465" y="559965"/>
                  <a:pt x="631402" y="531028"/>
                  <a:pt x="631507" y="495300"/>
                </a:cubicBezTo>
                <a:lnTo>
                  <a:pt x="631507" y="314325"/>
                </a:lnTo>
                <a:cubicBezTo>
                  <a:pt x="631402" y="278597"/>
                  <a:pt x="602465" y="249660"/>
                  <a:pt x="566737" y="249555"/>
                </a:cubicBezTo>
                <a:close/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2487C176-18A9-4BB0-BD80-DEC34233A800}"/>
              </a:ext>
            </a:extLst>
          </p:cNvPr>
          <p:cNvSpPr>
            <a:spLocks noChangeAspect="1"/>
          </p:cNvSpPr>
          <p:nvPr/>
        </p:nvSpPr>
        <p:spPr>
          <a:xfrm>
            <a:off x="8298996" y="4501548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495146 w 809625"/>
              <a:gd name="connsiteY5" fmla="*/ 220645 h 809625"/>
              <a:gd name="connsiteX6" fmla="*/ 428527 w 809625"/>
              <a:gd name="connsiteY6" fmla="*/ 245841 h 809625"/>
              <a:gd name="connsiteX7" fmla="*/ 399192 w 809625"/>
              <a:gd name="connsiteY7" fmla="*/ 313563 h 809625"/>
              <a:gd name="connsiteX8" fmla="*/ 401573 w 809625"/>
              <a:gd name="connsiteY8" fmla="*/ 334803 h 809625"/>
              <a:gd name="connsiteX9" fmla="*/ 209549 w 809625"/>
              <a:gd name="connsiteY9" fmla="*/ 238125 h 809625"/>
              <a:gd name="connsiteX10" fmla="*/ 238124 w 809625"/>
              <a:gd name="connsiteY10" fmla="*/ 361950 h 809625"/>
              <a:gd name="connsiteX11" fmla="*/ 195928 w 809625"/>
              <a:gd name="connsiteY11" fmla="*/ 350329 h 809625"/>
              <a:gd name="connsiteX12" fmla="*/ 195929 w 809625"/>
              <a:gd name="connsiteY12" fmla="*/ 351567 h 809625"/>
              <a:gd name="connsiteX13" fmla="*/ 270605 w 809625"/>
              <a:gd name="connsiteY13" fmla="*/ 442722 h 809625"/>
              <a:gd name="connsiteX14" fmla="*/ 228599 w 809625"/>
              <a:gd name="connsiteY14" fmla="*/ 444341 h 809625"/>
              <a:gd name="connsiteX15" fmla="*/ 315467 w 809625"/>
              <a:gd name="connsiteY15" fmla="*/ 508920 h 809625"/>
              <a:gd name="connsiteX16" fmla="*/ 200024 w 809625"/>
              <a:gd name="connsiteY16" fmla="*/ 548544 h 809625"/>
              <a:gd name="connsiteX17" fmla="*/ 177831 w 809625"/>
              <a:gd name="connsiteY17" fmla="*/ 547211 h 809625"/>
              <a:gd name="connsiteX18" fmla="*/ 320706 w 809625"/>
              <a:gd name="connsiteY18" fmla="*/ 589026 h 809625"/>
              <a:gd name="connsiteX19" fmla="*/ 585406 w 809625"/>
              <a:gd name="connsiteY19" fmla="*/ 324421 h 809625"/>
              <a:gd name="connsiteX20" fmla="*/ 585406 w 809625"/>
              <a:gd name="connsiteY20" fmla="*/ 312324 h 809625"/>
              <a:gd name="connsiteX21" fmla="*/ 631507 w 809625"/>
              <a:gd name="connsiteY21" fmla="*/ 264223 h 809625"/>
              <a:gd name="connsiteX22" fmla="*/ 578072 w 809625"/>
              <a:gd name="connsiteY22" fmla="*/ 278892 h 809625"/>
              <a:gd name="connsiteX23" fmla="*/ 619124 w 809625"/>
              <a:gd name="connsiteY23" fmla="*/ 227361 h 809625"/>
              <a:gd name="connsiteX24" fmla="*/ 560069 w 809625"/>
              <a:gd name="connsiteY24" fmla="*/ 249936 h 809625"/>
              <a:gd name="connsiteX25" fmla="*/ 495146 w 809625"/>
              <a:gd name="connsiteY25" fmla="*/ 220645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495146" y="220645"/>
                </a:moveTo>
                <a:cubicBezTo>
                  <a:pt x="471342" y="219904"/>
                  <a:pt x="447255" y="228245"/>
                  <a:pt x="428527" y="245841"/>
                </a:cubicBezTo>
                <a:cubicBezTo>
                  <a:pt x="409833" y="263407"/>
                  <a:pt x="399219" y="287911"/>
                  <a:pt x="399192" y="313563"/>
                </a:cubicBezTo>
                <a:cubicBezTo>
                  <a:pt x="399204" y="320709"/>
                  <a:pt x="400003" y="327832"/>
                  <a:pt x="401573" y="334803"/>
                </a:cubicBezTo>
                <a:cubicBezTo>
                  <a:pt x="326768" y="331204"/>
                  <a:pt x="256991" y="296073"/>
                  <a:pt x="209549" y="238125"/>
                </a:cubicBezTo>
                <a:cubicBezTo>
                  <a:pt x="185023" y="280491"/>
                  <a:pt x="197513" y="334615"/>
                  <a:pt x="238124" y="361950"/>
                </a:cubicBezTo>
                <a:cubicBezTo>
                  <a:pt x="223336" y="361482"/>
                  <a:pt x="208871" y="357499"/>
                  <a:pt x="195928" y="350329"/>
                </a:cubicBezTo>
                <a:lnTo>
                  <a:pt x="195929" y="351567"/>
                </a:lnTo>
                <a:cubicBezTo>
                  <a:pt x="195962" y="395849"/>
                  <a:pt x="227195" y="433974"/>
                  <a:pt x="270605" y="442722"/>
                </a:cubicBezTo>
                <a:cubicBezTo>
                  <a:pt x="256901" y="446399"/>
                  <a:pt x="242546" y="446952"/>
                  <a:pt x="228599" y="444341"/>
                </a:cubicBezTo>
                <a:cubicBezTo>
                  <a:pt x="240745" y="482243"/>
                  <a:pt x="275672" y="508209"/>
                  <a:pt x="315467" y="508920"/>
                </a:cubicBezTo>
                <a:cubicBezTo>
                  <a:pt x="282513" y="534690"/>
                  <a:pt x="241858" y="548644"/>
                  <a:pt x="200024" y="548544"/>
                </a:cubicBezTo>
                <a:cubicBezTo>
                  <a:pt x="192607" y="548536"/>
                  <a:pt x="185196" y="548091"/>
                  <a:pt x="177831" y="547211"/>
                </a:cubicBezTo>
                <a:cubicBezTo>
                  <a:pt x="220421" y="574649"/>
                  <a:pt x="270043" y="589172"/>
                  <a:pt x="320706" y="589026"/>
                </a:cubicBezTo>
                <a:cubicBezTo>
                  <a:pt x="492156" y="589026"/>
                  <a:pt x="585406" y="447294"/>
                  <a:pt x="585406" y="324421"/>
                </a:cubicBezTo>
                <a:cubicBezTo>
                  <a:pt x="585406" y="320325"/>
                  <a:pt x="585406" y="316325"/>
                  <a:pt x="585406" y="312324"/>
                </a:cubicBezTo>
                <a:cubicBezTo>
                  <a:pt x="603503" y="299151"/>
                  <a:pt x="619113" y="282863"/>
                  <a:pt x="631507" y="264223"/>
                </a:cubicBezTo>
                <a:cubicBezTo>
                  <a:pt x="614513" y="271713"/>
                  <a:pt x="596508" y="276656"/>
                  <a:pt x="578072" y="278892"/>
                </a:cubicBezTo>
                <a:cubicBezTo>
                  <a:pt x="597588" y="267302"/>
                  <a:pt x="612190" y="248974"/>
                  <a:pt x="619124" y="227361"/>
                </a:cubicBezTo>
                <a:cubicBezTo>
                  <a:pt x="600877" y="238213"/>
                  <a:pt x="580902" y="245848"/>
                  <a:pt x="560069" y="249936"/>
                </a:cubicBezTo>
                <a:cubicBezTo>
                  <a:pt x="542473" y="231209"/>
                  <a:pt x="518951" y="221387"/>
                  <a:pt x="495146" y="22064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41393088-2A2D-4F19-A536-4C5B46718A69}"/>
              </a:ext>
            </a:extLst>
          </p:cNvPr>
          <p:cNvSpPr>
            <a:spLocks noChangeAspect="1"/>
          </p:cNvSpPr>
          <p:nvPr/>
        </p:nvSpPr>
        <p:spPr>
          <a:xfrm>
            <a:off x="8681340" y="4501548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230981 w 809625"/>
              <a:gd name="connsiteY5" fmla="*/ 177069 h 809625"/>
              <a:gd name="connsiteX6" fmla="*/ 176498 w 809625"/>
              <a:gd name="connsiteY6" fmla="*/ 231552 h 809625"/>
              <a:gd name="connsiteX7" fmla="*/ 230981 w 809625"/>
              <a:gd name="connsiteY7" fmla="*/ 286035 h 809625"/>
              <a:gd name="connsiteX8" fmla="*/ 285464 w 809625"/>
              <a:gd name="connsiteY8" fmla="*/ 231552 h 809625"/>
              <a:gd name="connsiteX9" fmla="*/ 230981 w 809625"/>
              <a:gd name="connsiteY9" fmla="*/ 177069 h 809625"/>
              <a:gd name="connsiteX10" fmla="*/ 517493 w 809625"/>
              <a:gd name="connsiteY10" fmla="*/ 319849 h 809625"/>
              <a:gd name="connsiteX11" fmla="*/ 428625 w 809625"/>
              <a:gd name="connsiteY11" fmla="*/ 368617 h 809625"/>
              <a:gd name="connsiteX12" fmla="*/ 426910 w 809625"/>
              <a:gd name="connsiteY12" fmla="*/ 368617 h 809625"/>
              <a:gd name="connsiteX13" fmla="*/ 426910 w 809625"/>
              <a:gd name="connsiteY13" fmla="*/ 327278 h 809625"/>
              <a:gd name="connsiteX14" fmla="*/ 336899 w 809625"/>
              <a:gd name="connsiteY14" fmla="*/ 327278 h 809625"/>
              <a:gd name="connsiteX15" fmla="*/ 336899 w 809625"/>
              <a:gd name="connsiteY15" fmla="*/ 629602 h 809625"/>
              <a:gd name="connsiteX16" fmla="*/ 430720 w 809625"/>
              <a:gd name="connsiteY16" fmla="*/ 629602 h 809625"/>
              <a:gd name="connsiteX17" fmla="*/ 430720 w 809625"/>
              <a:gd name="connsiteY17" fmla="*/ 480059 h 809625"/>
              <a:gd name="connsiteX18" fmla="*/ 487108 w 809625"/>
              <a:gd name="connsiteY18" fmla="*/ 402430 h 809625"/>
              <a:gd name="connsiteX19" fmla="*/ 535876 w 809625"/>
              <a:gd name="connsiteY19" fmla="*/ 482631 h 809625"/>
              <a:gd name="connsiteX20" fmla="*/ 535876 w 809625"/>
              <a:gd name="connsiteY20" fmla="*/ 629602 h 809625"/>
              <a:gd name="connsiteX21" fmla="*/ 630174 w 809625"/>
              <a:gd name="connsiteY21" fmla="*/ 629602 h 809625"/>
              <a:gd name="connsiteX22" fmla="*/ 630174 w 809625"/>
              <a:gd name="connsiteY22" fmla="*/ 463771 h 809625"/>
              <a:gd name="connsiteX23" fmla="*/ 517493 w 809625"/>
              <a:gd name="connsiteY23" fmla="*/ 319849 h 809625"/>
              <a:gd name="connsiteX24" fmla="*/ 183927 w 809625"/>
              <a:gd name="connsiteY24" fmla="*/ 327278 h 809625"/>
              <a:gd name="connsiteX25" fmla="*/ 183927 w 809625"/>
              <a:gd name="connsiteY25" fmla="*/ 629602 h 809625"/>
              <a:gd name="connsiteX26" fmla="*/ 277939 w 809625"/>
              <a:gd name="connsiteY26" fmla="*/ 629602 h 809625"/>
              <a:gd name="connsiteX27" fmla="*/ 277939 w 809625"/>
              <a:gd name="connsiteY27" fmla="*/ 327278 h 809625"/>
              <a:gd name="connsiteX28" fmla="*/ 183927 w 809625"/>
              <a:gd name="connsiteY28" fmla="*/ 327278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230981" y="177069"/>
                </a:moveTo>
                <a:cubicBezTo>
                  <a:pt x="200891" y="177069"/>
                  <a:pt x="176498" y="201462"/>
                  <a:pt x="176498" y="231552"/>
                </a:cubicBezTo>
                <a:cubicBezTo>
                  <a:pt x="176498" y="261642"/>
                  <a:pt x="200891" y="286035"/>
                  <a:pt x="230981" y="286035"/>
                </a:cubicBezTo>
                <a:cubicBezTo>
                  <a:pt x="261071" y="286035"/>
                  <a:pt x="285464" y="261642"/>
                  <a:pt x="285464" y="231552"/>
                </a:cubicBezTo>
                <a:cubicBezTo>
                  <a:pt x="285464" y="201462"/>
                  <a:pt x="261071" y="177069"/>
                  <a:pt x="230981" y="177069"/>
                </a:cubicBezTo>
                <a:close/>
                <a:moveTo>
                  <a:pt x="517493" y="319849"/>
                </a:moveTo>
                <a:cubicBezTo>
                  <a:pt x="481146" y="318484"/>
                  <a:pt x="446996" y="337225"/>
                  <a:pt x="428625" y="368617"/>
                </a:cubicBezTo>
                <a:lnTo>
                  <a:pt x="426910" y="368617"/>
                </a:lnTo>
                <a:lnTo>
                  <a:pt x="426910" y="327278"/>
                </a:lnTo>
                <a:lnTo>
                  <a:pt x="336899" y="327278"/>
                </a:lnTo>
                <a:lnTo>
                  <a:pt x="336899" y="629602"/>
                </a:lnTo>
                <a:lnTo>
                  <a:pt x="430720" y="629602"/>
                </a:lnTo>
                <a:lnTo>
                  <a:pt x="430720" y="480059"/>
                </a:lnTo>
                <a:cubicBezTo>
                  <a:pt x="430720" y="440530"/>
                  <a:pt x="438912" y="402430"/>
                  <a:pt x="487108" y="402430"/>
                </a:cubicBezTo>
                <a:cubicBezTo>
                  <a:pt x="535305" y="402430"/>
                  <a:pt x="535876" y="447579"/>
                  <a:pt x="535876" y="482631"/>
                </a:cubicBezTo>
                <a:lnTo>
                  <a:pt x="535876" y="629602"/>
                </a:lnTo>
                <a:lnTo>
                  <a:pt x="630174" y="629602"/>
                </a:lnTo>
                <a:lnTo>
                  <a:pt x="630174" y="463771"/>
                </a:lnTo>
                <a:cubicBezTo>
                  <a:pt x="630174" y="382428"/>
                  <a:pt x="612743" y="319849"/>
                  <a:pt x="517493" y="319849"/>
                </a:cubicBezTo>
                <a:close/>
                <a:moveTo>
                  <a:pt x="183927" y="327278"/>
                </a:moveTo>
                <a:lnTo>
                  <a:pt x="183927" y="629602"/>
                </a:lnTo>
                <a:lnTo>
                  <a:pt x="277939" y="629602"/>
                </a:lnTo>
                <a:lnTo>
                  <a:pt x="277939" y="327278"/>
                </a:lnTo>
                <a:lnTo>
                  <a:pt x="183927" y="32727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F1F78FC3-536A-4C34-B2A3-95085DF38A8D}"/>
              </a:ext>
            </a:extLst>
          </p:cNvPr>
          <p:cNvSpPr>
            <a:spLocks noChangeAspect="1"/>
          </p:cNvSpPr>
          <p:nvPr/>
        </p:nvSpPr>
        <p:spPr>
          <a:xfrm>
            <a:off x="9063685" y="4501548"/>
            <a:ext cx="242382" cy="242382"/>
          </a:xfrm>
          <a:custGeom>
            <a:avLst/>
            <a:gdLst>
              <a:gd name="connsiteX0" fmla="*/ 404812 w 809625"/>
              <a:gd name="connsiteY0" fmla="*/ 288417 h 809625"/>
              <a:gd name="connsiteX1" fmla="*/ 288417 w 809625"/>
              <a:gd name="connsiteY1" fmla="*/ 404812 h 809625"/>
              <a:gd name="connsiteX2" fmla="*/ 404812 w 809625"/>
              <a:gd name="connsiteY2" fmla="*/ 521208 h 809625"/>
              <a:gd name="connsiteX3" fmla="*/ 521208 w 809625"/>
              <a:gd name="connsiteY3" fmla="*/ 404812 h 809625"/>
              <a:gd name="connsiteX4" fmla="*/ 404812 w 809625"/>
              <a:gd name="connsiteY4" fmla="*/ 288417 h 809625"/>
              <a:gd name="connsiteX5" fmla="*/ 525780 w 809625"/>
              <a:gd name="connsiteY5" fmla="*/ 256603 h 809625"/>
              <a:gd name="connsiteX6" fmla="*/ 498538 w 809625"/>
              <a:gd name="connsiteY6" fmla="*/ 283844 h 809625"/>
              <a:gd name="connsiteX7" fmla="*/ 525780 w 809625"/>
              <a:gd name="connsiteY7" fmla="*/ 311086 h 809625"/>
              <a:gd name="connsiteX8" fmla="*/ 553021 w 809625"/>
              <a:gd name="connsiteY8" fmla="*/ 283844 h 809625"/>
              <a:gd name="connsiteX9" fmla="*/ 525780 w 809625"/>
              <a:gd name="connsiteY9" fmla="*/ 256603 h 809625"/>
              <a:gd name="connsiteX10" fmla="*/ 404812 w 809625"/>
              <a:gd name="connsiteY10" fmla="*/ 219075 h 809625"/>
              <a:gd name="connsiteX11" fmla="*/ 496443 w 809625"/>
              <a:gd name="connsiteY11" fmla="*/ 220408 h 809625"/>
              <a:gd name="connsiteX12" fmla="*/ 538543 w 809625"/>
              <a:gd name="connsiteY12" fmla="*/ 228218 h 809625"/>
              <a:gd name="connsiteX13" fmla="*/ 581501 w 809625"/>
              <a:gd name="connsiteY13" fmla="*/ 271176 h 809625"/>
              <a:gd name="connsiteX14" fmla="*/ 589311 w 809625"/>
              <a:gd name="connsiteY14" fmla="*/ 313277 h 809625"/>
              <a:gd name="connsiteX15" fmla="*/ 590645 w 809625"/>
              <a:gd name="connsiteY15" fmla="*/ 404907 h 809625"/>
              <a:gd name="connsiteX16" fmla="*/ 589311 w 809625"/>
              <a:gd name="connsiteY16" fmla="*/ 496538 h 809625"/>
              <a:gd name="connsiteX17" fmla="*/ 581501 w 809625"/>
              <a:gd name="connsiteY17" fmla="*/ 538638 h 809625"/>
              <a:gd name="connsiteX18" fmla="*/ 538543 w 809625"/>
              <a:gd name="connsiteY18" fmla="*/ 581596 h 809625"/>
              <a:gd name="connsiteX19" fmla="*/ 496443 w 809625"/>
              <a:gd name="connsiteY19" fmla="*/ 589406 h 809625"/>
              <a:gd name="connsiteX20" fmla="*/ 404812 w 809625"/>
              <a:gd name="connsiteY20" fmla="*/ 590740 h 809625"/>
              <a:gd name="connsiteX21" fmla="*/ 313182 w 809625"/>
              <a:gd name="connsiteY21" fmla="*/ 589407 h 809625"/>
              <a:gd name="connsiteX22" fmla="*/ 271081 w 809625"/>
              <a:gd name="connsiteY22" fmla="*/ 581596 h 809625"/>
              <a:gd name="connsiteX23" fmla="*/ 228600 w 809625"/>
              <a:gd name="connsiteY23" fmla="*/ 538543 h 809625"/>
              <a:gd name="connsiteX24" fmla="*/ 220789 w 809625"/>
              <a:gd name="connsiteY24" fmla="*/ 496443 h 809625"/>
              <a:gd name="connsiteX25" fmla="*/ 219075 w 809625"/>
              <a:gd name="connsiteY25" fmla="*/ 404812 h 809625"/>
              <a:gd name="connsiteX26" fmla="*/ 220408 w 809625"/>
              <a:gd name="connsiteY26" fmla="*/ 313182 h 809625"/>
              <a:gd name="connsiteX27" fmla="*/ 228600 w 809625"/>
              <a:gd name="connsiteY27" fmla="*/ 271081 h 809625"/>
              <a:gd name="connsiteX28" fmla="*/ 271081 w 809625"/>
              <a:gd name="connsiteY28" fmla="*/ 228600 h 809625"/>
              <a:gd name="connsiteX29" fmla="*/ 313181 w 809625"/>
              <a:gd name="connsiteY29" fmla="*/ 220789 h 809625"/>
              <a:gd name="connsiteX30" fmla="*/ 404812 w 809625"/>
              <a:gd name="connsiteY30" fmla="*/ 219075 h 809625"/>
              <a:gd name="connsiteX31" fmla="*/ 405669 w 809625"/>
              <a:gd name="connsiteY31" fmla="*/ 177736 h 809625"/>
              <a:gd name="connsiteX32" fmla="*/ 404812 w 809625"/>
              <a:gd name="connsiteY32" fmla="*/ 178212 h 809625"/>
              <a:gd name="connsiteX33" fmla="*/ 311372 w 809625"/>
              <a:gd name="connsiteY33" fmla="*/ 179546 h 809625"/>
              <a:gd name="connsiteX34" fmla="*/ 256317 w 809625"/>
              <a:gd name="connsiteY34" fmla="*/ 190500 h 809625"/>
              <a:gd name="connsiteX35" fmla="*/ 189642 w 809625"/>
              <a:gd name="connsiteY35" fmla="*/ 257175 h 809625"/>
              <a:gd name="connsiteX36" fmla="*/ 179069 w 809625"/>
              <a:gd name="connsiteY36" fmla="*/ 312229 h 809625"/>
              <a:gd name="connsiteX37" fmla="*/ 177736 w 809625"/>
              <a:gd name="connsiteY37" fmla="*/ 405669 h 809625"/>
              <a:gd name="connsiteX38" fmla="*/ 179069 w 809625"/>
              <a:gd name="connsiteY38" fmla="*/ 499110 h 809625"/>
              <a:gd name="connsiteX39" fmla="*/ 190500 w 809625"/>
              <a:gd name="connsiteY39" fmla="*/ 553307 h 809625"/>
              <a:gd name="connsiteX40" fmla="*/ 257175 w 809625"/>
              <a:gd name="connsiteY40" fmla="*/ 619982 h 809625"/>
              <a:gd name="connsiteX41" fmla="*/ 312229 w 809625"/>
              <a:gd name="connsiteY41" fmla="*/ 630554 h 809625"/>
              <a:gd name="connsiteX42" fmla="*/ 405669 w 809625"/>
              <a:gd name="connsiteY42" fmla="*/ 631888 h 809625"/>
              <a:gd name="connsiteX43" fmla="*/ 499110 w 809625"/>
              <a:gd name="connsiteY43" fmla="*/ 630554 h 809625"/>
              <a:gd name="connsiteX44" fmla="*/ 554164 w 809625"/>
              <a:gd name="connsiteY44" fmla="*/ 619982 h 809625"/>
              <a:gd name="connsiteX45" fmla="*/ 620839 w 809625"/>
              <a:gd name="connsiteY45" fmla="*/ 553307 h 809625"/>
              <a:gd name="connsiteX46" fmla="*/ 631412 w 809625"/>
              <a:gd name="connsiteY46" fmla="*/ 498252 h 809625"/>
              <a:gd name="connsiteX47" fmla="*/ 632745 w 809625"/>
              <a:gd name="connsiteY47" fmla="*/ 404812 h 809625"/>
              <a:gd name="connsiteX48" fmla="*/ 631412 w 809625"/>
              <a:gd name="connsiteY48" fmla="*/ 311372 h 809625"/>
              <a:gd name="connsiteX49" fmla="*/ 620839 w 809625"/>
              <a:gd name="connsiteY49" fmla="*/ 256317 h 809625"/>
              <a:gd name="connsiteX50" fmla="*/ 554164 w 809625"/>
              <a:gd name="connsiteY50" fmla="*/ 189642 h 809625"/>
              <a:gd name="connsiteX51" fmla="*/ 499110 w 809625"/>
              <a:gd name="connsiteY51" fmla="*/ 179069 h 809625"/>
              <a:gd name="connsiteX52" fmla="*/ 405669 w 809625"/>
              <a:gd name="connsiteY52" fmla="*/ 177736 h 809625"/>
              <a:gd name="connsiteX53" fmla="*/ 404813 w 809625"/>
              <a:gd name="connsiteY53" fmla="*/ 0 h 809625"/>
              <a:gd name="connsiteX54" fmla="*/ 809625 w 809625"/>
              <a:gd name="connsiteY54" fmla="*/ 404813 h 809625"/>
              <a:gd name="connsiteX55" fmla="*/ 404813 w 809625"/>
              <a:gd name="connsiteY55" fmla="*/ 809625 h 809625"/>
              <a:gd name="connsiteX56" fmla="*/ 0 w 809625"/>
              <a:gd name="connsiteY56" fmla="*/ 404813 h 809625"/>
              <a:gd name="connsiteX57" fmla="*/ 404813 w 809625"/>
              <a:gd name="connsiteY57" fmla="*/ 0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809625" h="809625">
                <a:moveTo>
                  <a:pt x="404812" y="288417"/>
                </a:moveTo>
                <a:cubicBezTo>
                  <a:pt x="340529" y="288417"/>
                  <a:pt x="288417" y="340529"/>
                  <a:pt x="288417" y="404812"/>
                </a:cubicBezTo>
                <a:cubicBezTo>
                  <a:pt x="288417" y="469096"/>
                  <a:pt x="340529" y="521208"/>
                  <a:pt x="404812" y="521208"/>
                </a:cubicBezTo>
                <a:cubicBezTo>
                  <a:pt x="469096" y="521208"/>
                  <a:pt x="521208" y="469096"/>
                  <a:pt x="521208" y="404812"/>
                </a:cubicBezTo>
                <a:cubicBezTo>
                  <a:pt x="521208" y="340529"/>
                  <a:pt x="469096" y="288417"/>
                  <a:pt x="404812" y="288417"/>
                </a:cubicBezTo>
                <a:close/>
                <a:moveTo>
                  <a:pt x="525780" y="256603"/>
                </a:moveTo>
                <a:cubicBezTo>
                  <a:pt x="510734" y="256603"/>
                  <a:pt x="498538" y="268799"/>
                  <a:pt x="498538" y="283844"/>
                </a:cubicBezTo>
                <a:cubicBezTo>
                  <a:pt x="498538" y="298890"/>
                  <a:pt x="510734" y="311086"/>
                  <a:pt x="525780" y="311086"/>
                </a:cubicBezTo>
                <a:cubicBezTo>
                  <a:pt x="540825" y="311086"/>
                  <a:pt x="553021" y="298890"/>
                  <a:pt x="553021" y="283844"/>
                </a:cubicBezTo>
                <a:cubicBezTo>
                  <a:pt x="553021" y="268799"/>
                  <a:pt x="540825" y="256603"/>
                  <a:pt x="525780" y="256603"/>
                </a:cubicBezTo>
                <a:close/>
                <a:moveTo>
                  <a:pt x="404812" y="219075"/>
                </a:moveTo>
                <a:cubicBezTo>
                  <a:pt x="465296" y="219075"/>
                  <a:pt x="472535" y="219075"/>
                  <a:pt x="496443" y="220408"/>
                </a:cubicBezTo>
                <a:cubicBezTo>
                  <a:pt x="510824" y="220533"/>
                  <a:pt x="525073" y="223177"/>
                  <a:pt x="538543" y="228218"/>
                </a:cubicBezTo>
                <a:cubicBezTo>
                  <a:pt x="558257" y="235874"/>
                  <a:pt x="573845" y="251463"/>
                  <a:pt x="581501" y="271176"/>
                </a:cubicBezTo>
                <a:cubicBezTo>
                  <a:pt x="586542" y="284646"/>
                  <a:pt x="589186" y="298895"/>
                  <a:pt x="589311" y="313277"/>
                </a:cubicBezTo>
                <a:cubicBezTo>
                  <a:pt x="590454" y="337185"/>
                  <a:pt x="590645" y="344424"/>
                  <a:pt x="590645" y="404907"/>
                </a:cubicBezTo>
                <a:cubicBezTo>
                  <a:pt x="590645" y="465391"/>
                  <a:pt x="590645" y="472630"/>
                  <a:pt x="589311" y="496538"/>
                </a:cubicBezTo>
                <a:cubicBezTo>
                  <a:pt x="589186" y="510920"/>
                  <a:pt x="586543" y="525168"/>
                  <a:pt x="581501" y="538638"/>
                </a:cubicBezTo>
                <a:cubicBezTo>
                  <a:pt x="573845" y="558352"/>
                  <a:pt x="558257" y="573940"/>
                  <a:pt x="538543" y="581596"/>
                </a:cubicBezTo>
                <a:cubicBezTo>
                  <a:pt x="525073" y="586638"/>
                  <a:pt x="510824" y="589281"/>
                  <a:pt x="496443" y="589406"/>
                </a:cubicBezTo>
                <a:cubicBezTo>
                  <a:pt x="472535" y="590550"/>
                  <a:pt x="465391" y="590740"/>
                  <a:pt x="404812" y="590740"/>
                </a:cubicBezTo>
                <a:cubicBezTo>
                  <a:pt x="344233" y="590740"/>
                  <a:pt x="337089" y="590740"/>
                  <a:pt x="313182" y="589407"/>
                </a:cubicBezTo>
                <a:cubicBezTo>
                  <a:pt x="298800" y="589281"/>
                  <a:pt x="284551" y="586638"/>
                  <a:pt x="271081" y="581596"/>
                </a:cubicBezTo>
                <a:cubicBezTo>
                  <a:pt x="251529" y="573808"/>
                  <a:pt x="236125" y="558197"/>
                  <a:pt x="228600" y="538543"/>
                </a:cubicBezTo>
                <a:cubicBezTo>
                  <a:pt x="223558" y="525073"/>
                  <a:pt x="220914" y="510824"/>
                  <a:pt x="220789" y="496443"/>
                </a:cubicBezTo>
                <a:cubicBezTo>
                  <a:pt x="219075" y="472535"/>
                  <a:pt x="219075" y="465296"/>
                  <a:pt x="219075" y="404812"/>
                </a:cubicBezTo>
                <a:cubicBezTo>
                  <a:pt x="219075" y="344328"/>
                  <a:pt x="219075" y="337089"/>
                  <a:pt x="220408" y="313182"/>
                </a:cubicBezTo>
                <a:cubicBezTo>
                  <a:pt x="220655" y="298777"/>
                  <a:pt x="223428" y="284527"/>
                  <a:pt x="228600" y="271081"/>
                </a:cubicBezTo>
                <a:cubicBezTo>
                  <a:pt x="236258" y="251643"/>
                  <a:pt x="251643" y="236258"/>
                  <a:pt x="271081" y="228600"/>
                </a:cubicBezTo>
                <a:cubicBezTo>
                  <a:pt x="284551" y="223558"/>
                  <a:pt x="298800" y="220914"/>
                  <a:pt x="313181" y="220789"/>
                </a:cubicBezTo>
                <a:cubicBezTo>
                  <a:pt x="337089" y="219075"/>
                  <a:pt x="344328" y="219075"/>
                  <a:pt x="404812" y="219075"/>
                </a:cubicBezTo>
                <a:close/>
                <a:moveTo>
                  <a:pt x="405669" y="177736"/>
                </a:moveTo>
                <a:lnTo>
                  <a:pt x="404812" y="178212"/>
                </a:lnTo>
                <a:cubicBezTo>
                  <a:pt x="343281" y="178212"/>
                  <a:pt x="335565" y="178212"/>
                  <a:pt x="311372" y="179546"/>
                </a:cubicBezTo>
                <a:cubicBezTo>
                  <a:pt x="292533" y="180057"/>
                  <a:pt x="273917" y="183760"/>
                  <a:pt x="256317" y="190500"/>
                </a:cubicBezTo>
                <a:cubicBezTo>
                  <a:pt x="225602" y="202200"/>
                  <a:pt x="201343" y="226459"/>
                  <a:pt x="189642" y="257175"/>
                </a:cubicBezTo>
                <a:cubicBezTo>
                  <a:pt x="183033" y="274797"/>
                  <a:pt x="179458" y="293412"/>
                  <a:pt x="179069" y="312229"/>
                </a:cubicBezTo>
                <a:cubicBezTo>
                  <a:pt x="178022" y="336423"/>
                  <a:pt x="177736" y="344138"/>
                  <a:pt x="177736" y="405669"/>
                </a:cubicBezTo>
                <a:cubicBezTo>
                  <a:pt x="177736" y="467201"/>
                  <a:pt x="177736" y="474916"/>
                  <a:pt x="179069" y="499110"/>
                </a:cubicBezTo>
                <a:cubicBezTo>
                  <a:pt x="179828" y="517687"/>
                  <a:pt x="183692" y="536005"/>
                  <a:pt x="190500" y="553307"/>
                </a:cubicBezTo>
                <a:cubicBezTo>
                  <a:pt x="202200" y="584022"/>
                  <a:pt x="226459" y="608281"/>
                  <a:pt x="257175" y="619982"/>
                </a:cubicBezTo>
                <a:cubicBezTo>
                  <a:pt x="274797" y="626591"/>
                  <a:pt x="293412" y="630165"/>
                  <a:pt x="312229" y="630554"/>
                </a:cubicBezTo>
                <a:cubicBezTo>
                  <a:pt x="336423" y="631602"/>
                  <a:pt x="344138" y="631888"/>
                  <a:pt x="405669" y="631888"/>
                </a:cubicBezTo>
                <a:cubicBezTo>
                  <a:pt x="467201" y="631888"/>
                  <a:pt x="474916" y="631888"/>
                  <a:pt x="499110" y="630554"/>
                </a:cubicBezTo>
                <a:cubicBezTo>
                  <a:pt x="517927" y="630165"/>
                  <a:pt x="536542" y="626591"/>
                  <a:pt x="554164" y="619982"/>
                </a:cubicBezTo>
                <a:cubicBezTo>
                  <a:pt x="584880" y="608281"/>
                  <a:pt x="609138" y="584022"/>
                  <a:pt x="620839" y="553307"/>
                </a:cubicBezTo>
                <a:cubicBezTo>
                  <a:pt x="627448" y="535684"/>
                  <a:pt x="631023" y="517069"/>
                  <a:pt x="631412" y="498252"/>
                </a:cubicBezTo>
                <a:cubicBezTo>
                  <a:pt x="632460" y="474059"/>
                  <a:pt x="632745" y="466344"/>
                  <a:pt x="632745" y="404812"/>
                </a:cubicBezTo>
                <a:cubicBezTo>
                  <a:pt x="632745" y="343281"/>
                  <a:pt x="632745" y="335565"/>
                  <a:pt x="631412" y="311372"/>
                </a:cubicBezTo>
                <a:cubicBezTo>
                  <a:pt x="631023" y="292555"/>
                  <a:pt x="627448" y="273940"/>
                  <a:pt x="620839" y="256317"/>
                </a:cubicBezTo>
                <a:cubicBezTo>
                  <a:pt x="609138" y="225602"/>
                  <a:pt x="584880" y="201343"/>
                  <a:pt x="554164" y="189642"/>
                </a:cubicBezTo>
                <a:cubicBezTo>
                  <a:pt x="536542" y="183033"/>
                  <a:pt x="517927" y="179458"/>
                  <a:pt x="499110" y="179069"/>
                </a:cubicBezTo>
                <a:cubicBezTo>
                  <a:pt x="474916" y="178022"/>
                  <a:pt x="467201" y="177736"/>
                  <a:pt x="405669" y="177736"/>
                </a:cubicBezTo>
                <a:close/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37645F6A-EDD9-42D2-A01C-F8414798D57C}"/>
              </a:ext>
            </a:extLst>
          </p:cNvPr>
          <p:cNvSpPr>
            <a:spLocks noChangeAspect="1"/>
          </p:cNvSpPr>
          <p:nvPr/>
        </p:nvSpPr>
        <p:spPr>
          <a:xfrm>
            <a:off x="9446029" y="4501548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207835 w 809625"/>
              <a:gd name="connsiteY5" fmla="*/ 183451 h 809625"/>
              <a:gd name="connsiteX6" fmla="*/ 183451 w 809625"/>
              <a:gd name="connsiteY6" fmla="*/ 207835 h 809625"/>
              <a:gd name="connsiteX7" fmla="*/ 183451 w 809625"/>
              <a:gd name="connsiteY7" fmla="*/ 601789 h 809625"/>
              <a:gd name="connsiteX8" fmla="*/ 207835 w 809625"/>
              <a:gd name="connsiteY8" fmla="*/ 626173 h 809625"/>
              <a:gd name="connsiteX9" fmla="*/ 419957 w 809625"/>
              <a:gd name="connsiteY9" fmla="*/ 626173 h 809625"/>
              <a:gd name="connsiteX10" fmla="*/ 419957 w 809625"/>
              <a:gd name="connsiteY10" fmla="*/ 454723 h 809625"/>
              <a:gd name="connsiteX11" fmla="*/ 361950 w 809625"/>
              <a:gd name="connsiteY11" fmla="*/ 454723 h 809625"/>
              <a:gd name="connsiteX12" fmla="*/ 361950 w 809625"/>
              <a:gd name="connsiteY12" fmla="*/ 388048 h 809625"/>
              <a:gd name="connsiteX13" fmla="*/ 419671 w 809625"/>
              <a:gd name="connsiteY13" fmla="*/ 388048 h 809625"/>
              <a:gd name="connsiteX14" fmla="*/ 419671 w 809625"/>
              <a:gd name="connsiteY14" fmla="*/ 338613 h 809625"/>
              <a:gd name="connsiteX15" fmla="*/ 505396 w 809625"/>
              <a:gd name="connsiteY15" fmla="*/ 250317 h 809625"/>
              <a:gd name="connsiteX16" fmla="*/ 556926 w 809625"/>
              <a:gd name="connsiteY16" fmla="*/ 252984 h 809625"/>
              <a:gd name="connsiteX17" fmla="*/ 556926 w 809625"/>
              <a:gd name="connsiteY17" fmla="*/ 312705 h 809625"/>
              <a:gd name="connsiteX18" fmla="*/ 522065 w 809625"/>
              <a:gd name="connsiteY18" fmla="*/ 312705 h 809625"/>
              <a:gd name="connsiteX19" fmla="*/ 488918 w 809625"/>
              <a:gd name="connsiteY19" fmla="*/ 345281 h 809625"/>
              <a:gd name="connsiteX20" fmla="*/ 488918 w 809625"/>
              <a:gd name="connsiteY20" fmla="*/ 387953 h 809625"/>
              <a:gd name="connsiteX21" fmla="*/ 555593 w 809625"/>
              <a:gd name="connsiteY21" fmla="*/ 387953 h 809625"/>
              <a:gd name="connsiteX22" fmla="*/ 546925 w 809625"/>
              <a:gd name="connsiteY22" fmla="*/ 454628 h 809625"/>
              <a:gd name="connsiteX23" fmla="*/ 489775 w 809625"/>
              <a:gd name="connsiteY23" fmla="*/ 454628 h 809625"/>
              <a:gd name="connsiteX24" fmla="*/ 489775 w 809625"/>
              <a:gd name="connsiteY24" fmla="*/ 626078 h 809625"/>
              <a:gd name="connsiteX25" fmla="*/ 601789 w 809625"/>
              <a:gd name="connsiteY25" fmla="*/ 626078 h 809625"/>
              <a:gd name="connsiteX26" fmla="*/ 626173 w 809625"/>
              <a:gd name="connsiteY26" fmla="*/ 601694 h 809625"/>
              <a:gd name="connsiteX27" fmla="*/ 626173 w 809625"/>
              <a:gd name="connsiteY27" fmla="*/ 207835 h 809625"/>
              <a:gd name="connsiteX28" fmla="*/ 601789 w 809625"/>
              <a:gd name="connsiteY28" fmla="*/ 183451 h 809625"/>
              <a:gd name="connsiteX29" fmla="*/ 207835 w 809625"/>
              <a:gd name="connsiteY29" fmla="*/ 183451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207835" y="183451"/>
                </a:moveTo>
                <a:cubicBezTo>
                  <a:pt x="194368" y="183451"/>
                  <a:pt x="183451" y="194368"/>
                  <a:pt x="183451" y="207835"/>
                </a:cubicBezTo>
                <a:lnTo>
                  <a:pt x="183451" y="601789"/>
                </a:lnTo>
                <a:cubicBezTo>
                  <a:pt x="183451" y="615256"/>
                  <a:pt x="194368" y="626173"/>
                  <a:pt x="207835" y="626173"/>
                </a:cubicBezTo>
                <a:lnTo>
                  <a:pt x="419957" y="626173"/>
                </a:lnTo>
                <a:lnTo>
                  <a:pt x="419957" y="454723"/>
                </a:lnTo>
                <a:lnTo>
                  <a:pt x="361950" y="454723"/>
                </a:lnTo>
                <a:lnTo>
                  <a:pt x="361950" y="388048"/>
                </a:lnTo>
                <a:lnTo>
                  <a:pt x="419671" y="388048"/>
                </a:lnTo>
                <a:lnTo>
                  <a:pt x="419671" y="338613"/>
                </a:lnTo>
                <a:cubicBezTo>
                  <a:pt x="419671" y="281463"/>
                  <a:pt x="454533" y="250317"/>
                  <a:pt x="505396" y="250317"/>
                </a:cubicBezTo>
                <a:cubicBezTo>
                  <a:pt x="522609" y="250238"/>
                  <a:pt x="539813" y="251128"/>
                  <a:pt x="556926" y="252984"/>
                </a:cubicBezTo>
                <a:lnTo>
                  <a:pt x="556926" y="312705"/>
                </a:lnTo>
                <a:lnTo>
                  <a:pt x="522065" y="312705"/>
                </a:lnTo>
                <a:cubicBezTo>
                  <a:pt x="494252" y="312705"/>
                  <a:pt x="488918" y="325945"/>
                  <a:pt x="488918" y="345281"/>
                </a:cubicBezTo>
                <a:lnTo>
                  <a:pt x="488918" y="387953"/>
                </a:lnTo>
                <a:lnTo>
                  <a:pt x="555593" y="387953"/>
                </a:lnTo>
                <a:lnTo>
                  <a:pt x="546925" y="454628"/>
                </a:lnTo>
                <a:lnTo>
                  <a:pt x="489775" y="454628"/>
                </a:lnTo>
                <a:lnTo>
                  <a:pt x="489775" y="626078"/>
                </a:lnTo>
                <a:lnTo>
                  <a:pt x="601789" y="626078"/>
                </a:lnTo>
                <a:cubicBezTo>
                  <a:pt x="615256" y="626078"/>
                  <a:pt x="626173" y="615161"/>
                  <a:pt x="626173" y="601694"/>
                </a:cubicBezTo>
                <a:lnTo>
                  <a:pt x="626173" y="207835"/>
                </a:lnTo>
                <a:cubicBezTo>
                  <a:pt x="626173" y="194368"/>
                  <a:pt x="615256" y="183451"/>
                  <a:pt x="601789" y="183451"/>
                </a:cubicBezTo>
                <a:lnTo>
                  <a:pt x="207835" y="183451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737EC4F3-8130-2F4D-B18F-7AF3E2C71869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7877158" y="2497253"/>
            <a:ext cx="1941914" cy="865381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" b="0" kern="1200" cap="none" baseline="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" b="1" kern="1200" cap="all" baseline="0">
                <a:noFill/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00" kern="1200">
                <a:noFill/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400" b="0" kern="1200">
                <a:noFill/>
                <a:latin typeface="+mn-lt"/>
                <a:ea typeface="+mn-ea"/>
                <a:cs typeface="+mn-cs"/>
              </a:defRPr>
            </a:lvl4pPr>
            <a:lvl5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 sz="400" kern="1200">
                <a:noFill/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00" kern="1200">
                <a:noFill/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00" kern="1200">
                <a:noFill/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00" kern="1200">
                <a:noFill/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00" kern="1200">
                <a:noFill/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559258725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76849F14-4971-4208-82A8-1F0513897926}"/>
              </a:ext>
            </a:extLst>
          </p:cNvPr>
          <p:cNvSpPr/>
          <p:nvPr userDrawn="1"/>
        </p:nvSpPr>
        <p:spPr>
          <a:xfrm>
            <a:off x="719400" y="-2"/>
            <a:ext cx="107532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096AA35B-6D3E-4809-9D78-9CF31081E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9400" y="-2"/>
            <a:ext cx="4680000" cy="4068000"/>
          </a:xfrm>
          <a:solidFill>
            <a:schemeClr val="tx2"/>
          </a:solidFill>
        </p:spPr>
        <p:txBody>
          <a:bodyPr lIns="342000" tIns="342000" rIns="0" bIns="504000" anchor="b" anchorCtr="0"/>
          <a:lstStyle>
            <a:lvl1pPr>
              <a:defRPr sz="4500">
                <a:solidFill>
                  <a:schemeClr val="accent1"/>
                </a:solidFill>
              </a:defRPr>
            </a:lvl1pPr>
          </a:lstStyle>
          <a:p>
            <a:r>
              <a:rPr lang="en-US"/>
              <a:t>Thank you</a:t>
            </a:r>
            <a:endParaRPr lang="en-AU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FD95F930-CD55-469B-9FD0-1150DA73B39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-2"/>
            <a:ext cx="12192000" cy="6876000"/>
          </a:xfrm>
          <a:custGeom>
            <a:avLst/>
            <a:gdLst>
              <a:gd name="connsiteX0" fmla="*/ 114726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472600 w 12192000"/>
              <a:gd name="connsiteY3" fmla="*/ 6858000 h 6858000"/>
              <a:gd name="connsiteX4" fmla="*/ 0 w 12192000"/>
              <a:gd name="connsiteY4" fmla="*/ 0 h 6858000"/>
              <a:gd name="connsiteX5" fmla="*/ 719400 w 12192000"/>
              <a:gd name="connsiteY5" fmla="*/ 0 h 6858000"/>
              <a:gd name="connsiteX6" fmla="*/ 7194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14726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472600" y="6858000"/>
                </a:lnTo>
                <a:close/>
                <a:moveTo>
                  <a:pt x="0" y="0"/>
                </a:moveTo>
                <a:lnTo>
                  <a:pt x="719400" y="0"/>
                </a:lnTo>
                <a:lnTo>
                  <a:pt x="7194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08000" tIns="108000" rIns="115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4417D20-4CB7-471C-A5C4-50706D404792}"/>
              </a:ext>
            </a:extLst>
          </p:cNvPr>
          <p:cNvSpPr txBox="1"/>
          <p:nvPr userDrawn="1"/>
        </p:nvSpPr>
        <p:spPr>
          <a:xfrm>
            <a:off x="7877158" y="3841087"/>
            <a:ext cx="3321238" cy="25564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 cap="none" baseline="0">
                <a:solidFill>
                  <a:schemeClr val="bg1"/>
                </a:solidFill>
              </a:defRPr>
            </a:lvl1pPr>
            <a:lvl2pPr marL="0" lvl="1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b="1" cap="all" baseline="0">
                <a:solidFill>
                  <a:schemeClr val="bg1"/>
                </a:solidFill>
              </a:defRPr>
            </a:lvl2pPr>
            <a:lvl3pPr marL="0" lvl="2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3pPr>
            <a:lvl4pPr marL="0" lvl="3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4pPr>
            <a:lvl5pPr marL="0" lvl="4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5pPr>
            <a:lvl6pPr marL="0" lvl="5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6pPr>
            <a:lvl7pPr marL="0" lvl="6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7pPr>
            <a:lvl8pPr marL="0" lvl="7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8pPr>
            <a:lvl9pPr marL="0" lvl="8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9pPr>
          </a:lstStyle>
          <a:p>
            <a:pPr lvl="0">
              <a:spcBef>
                <a:spcPts val="400"/>
              </a:spcBef>
            </a:pPr>
            <a:r>
              <a:rPr lang="en-US" altLang="en-US" sz="1600" b="0">
                <a:solidFill>
                  <a:schemeClr val="bg2"/>
                </a:solidFill>
                <a:latin typeface="+mj-lt"/>
              </a:rPr>
              <a:t>Forest Stewardship Council®</a:t>
            </a:r>
          </a:p>
          <a:p>
            <a:pPr lvl="0">
              <a:spcBef>
                <a:spcPts val="400"/>
              </a:spcBef>
              <a:spcAft>
                <a:spcPts val="1200"/>
              </a:spcAft>
            </a:pPr>
            <a:r>
              <a:rPr lang="en-US" altLang="en-US" sz="1500" b="1">
                <a:solidFill>
                  <a:schemeClr val="bg2"/>
                </a:solidFill>
              </a:rPr>
              <a:t>FSC® Asociación Civil </a:t>
            </a:r>
          </a:p>
          <a:p>
            <a:pPr lvl="0"/>
            <a:endParaRPr lang="en-US" altLang="en-US" sz="1600" b="0"/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Calle Margarita </a:t>
            </a:r>
            <a:r>
              <a:rPr lang="en-US" altLang="en-US" sz="1200" b="0" err="1">
                <a:solidFill>
                  <a:schemeClr val="bg2"/>
                </a:solidFill>
              </a:rPr>
              <a:t>Maza</a:t>
            </a:r>
            <a:r>
              <a:rPr lang="en-US" altLang="en-US" sz="1200" b="0">
                <a:solidFill>
                  <a:schemeClr val="bg2"/>
                </a:solidFill>
              </a:rPr>
              <a:t> de Juárez 422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Colonia Centro,  Oaxaca, México, CP. 68000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Phone: +52 951 502 6533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Fax: +52 951 502 6594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FSC Asociación Civil © All rights reserved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 err="1">
                <a:solidFill>
                  <a:schemeClr val="bg2"/>
                </a:solidFill>
              </a:rPr>
              <a:t>FSC</a:t>
            </a:r>
            <a:r>
              <a:rPr lang="en-US" altLang="en-US" sz="1200" b="0">
                <a:solidFill>
                  <a:schemeClr val="bg2"/>
                </a:solidFill>
              </a:rPr>
              <a:t>® </a:t>
            </a:r>
            <a:r>
              <a:rPr lang="en-US" altLang="en-US" sz="1200" b="0" err="1">
                <a:solidFill>
                  <a:schemeClr val="bg2"/>
                </a:solidFill>
              </a:rPr>
              <a:t>F000100</a:t>
            </a:r>
            <a:r>
              <a:rPr lang="en-US" altLang="en-US" sz="1200" b="0">
                <a:solidFill>
                  <a:schemeClr val="bg2"/>
                </a:solidFill>
              </a:rPr>
              <a:t> </a:t>
            </a:r>
          </a:p>
          <a:p>
            <a:pPr lvl="0"/>
            <a:r>
              <a:rPr lang="en-US" altLang="en-US" sz="1400" b="0" err="1">
                <a:solidFill>
                  <a:schemeClr val="bg2"/>
                </a:solidFill>
                <a:latin typeface="+mj-lt"/>
              </a:rPr>
              <a:t>www.fsc.org</a:t>
            </a:r>
            <a:endParaRPr lang="en-US" altLang="en-US" sz="1400" b="0">
              <a:solidFill>
                <a:schemeClr val="bg2"/>
              </a:solidFill>
              <a:latin typeface="+mj-lt"/>
            </a:endParaRPr>
          </a:p>
          <a:p>
            <a:pPr lvl="0"/>
            <a:endParaRPr lang="en-US" altLang="en-US" sz="1600" b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F8BC909C-567D-4F9C-A0DF-D05DE8F82075}"/>
              </a:ext>
            </a:extLst>
          </p:cNvPr>
          <p:cNvSpPr>
            <a:spLocks noChangeAspect="1"/>
          </p:cNvSpPr>
          <p:nvPr/>
        </p:nvSpPr>
        <p:spPr>
          <a:xfrm>
            <a:off x="7916652" y="4501548"/>
            <a:ext cx="242382" cy="242382"/>
          </a:xfrm>
          <a:custGeom>
            <a:avLst/>
            <a:gdLst>
              <a:gd name="connsiteX0" fmla="*/ 357950 w 809625"/>
              <a:gd name="connsiteY0" fmla="*/ 333375 h 809625"/>
              <a:gd name="connsiteX1" fmla="*/ 480537 w 809625"/>
              <a:gd name="connsiteY1" fmla="*/ 397002 h 809625"/>
              <a:gd name="connsiteX2" fmla="*/ 357950 w 809625"/>
              <a:gd name="connsiteY2" fmla="*/ 460439 h 809625"/>
              <a:gd name="connsiteX3" fmla="*/ 242887 w 809625"/>
              <a:gd name="connsiteY3" fmla="*/ 249555 h 809625"/>
              <a:gd name="connsiteX4" fmla="*/ 178117 w 809625"/>
              <a:gd name="connsiteY4" fmla="*/ 314325 h 809625"/>
              <a:gd name="connsiteX5" fmla="*/ 178117 w 809625"/>
              <a:gd name="connsiteY5" fmla="*/ 495300 h 809625"/>
              <a:gd name="connsiteX6" fmla="*/ 242887 w 809625"/>
              <a:gd name="connsiteY6" fmla="*/ 560070 h 809625"/>
              <a:gd name="connsiteX7" fmla="*/ 566737 w 809625"/>
              <a:gd name="connsiteY7" fmla="*/ 560070 h 809625"/>
              <a:gd name="connsiteX8" fmla="*/ 631507 w 809625"/>
              <a:gd name="connsiteY8" fmla="*/ 495300 h 809625"/>
              <a:gd name="connsiteX9" fmla="*/ 631507 w 809625"/>
              <a:gd name="connsiteY9" fmla="*/ 314325 h 809625"/>
              <a:gd name="connsiteX10" fmla="*/ 566737 w 809625"/>
              <a:gd name="connsiteY10" fmla="*/ 249555 h 809625"/>
              <a:gd name="connsiteX11" fmla="*/ 404813 w 809625"/>
              <a:gd name="connsiteY11" fmla="*/ 0 h 809625"/>
              <a:gd name="connsiteX12" fmla="*/ 809625 w 809625"/>
              <a:gd name="connsiteY12" fmla="*/ 404813 h 809625"/>
              <a:gd name="connsiteX13" fmla="*/ 404813 w 809625"/>
              <a:gd name="connsiteY13" fmla="*/ 809625 h 809625"/>
              <a:gd name="connsiteX14" fmla="*/ 0 w 809625"/>
              <a:gd name="connsiteY14" fmla="*/ 404813 h 809625"/>
              <a:gd name="connsiteX15" fmla="*/ 404813 w 809625"/>
              <a:gd name="connsiteY15" fmla="*/ 0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809625" h="809625">
                <a:moveTo>
                  <a:pt x="357950" y="333375"/>
                </a:moveTo>
                <a:lnTo>
                  <a:pt x="480537" y="397002"/>
                </a:lnTo>
                <a:lnTo>
                  <a:pt x="357950" y="460439"/>
                </a:lnTo>
                <a:close/>
                <a:moveTo>
                  <a:pt x="242887" y="249555"/>
                </a:moveTo>
                <a:cubicBezTo>
                  <a:pt x="207159" y="249660"/>
                  <a:pt x="178222" y="278597"/>
                  <a:pt x="178117" y="314325"/>
                </a:cubicBezTo>
                <a:lnTo>
                  <a:pt x="178117" y="495300"/>
                </a:lnTo>
                <a:cubicBezTo>
                  <a:pt x="178222" y="531028"/>
                  <a:pt x="207159" y="559965"/>
                  <a:pt x="242887" y="560070"/>
                </a:cubicBezTo>
                <a:lnTo>
                  <a:pt x="566737" y="560070"/>
                </a:lnTo>
                <a:cubicBezTo>
                  <a:pt x="602465" y="559965"/>
                  <a:pt x="631402" y="531028"/>
                  <a:pt x="631507" y="495300"/>
                </a:cubicBezTo>
                <a:lnTo>
                  <a:pt x="631507" y="314325"/>
                </a:lnTo>
                <a:cubicBezTo>
                  <a:pt x="631402" y="278597"/>
                  <a:pt x="602465" y="249660"/>
                  <a:pt x="566737" y="249555"/>
                </a:cubicBezTo>
                <a:close/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2487C176-18A9-4BB0-BD80-DEC34233A800}"/>
              </a:ext>
            </a:extLst>
          </p:cNvPr>
          <p:cNvSpPr>
            <a:spLocks noChangeAspect="1"/>
          </p:cNvSpPr>
          <p:nvPr/>
        </p:nvSpPr>
        <p:spPr>
          <a:xfrm>
            <a:off x="8298996" y="4501548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495146 w 809625"/>
              <a:gd name="connsiteY5" fmla="*/ 220645 h 809625"/>
              <a:gd name="connsiteX6" fmla="*/ 428527 w 809625"/>
              <a:gd name="connsiteY6" fmla="*/ 245841 h 809625"/>
              <a:gd name="connsiteX7" fmla="*/ 399192 w 809625"/>
              <a:gd name="connsiteY7" fmla="*/ 313563 h 809625"/>
              <a:gd name="connsiteX8" fmla="*/ 401573 w 809625"/>
              <a:gd name="connsiteY8" fmla="*/ 334803 h 809625"/>
              <a:gd name="connsiteX9" fmla="*/ 209549 w 809625"/>
              <a:gd name="connsiteY9" fmla="*/ 238125 h 809625"/>
              <a:gd name="connsiteX10" fmla="*/ 238124 w 809625"/>
              <a:gd name="connsiteY10" fmla="*/ 361950 h 809625"/>
              <a:gd name="connsiteX11" fmla="*/ 195928 w 809625"/>
              <a:gd name="connsiteY11" fmla="*/ 350329 h 809625"/>
              <a:gd name="connsiteX12" fmla="*/ 195929 w 809625"/>
              <a:gd name="connsiteY12" fmla="*/ 351567 h 809625"/>
              <a:gd name="connsiteX13" fmla="*/ 270605 w 809625"/>
              <a:gd name="connsiteY13" fmla="*/ 442722 h 809625"/>
              <a:gd name="connsiteX14" fmla="*/ 228599 w 809625"/>
              <a:gd name="connsiteY14" fmla="*/ 444341 h 809625"/>
              <a:gd name="connsiteX15" fmla="*/ 315467 w 809625"/>
              <a:gd name="connsiteY15" fmla="*/ 508920 h 809625"/>
              <a:gd name="connsiteX16" fmla="*/ 200024 w 809625"/>
              <a:gd name="connsiteY16" fmla="*/ 548544 h 809625"/>
              <a:gd name="connsiteX17" fmla="*/ 177831 w 809625"/>
              <a:gd name="connsiteY17" fmla="*/ 547211 h 809625"/>
              <a:gd name="connsiteX18" fmla="*/ 320706 w 809625"/>
              <a:gd name="connsiteY18" fmla="*/ 589026 h 809625"/>
              <a:gd name="connsiteX19" fmla="*/ 585406 w 809625"/>
              <a:gd name="connsiteY19" fmla="*/ 324421 h 809625"/>
              <a:gd name="connsiteX20" fmla="*/ 585406 w 809625"/>
              <a:gd name="connsiteY20" fmla="*/ 312324 h 809625"/>
              <a:gd name="connsiteX21" fmla="*/ 631507 w 809625"/>
              <a:gd name="connsiteY21" fmla="*/ 264223 h 809625"/>
              <a:gd name="connsiteX22" fmla="*/ 578072 w 809625"/>
              <a:gd name="connsiteY22" fmla="*/ 278892 h 809625"/>
              <a:gd name="connsiteX23" fmla="*/ 619124 w 809625"/>
              <a:gd name="connsiteY23" fmla="*/ 227361 h 809625"/>
              <a:gd name="connsiteX24" fmla="*/ 560069 w 809625"/>
              <a:gd name="connsiteY24" fmla="*/ 249936 h 809625"/>
              <a:gd name="connsiteX25" fmla="*/ 495146 w 809625"/>
              <a:gd name="connsiteY25" fmla="*/ 220645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495146" y="220645"/>
                </a:moveTo>
                <a:cubicBezTo>
                  <a:pt x="471342" y="219904"/>
                  <a:pt x="447255" y="228245"/>
                  <a:pt x="428527" y="245841"/>
                </a:cubicBezTo>
                <a:cubicBezTo>
                  <a:pt x="409833" y="263407"/>
                  <a:pt x="399219" y="287911"/>
                  <a:pt x="399192" y="313563"/>
                </a:cubicBezTo>
                <a:cubicBezTo>
                  <a:pt x="399204" y="320709"/>
                  <a:pt x="400003" y="327832"/>
                  <a:pt x="401573" y="334803"/>
                </a:cubicBezTo>
                <a:cubicBezTo>
                  <a:pt x="326768" y="331204"/>
                  <a:pt x="256991" y="296073"/>
                  <a:pt x="209549" y="238125"/>
                </a:cubicBezTo>
                <a:cubicBezTo>
                  <a:pt x="185023" y="280491"/>
                  <a:pt x="197513" y="334615"/>
                  <a:pt x="238124" y="361950"/>
                </a:cubicBezTo>
                <a:cubicBezTo>
                  <a:pt x="223336" y="361482"/>
                  <a:pt x="208871" y="357499"/>
                  <a:pt x="195928" y="350329"/>
                </a:cubicBezTo>
                <a:lnTo>
                  <a:pt x="195929" y="351567"/>
                </a:lnTo>
                <a:cubicBezTo>
                  <a:pt x="195962" y="395849"/>
                  <a:pt x="227195" y="433974"/>
                  <a:pt x="270605" y="442722"/>
                </a:cubicBezTo>
                <a:cubicBezTo>
                  <a:pt x="256901" y="446399"/>
                  <a:pt x="242546" y="446952"/>
                  <a:pt x="228599" y="444341"/>
                </a:cubicBezTo>
                <a:cubicBezTo>
                  <a:pt x="240745" y="482243"/>
                  <a:pt x="275672" y="508209"/>
                  <a:pt x="315467" y="508920"/>
                </a:cubicBezTo>
                <a:cubicBezTo>
                  <a:pt x="282513" y="534690"/>
                  <a:pt x="241858" y="548644"/>
                  <a:pt x="200024" y="548544"/>
                </a:cubicBezTo>
                <a:cubicBezTo>
                  <a:pt x="192607" y="548536"/>
                  <a:pt x="185196" y="548091"/>
                  <a:pt x="177831" y="547211"/>
                </a:cubicBezTo>
                <a:cubicBezTo>
                  <a:pt x="220421" y="574649"/>
                  <a:pt x="270043" y="589172"/>
                  <a:pt x="320706" y="589026"/>
                </a:cubicBezTo>
                <a:cubicBezTo>
                  <a:pt x="492156" y="589026"/>
                  <a:pt x="585406" y="447294"/>
                  <a:pt x="585406" y="324421"/>
                </a:cubicBezTo>
                <a:cubicBezTo>
                  <a:pt x="585406" y="320325"/>
                  <a:pt x="585406" y="316325"/>
                  <a:pt x="585406" y="312324"/>
                </a:cubicBezTo>
                <a:cubicBezTo>
                  <a:pt x="603503" y="299151"/>
                  <a:pt x="619113" y="282863"/>
                  <a:pt x="631507" y="264223"/>
                </a:cubicBezTo>
                <a:cubicBezTo>
                  <a:pt x="614513" y="271713"/>
                  <a:pt x="596508" y="276656"/>
                  <a:pt x="578072" y="278892"/>
                </a:cubicBezTo>
                <a:cubicBezTo>
                  <a:pt x="597588" y="267302"/>
                  <a:pt x="612190" y="248974"/>
                  <a:pt x="619124" y="227361"/>
                </a:cubicBezTo>
                <a:cubicBezTo>
                  <a:pt x="600877" y="238213"/>
                  <a:pt x="580902" y="245848"/>
                  <a:pt x="560069" y="249936"/>
                </a:cubicBezTo>
                <a:cubicBezTo>
                  <a:pt x="542473" y="231209"/>
                  <a:pt x="518951" y="221387"/>
                  <a:pt x="495146" y="22064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41393088-2A2D-4F19-A536-4C5B46718A69}"/>
              </a:ext>
            </a:extLst>
          </p:cNvPr>
          <p:cNvSpPr>
            <a:spLocks noChangeAspect="1"/>
          </p:cNvSpPr>
          <p:nvPr userDrawn="1"/>
        </p:nvSpPr>
        <p:spPr>
          <a:xfrm>
            <a:off x="8681340" y="4501548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230981 w 809625"/>
              <a:gd name="connsiteY5" fmla="*/ 177069 h 809625"/>
              <a:gd name="connsiteX6" fmla="*/ 176498 w 809625"/>
              <a:gd name="connsiteY6" fmla="*/ 231552 h 809625"/>
              <a:gd name="connsiteX7" fmla="*/ 230981 w 809625"/>
              <a:gd name="connsiteY7" fmla="*/ 286035 h 809625"/>
              <a:gd name="connsiteX8" fmla="*/ 285464 w 809625"/>
              <a:gd name="connsiteY8" fmla="*/ 231552 h 809625"/>
              <a:gd name="connsiteX9" fmla="*/ 230981 w 809625"/>
              <a:gd name="connsiteY9" fmla="*/ 177069 h 809625"/>
              <a:gd name="connsiteX10" fmla="*/ 517493 w 809625"/>
              <a:gd name="connsiteY10" fmla="*/ 319849 h 809625"/>
              <a:gd name="connsiteX11" fmla="*/ 428625 w 809625"/>
              <a:gd name="connsiteY11" fmla="*/ 368617 h 809625"/>
              <a:gd name="connsiteX12" fmla="*/ 426910 w 809625"/>
              <a:gd name="connsiteY12" fmla="*/ 368617 h 809625"/>
              <a:gd name="connsiteX13" fmla="*/ 426910 w 809625"/>
              <a:gd name="connsiteY13" fmla="*/ 327278 h 809625"/>
              <a:gd name="connsiteX14" fmla="*/ 336899 w 809625"/>
              <a:gd name="connsiteY14" fmla="*/ 327278 h 809625"/>
              <a:gd name="connsiteX15" fmla="*/ 336899 w 809625"/>
              <a:gd name="connsiteY15" fmla="*/ 629602 h 809625"/>
              <a:gd name="connsiteX16" fmla="*/ 430720 w 809625"/>
              <a:gd name="connsiteY16" fmla="*/ 629602 h 809625"/>
              <a:gd name="connsiteX17" fmla="*/ 430720 w 809625"/>
              <a:gd name="connsiteY17" fmla="*/ 480059 h 809625"/>
              <a:gd name="connsiteX18" fmla="*/ 487108 w 809625"/>
              <a:gd name="connsiteY18" fmla="*/ 402430 h 809625"/>
              <a:gd name="connsiteX19" fmla="*/ 535876 w 809625"/>
              <a:gd name="connsiteY19" fmla="*/ 482631 h 809625"/>
              <a:gd name="connsiteX20" fmla="*/ 535876 w 809625"/>
              <a:gd name="connsiteY20" fmla="*/ 629602 h 809625"/>
              <a:gd name="connsiteX21" fmla="*/ 630174 w 809625"/>
              <a:gd name="connsiteY21" fmla="*/ 629602 h 809625"/>
              <a:gd name="connsiteX22" fmla="*/ 630174 w 809625"/>
              <a:gd name="connsiteY22" fmla="*/ 463771 h 809625"/>
              <a:gd name="connsiteX23" fmla="*/ 517493 w 809625"/>
              <a:gd name="connsiteY23" fmla="*/ 319849 h 809625"/>
              <a:gd name="connsiteX24" fmla="*/ 183927 w 809625"/>
              <a:gd name="connsiteY24" fmla="*/ 327278 h 809625"/>
              <a:gd name="connsiteX25" fmla="*/ 183927 w 809625"/>
              <a:gd name="connsiteY25" fmla="*/ 629602 h 809625"/>
              <a:gd name="connsiteX26" fmla="*/ 277939 w 809625"/>
              <a:gd name="connsiteY26" fmla="*/ 629602 h 809625"/>
              <a:gd name="connsiteX27" fmla="*/ 277939 w 809625"/>
              <a:gd name="connsiteY27" fmla="*/ 327278 h 809625"/>
              <a:gd name="connsiteX28" fmla="*/ 183927 w 809625"/>
              <a:gd name="connsiteY28" fmla="*/ 327278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230981" y="177069"/>
                </a:moveTo>
                <a:cubicBezTo>
                  <a:pt x="200891" y="177069"/>
                  <a:pt x="176498" y="201462"/>
                  <a:pt x="176498" y="231552"/>
                </a:cubicBezTo>
                <a:cubicBezTo>
                  <a:pt x="176498" y="261642"/>
                  <a:pt x="200891" y="286035"/>
                  <a:pt x="230981" y="286035"/>
                </a:cubicBezTo>
                <a:cubicBezTo>
                  <a:pt x="261071" y="286035"/>
                  <a:pt x="285464" y="261642"/>
                  <a:pt x="285464" y="231552"/>
                </a:cubicBezTo>
                <a:cubicBezTo>
                  <a:pt x="285464" y="201462"/>
                  <a:pt x="261071" y="177069"/>
                  <a:pt x="230981" y="177069"/>
                </a:cubicBezTo>
                <a:close/>
                <a:moveTo>
                  <a:pt x="517493" y="319849"/>
                </a:moveTo>
                <a:cubicBezTo>
                  <a:pt x="481146" y="318484"/>
                  <a:pt x="446996" y="337225"/>
                  <a:pt x="428625" y="368617"/>
                </a:cubicBezTo>
                <a:lnTo>
                  <a:pt x="426910" y="368617"/>
                </a:lnTo>
                <a:lnTo>
                  <a:pt x="426910" y="327278"/>
                </a:lnTo>
                <a:lnTo>
                  <a:pt x="336899" y="327278"/>
                </a:lnTo>
                <a:lnTo>
                  <a:pt x="336899" y="629602"/>
                </a:lnTo>
                <a:lnTo>
                  <a:pt x="430720" y="629602"/>
                </a:lnTo>
                <a:lnTo>
                  <a:pt x="430720" y="480059"/>
                </a:lnTo>
                <a:cubicBezTo>
                  <a:pt x="430720" y="440530"/>
                  <a:pt x="438912" y="402430"/>
                  <a:pt x="487108" y="402430"/>
                </a:cubicBezTo>
                <a:cubicBezTo>
                  <a:pt x="535305" y="402430"/>
                  <a:pt x="535876" y="447579"/>
                  <a:pt x="535876" y="482631"/>
                </a:cubicBezTo>
                <a:lnTo>
                  <a:pt x="535876" y="629602"/>
                </a:lnTo>
                <a:lnTo>
                  <a:pt x="630174" y="629602"/>
                </a:lnTo>
                <a:lnTo>
                  <a:pt x="630174" y="463771"/>
                </a:lnTo>
                <a:cubicBezTo>
                  <a:pt x="630174" y="382428"/>
                  <a:pt x="612743" y="319849"/>
                  <a:pt x="517493" y="319849"/>
                </a:cubicBezTo>
                <a:close/>
                <a:moveTo>
                  <a:pt x="183927" y="327278"/>
                </a:moveTo>
                <a:lnTo>
                  <a:pt x="183927" y="629602"/>
                </a:lnTo>
                <a:lnTo>
                  <a:pt x="277939" y="629602"/>
                </a:lnTo>
                <a:lnTo>
                  <a:pt x="277939" y="327278"/>
                </a:lnTo>
                <a:lnTo>
                  <a:pt x="183927" y="32727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F1F78FC3-536A-4C34-B2A3-95085DF38A8D}"/>
              </a:ext>
            </a:extLst>
          </p:cNvPr>
          <p:cNvSpPr>
            <a:spLocks noChangeAspect="1"/>
          </p:cNvSpPr>
          <p:nvPr userDrawn="1"/>
        </p:nvSpPr>
        <p:spPr>
          <a:xfrm>
            <a:off x="9063685" y="4501548"/>
            <a:ext cx="242382" cy="242382"/>
          </a:xfrm>
          <a:custGeom>
            <a:avLst/>
            <a:gdLst>
              <a:gd name="connsiteX0" fmla="*/ 404812 w 809625"/>
              <a:gd name="connsiteY0" fmla="*/ 288417 h 809625"/>
              <a:gd name="connsiteX1" fmla="*/ 288417 w 809625"/>
              <a:gd name="connsiteY1" fmla="*/ 404812 h 809625"/>
              <a:gd name="connsiteX2" fmla="*/ 404812 w 809625"/>
              <a:gd name="connsiteY2" fmla="*/ 521208 h 809625"/>
              <a:gd name="connsiteX3" fmla="*/ 521208 w 809625"/>
              <a:gd name="connsiteY3" fmla="*/ 404812 h 809625"/>
              <a:gd name="connsiteX4" fmla="*/ 404812 w 809625"/>
              <a:gd name="connsiteY4" fmla="*/ 288417 h 809625"/>
              <a:gd name="connsiteX5" fmla="*/ 525780 w 809625"/>
              <a:gd name="connsiteY5" fmla="*/ 256603 h 809625"/>
              <a:gd name="connsiteX6" fmla="*/ 498538 w 809625"/>
              <a:gd name="connsiteY6" fmla="*/ 283844 h 809625"/>
              <a:gd name="connsiteX7" fmla="*/ 525780 w 809625"/>
              <a:gd name="connsiteY7" fmla="*/ 311086 h 809625"/>
              <a:gd name="connsiteX8" fmla="*/ 553021 w 809625"/>
              <a:gd name="connsiteY8" fmla="*/ 283844 h 809625"/>
              <a:gd name="connsiteX9" fmla="*/ 525780 w 809625"/>
              <a:gd name="connsiteY9" fmla="*/ 256603 h 809625"/>
              <a:gd name="connsiteX10" fmla="*/ 404812 w 809625"/>
              <a:gd name="connsiteY10" fmla="*/ 219075 h 809625"/>
              <a:gd name="connsiteX11" fmla="*/ 496443 w 809625"/>
              <a:gd name="connsiteY11" fmla="*/ 220408 h 809625"/>
              <a:gd name="connsiteX12" fmla="*/ 538543 w 809625"/>
              <a:gd name="connsiteY12" fmla="*/ 228218 h 809625"/>
              <a:gd name="connsiteX13" fmla="*/ 581501 w 809625"/>
              <a:gd name="connsiteY13" fmla="*/ 271176 h 809625"/>
              <a:gd name="connsiteX14" fmla="*/ 589311 w 809625"/>
              <a:gd name="connsiteY14" fmla="*/ 313277 h 809625"/>
              <a:gd name="connsiteX15" fmla="*/ 590645 w 809625"/>
              <a:gd name="connsiteY15" fmla="*/ 404907 h 809625"/>
              <a:gd name="connsiteX16" fmla="*/ 589311 w 809625"/>
              <a:gd name="connsiteY16" fmla="*/ 496538 h 809625"/>
              <a:gd name="connsiteX17" fmla="*/ 581501 w 809625"/>
              <a:gd name="connsiteY17" fmla="*/ 538638 h 809625"/>
              <a:gd name="connsiteX18" fmla="*/ 538543 w 809625"/>
              <a:gd name="connsiteY18" fmla="*/ 581596 h 809625"/>
              <a:gd name="connsiteX19" fmla="*/ 496443 w 809625"/>
              <a:gd name="connsiteY19" fmla="*/ 589406 h 809625"/>
              <a:gd name="connsiteX20" fmla="*/ 404812 w 809625"/>
              <a:gd name="connsiteY20" fmla="*/ 590740 h 809625"/>
              <a:gd name="connsiteX21" fmla="*/ 313182 w 809625"/>
              <a:gd name="connsiteY21" fmla="*/ 589407 h 809625"/>
              <a:gd name="connsiteX22" fmla="*/ 271081 w 809625"/>
              <a:gd name="connsiteY22" fmla="*/ 581596 h 809625"/>
              <a:gd name="connsiteX23" fmla="*/ 228600 w 809625"/>
              <a:gd name="connsiteY23" fmla="*/ 538543 h 809625"/>
              <a:gd name="connsiteX24" fmla="*/ 220789 w 809625"/>
              <a:gd name="connsiteY24" fmla="*/ 496443 h 809625"/>
              <a:gd name="connsiteX25" fmla="*/ 219075 w 809625"/>
              <a:gd name="connsiteY25" fmla="*/ 404812 h 809625"/>
              <a:gd name="connsiteX26" fmla="*/ 220408 w 809625"/>
              <a:gd name="connsiteY26" fmla="*/ 313182 h 809625"/>
              <a:gd name="connsiteX27" fmla="*/ 228600 w 809625"/>
              <a:gd name="connsiteY27" fmla="*/ 271081 h 809625"/>
              <a:gd name="connsiteX28" fmla="*/ 271081 w 809625"/>
              <a:gd name="connsiteY28" fmla="*/ 228600 h 809625"/>
              <a:gd name="connsiteX29" fmla="*/ 313181 w 809625"/>
              <a:gd name="connsiteY29" fmla="*/ 220789 h 809625"/>
              <a:gd name="connsiteX30" fmla="*/ 404812 w 809625"/>
              <a:gd name="connsiteY30" fmla="*/ 219075 h 809625"/>
              <a:gd name="connsiteX31" fmla="*/ 405669 w 809625"/>
              <a:gd name="connsiteY31" fmla="*/ 177736 h 809625"/>
              <a:gd name="connsiteX32" fmla="*/ 404812 w 809625"/>
              <a:gd name="connsiteY32" fmla="*/ 178212 h 809625"/>
              <a:gd name="connsiteX33" fmla="*/ 311372 w 809625"/>
              <a:gd name="connsiteY33" fmla="*/ 179546 h 809625"/>
              <a:gd name="connsiteX34" fmla="*/ 256317 w 809625"/>
              <a:gd name="connsiteY34" fmla="*/ 190500 h 809625"/>
              <a:gd name="connsiteX35" fmla="*/ 189642 w 809625"/>
              <a:gd name="connsiteY35" fmla="*/ 257175 h 809625"/>
              <a:gd name="connsiteX36" fmla="*/ 179069 w 809625"/>
              <a:gd name="connsiteY36" fmla="*/ 312229 h 809625"/>
              <a:gd name="connsiteX37" fmla="*/ 177736 w 809625"/>
              <a:gd name="connsiteY37" fmla="*/ 405669 h 809625"/>
              <a:gd name="connsiteX38" fmla="*/ 179069 w 809625"/>
              <a:gd name="connsiteY38" fmla="*/ 499110 h 809625"/>
              <a:gd name="connsiteX39" fmla="*/ 190500 w 809625"/>
              <a:gd name="connsiteY39" fmla="*/ 553307 h 809625"/>
              <a:gd name="connsiteX40" fmla="*/ 257175 w 809625"/>
              <a:gd name="connsiteY40" fmla="*/ 619982 h 809625"/>
              <a:gd name="connsiteX41" fmla="*/ 312229 w 809625"/>
              <a:gd name="connsiteY41" fmla="*/ 630554 h 809625"/>
              <a:gd name="connsiteX42" fmla="*/ 405669 w 809625"/>
              <a:gd name="connsiteY42" fmla="*/ 631888 h 809625"/>
              <a:gd name="connsiteX43" fmla="*/ 499110 w 809625"/>
              <a:gd name="connsiteY43" fmla="*/ 630554 h 809625"/>
              <a:gd name="connsiteX44" fmla="*/ 554164 w 809625"/>
              <a:gd name="connsiteY44" fmla="*/ 619982 h 809625"/>
              <a:gd name="connsiteX45" fmla="*/ 620839 w 809625"/>
              <a:gd name="connsiteY45" fmla="*/ 553307 h 809625"/>
              <a:gd name="connsiteX46" fmla="*/ 631412 w 809625"/>
              <a:gd name="connsiteY46" fmla="*/ 498252 h 809625"/>
              <a:gd name="connsiteX47" fmla="*/ 632745 w 809625"/>
              <a:gd name="connsiteY47" fmla="*/ 404812 h 809625"/>
              <a:gd name="connsiteX48" fmla="*/ 631412 w 809625"/>
              <a:gd name="connsiteY48" fmla="*/ 311372 h 809625"/>
              <a:gd name="connsiteX49" fmla="*/ 620839 w 809625"/>
              <a:gd name="connsiteY49" fmla="*/ 256317 h 809625"/>
              <a:gd name="connsiteX50" fmla="*/ 554164 w 809625"/>
              <a:gd name="connsiteY50" fmla="*/ 189642 h 809625"/>
              <a:gd name="connsiteX51" fmla="*/ 499110 w 809625"/>
              <a:gd name="connsiteY51" fmla="*/ 179069 h 809625"/>
              <a:gd name="connsiteX52" fmla="*/ 405669 w 809625"/>
              <a:gd name="connsiteY52" fmla="*/ 177736 h 809625"/>
              <a:gd name="connsiteX53" fmla="*/ 404813 w 809625"/>
              <a:gd name="connsiteY53" fmla="*/ 0 h 809625"/>
              <a:gd name="connsiteX54" fmla="*/ 809625 w 809625"/>
              <a:gd name="connsiteY54" fmla="*/ 404813 h 809625"/>
              <a:gd name="connsiteX55" fmla="*/ 404813 w 809625"/>
              <a:gd name="connsiteY55" fmla="*/ 809625 h 809625"/>
              <a:gd name="connsiteX56" fmla="*/ 0 w 809625"/>
              <a:gd name="connsiteY56" fmla="*/ 404813 h 809625"/>
              <a:gd name="connsiteX57" fmla="*/ 404813 w 809625"/>
              <a:gd name="connsiteY57" fmla="*/ 0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809625" h="809625">
                <a:moveTo>
                  <a:pt x="404812" y="288417"/>
                </a:moveTo>
                <a:cubicBezTo>
                  <a:pt x="340529" y="288417"/>
                  <a:pt x="288417" y="340529"/>
                  <a:pt x="288417" y="404812"/>
                </a:cubicBezTo>
                <a:cubicBezTo>
                  <a:pt x="288417" y="469096"/>
                  <a:pt x="340529" y="521208"/>
                  <a:pt x="404812" y="521208"/>
                </a:cubicBezTo>
                <a:cubicBezTo>
                  <a:pt x="469096" y="521208"/>
                  <a:pt x="521208" y="469096"/>
                  <a:pt x="521208" y="404812"/>
                </a:cubicBezTo>
                <a:cubicBezTo>
                  <a:pt x="521208" y="340529"/>
                  <a:pt x="469096" y="288417"/>
                  <a:pt x="404812" y="288417"/>
                </a:cubicBezTo>
                <a:close/>
                <a:moveTo>
                  <a:pt x="525780" y="256603"/>
                </a:moveTo>
                <a:cubicBezTo>
                  <a:pt x="510734" y="256603"/>
                  <a:pt x="498538" y="268799"/>
                  <a:pt x="498538" y="283844"/>
                </a:cubicBezTo>
                <a:cubicBezTo>
                  <a:pt x="498538" y="298890"/>
                  <a:pt x="510734" y="311086"/>
                  <a:pt x="525780" y="311086"/>
                </a:cubicBezTo>
                <a:cubicBezTo>
                  <a:pt x="540825" y="311086"/>
                  <a:pt x="553021" y="298890"/>
                  <a:pt x="553021" y="283844"/>
                </a:cubicBezTo>
                <a:cubicBezTo>
                  <a:pt x="553021" y="268799"/>
                  <a:pt x="540825" y="256603"/>
                  <a:pt x="525780" y="256603"/>
                </a:cubicBezTo>
                <a:close/>
                <a:moveTo>
                  <a:pt x="404812" y="219075"/>
                </a:moveTo>
                <a:cubicBezTo>
                  <a:pt x="465296" y="219075"/>
                  <a:pt x="472535" y="219075"/>
                  <a:pt x="496443" y="220408"/>
                </a:cubicBezTo>
                <a:cubicBezTo>
                  <a:pt x="510824" y="220533"/>
                  <a:pt x="525073" y="223177"/>
                  <a:pt x="538543" y="228218"/>
                </a:cubicBezTo>
                <a:cubicBezTo>
                  <a:pt x="558257" y="235874"/>
                  <a:pt x="573845" y="251463"/>
                  <a:pt x="581501" y="271176"/>
                </a:cubicBezTo>
                <a:cubicBezTo>
                  <a:pt x="586542" y="284646"/>
                  <a:pt x="589186" y="298895"/>
                  <a:pt x="589311" y="313277"/>
                </a:cubicBezTo>
                <a:cubicBezTo>
                  <a:pt x="590454" y="337185"/>
                  <a:pt x="590645" y="344424"/>
                  <a:pt x="590645" y="404907"/>
                </a:cubicBezTo>
                <a:cubicBezTo>
                  <a:pt x="590645" y="465391"/>
                  <a:pt x="590645" y="472630"/>
                  <a:pt x="589311" y="496538"/>
                </a:cubicBezTo>
                <a:cubicBezTo>
                  <a:pt x="589186" y="510920"/>
                  <a:pt x="586543" y="525168"/>
                  <a:pt x="581501" y="538638"/>
                </a:cubicBezTo>
                <a:cubicBezTo>
                  <a:pt x="573845" y="558352"/>
                  <a:pt x="558257" y="573940"/>
                  <a:pt x="538543" y="581596"/>
                </a:cubicBezTo>
                <a:cubicBezTo>
                  <a:pt x="525073" y="586638"/>
                  <a:pt x="510824" y="589281"/>
                  <a:pt x="496443" y="589406"/>
                </a:cubicBezTo>
                <a:cubicBezTo>
                  <a:pt x="472535" y="590550"/>
                  <a:pt x="465391" y="590740"/>
                  <a:pt x="404812" y="590740"/>
                </a:cubicBezTo>
                <a:cubicBezTo>
                  <a:pt x="344233" y="590740"/>
                  <a:pt x="337089" y="590740"/>
                  <a:pt x="313182" y="589407"/>
                </a:cubicBezTo>
                <a:cubicBezTo>
                  <a:pt x="298800" y="589281"/>
                  <a:pt x="284551" y="586638"/>
                  <a:pt x="271081" y="581596"/>
                </a:cubicBezTo>
                <a:cubicBezTo>
                  <a:pt x="251529" y="573808"/>
                  <a:pt x="236125" y="558197"/>
                  <a:pt x="228600" y="538543"/>
                </a:cubicBezTo>
                <a:cubicBezTo>
                  <a:pt x="223558" y="525073"/>
                  <a:pt x="220914" y="510824"/>
                  <a:pt x="220789" y="496443"/>
                </a:cubicBezTo>
                <a:cubicBezTo>
                  <a:pt x="219075" y="472535"/>
                  <a:pt x="219075" y="465296"/>
                  <a:pt x="219075" y="404812"/>
                </a:cubicBezTo>
                <a:cubicBezTo>
                  <a:pt x="219075" y="344328"/>
                  <a:pt x="219075" y="337089"/>
                  <a:pt x="220408" y="313182"/>
                </a:cubicBezTo>
                <a:cubicBezTo>
                  <a:pt x="220655" y="298777"/>
                  <a:pt x="223428" y="284527"/>
                  <a:pt x="228600" y="271081"/>
                </a:cubicBezTo>
                <a:cubicBezTo>
                  <a:pt x="236258" y="251643"/>
                  <a:pt x="251643" y="236258"/>
                  <a:pt x="271081" y="228600"/>
                </a:cubicBezTo>
                <a:cubicBezTo>
                  <a:pt x="284551" y="223558"/>
                  <a:pt x="298800" y="220914"/>
                  <a:pt x="313181" y="220789"/>
                </a:cubicBezTo>
                <a:cubicBezTo>
                  <a:pt x="337089" y="219075"/>
                  <a:pt x="344328" y="219075"/>
                  <a:pt x="404812" y="219075"/>
                </a:cubicBezTo>
                <a:close/>
                <a:moveTo>
                  <a:pt x="405669" y="177736"/>
                </a:moveTo>
                <a:lnTo>
                  <a:pt x="404812" y="178212"/>
                </a:lnTo>
                <a:cubicBezTo>
                  <a:pt x="343281" y="178212"/>
                  <a:pt x="335565" y="178212"/>
                  <a:pt x="311372" y="179546"/>
                </a:cubicBezTo>
                <a:cubicBezTo>
                  <a:pt x="292533" y="180057"/>
                  <a:pt x="273917" y="183760"/>
                  <a:pt x="256317" y="190500"/>
                </a:cubicBezTo>
                <a:cubicBezTo>
                  <a:pt x="225602" y="202200"/>
                  <a:pt x="201343" y="226459"/>
                  <a:pt x="189642" y="257175"/>
                </a:cubicBezTo>
                <a:cubicBezTo>
                  <a:pt x="183033" y="274797"/>
                  <a:pt x="179458" y="293412"/>
                  <a:pt x="179069" y="312229"/>
                </a:cubicBezTo>
                <a:cubicBezTo>
                  <a:pt x="178022" y="336423"/>
                  <a:pt x="177736" y="344138"/>
                  <a:pt x="177736" y="405669"/>
                </a:cubicBezTo>
                <a:cubicBezTo>
                  <a:pt x="177736" y="467201"/>
                  <a:pt x="177736" y="474916"/>
                  <a:pt x="179069" y="499110"/>
                </a:cubicBezTo>
                <a:cubicBezTo>
                  <a:pt x="179828" y="517687"/>
                  <a:pt x="183692" y="536005"/>
                  <a:pt x="190500" y="553307"/>
                </a:cubicBezTo>
                <a:cubicBezTo>
                  <a:pt x="202200" y="584022"/>
                  <a:pt x="226459" y="608281"/>
                  <a:pt x="257175" y="619982"/>
                </a:cubicBezTo>
                <a:cubicBezTo>
                  <a:pt x="274797" y="626591"/>
                  <a:pt x="293412" y="630165"/>
                  <a:pt x="312229" y="630554"/>
                </a:cubicBezTo>
                <a:cubicBezTo>
                  <a:pt x="336423" y="631602"/>
                  <a:pt x="344138" y="631888"/>
                  <a:pt x="405669" y="631888"/>
                </a:cubicBezTo>
                <a:cubicBezTo>
                  <a:pt x="467201" y="631888"/>
                  <a:pt x="474916" y="631888"/>
                  <a:pt x="499110" y="630554"/>
                </a:cubicBezTo>
                <a:cubicBezTo>
                  <a:pt x="517927" y="630165"/>
                  <a:pt x="536542" y="626591"/>
                  <a:pt x="554164" y="619982"/>
                </a:cubicBezTo>
                <a:cubicBezTo>
                  <a:pt x="584880" y="608281"/>
                  <a:pt x="609138" y="584022"/>
                  <a:pt x="620839" y="553307"/>
                </a:cubicBezTo>
                <a:cubicBezTo>
                  <a:pt x="627448" y="535684"/>
                  <a:pt x="631023" y="517069"/>
                  <a:pt x="631412" y="498252"/>
                </a:cubicBezTo>
                <a:cubicBezTo>
                  <a:pt x="632460" y="474059"/>
                  <a:pt x="632745" y="466344"/>
                  <a:pt x="632745" y="404812"/>
                </a:cubicBezTo>
                <a:cubicBezTo>
                  <a:pt x="632745" y="343281"/>
                  <a:pt x="632745" y="335565"/>
                  <a:pt x="631412" y="311372"/>
                </a:cubicBezTo>
                <a:cubicBezTo>
                  <a:pt x="631023" y="292555"/>
                  <a:pt x="627448" y="273940"/>
                  <a:pt x="620839" y="256317"/>
                </a:cubicBezTo>
                <a:cubicBezTo>
                  <a:pt x="609138" y="225602"/>
                  <a:pt x="584880" y="201343"/>
                  <a:pt x="554164" y="189642"/>
                </a:cubicBezTo>
                <a:cubicBezTo>
                  <a:pt x="536542" y="183033"/>
                  <a:pt x="517927" y="179458"/>
                  <a:pt x="499110" y="179069"/>
                </a:cubicBezTo>
                <a:cubicBezTo>
                  <a:pt x="474916" y="178022"/>
                  <a:pt x="467201" y="177736"/>
                  <a:pt x="405669" y="177736"/>
                </a:cubicBezTo>
                <a:close/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37645F6A-EDD9-42D2-A01C-F8414798D57C}"/>
              </a:ext>
            </a:extLst>
          </p:cNvPr>
          <p:cNvSpPr>
            <a:spLocks noChangeAspect="1"/>
          </p:cNvSpPr>
          <p:nvPr/>
        </p:nvSpPr>
        <p:spPr>
          <a:xfrm>
            <a:off x="9446029" y="4501548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207835 w 809625"/>
              <a:gd name="connsiteY5" fmla="*/ 183451 h 809625"/>
              <a:gd name="connsiteX6" fmla="*/ 183451 w 809625"/>
              <a:gd name="connsiteY6" fmla="*/ 207835 h 809625"/>
              <a:gd name="connsiteX7" fmla="*/ 183451 w 809625"/>
              <a:gd name="connsiteY7" fmla="*/ 601789 h 809625"/>
              <a:gd name="connsiteX8" fmla="*/ 207835 w 809625"/>
              <a:gd name="connsiteY8" fmla="*/ 626173 h 809625"/>
              <a:gd name="connsiteX9" fmla="*/ 419957 w 809625"/>
              <a:gd name="connsiteY9" fmla="*/ 626173 h 809625"/>
              <a:gd name="connsiteX10" fmla="*/ 419957 w 809625"/>
              <a:gd name="connsiteY10" fmla="*/ 454723 h 809625"/>
              <a:gd name="connsiteX11" fmla="*/ 361950 w 809625"/>
              <a:gd name="connsiteY11" fmla="*/ 454723 h 809625"/>
              <a:gd name="connsiteX12" fmla="*/ 361950 w 809625"/>
              <a:gd name="connsiteY12" fmla="*/ 388048 h 809625"/>
              <a:gd name="connsiteX13" fmla="*/ 419671 w 809625"/>
              <a:gd name="connsiteY13" fmla="*/ 388048 h 809625"/>
              <a:gd name="connsiteX14" fmla="*/ 419671 w 809625"/>
              <a:gd name="connsiteY14" fmla="*/ 338613 h 809625"/>
              <a:gd name="connsiteX15" fmla="*/ 505396 w 809625"/>
              <a:gd name="connsiteY15" fmla="*/ 250317 h 809625"/>
              <a:gd name="connsiteX16" fmla="*/ 556926 w 809625"/>
              <a:gd name="connsiteY16" fmla="*/ 252984 h 809625"/>
              <a:gd name="connsiteX17" fmla="*/ 556926 w 809625"/>
              <a:gd name="connsiteY17" fmla="*/ 312705 h 809625"/>
              <a:gd name="connsiteX18" fmla="*/ 522065 w 809625"/>
              <a:gd name="connsiteY18" fmla="*/ 312705 h 809625"/>
              <a:gd name="connsiteX19" fmla="*/ 488918 w 809625"/>
              <a:gd name="connsiteY19" fmla="*/ 345281 h 809625"/>
              <a:gd name="connsiteX20" fmla="*/ 488918 w 809625"/>
              <a:gd name="connsiteY20" fmla="*/ 387953 h 809625"/>
              <a:gd name="connsiteX21" fmla="*/ 555593 w 809625"/>
              <a:gd name="connsiteY21" fmla="*/ 387953 h 809625"/>
              <a:gd name="connsiteX22" fmla="*/ 546925 w 809625"/>
              <a:gd name="connsiteY22" fmla="*/ 454628 h 809625"/>
              <a:gd name="connsiteX23" fmla="*/ 489775 w 809625"/>
              <a:gd name="connsiteY23" fmla="*/ 454628 h 809625"/>
              <a:gd name="connsiteX24" fmla="*/ 489775 w 809625"/>
              <a:gd name="connsiteY24" fmla="*/ 626078 h 809625"/>
              <a:gd name="connsiteX25" fmla="*/ 601789 w 809625"/>
              <a:gd name="connsiteY25" fmla="*/ 626078 h 809625"/>
              <a:gd name="connsiteX26" fmla="*/ 626173 w 809625"/>
              <a:gd name="connsiteY26" fmla="*/ 601694 h 809625"/>
              <a:gd name="connsiteX27" fmla="*/ 626173 w 809625"/>
              <a:gd name="connsiteY27" fmla="*/ 207835 h 809625"/>
              <a:gd name="connsiteX28" fmla="*/ 601789 w 809625"/>
              <a:gd name="connsiteY28" fmla="*/ 183451 h 809625"/>
              <a:gd name="connsiteX29" fmla="*/ 207835 w 809625"/>
              <a:gd name="connsiteY29" fmla="*/ 183451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207835" y="183451"/>
                </a:moveTo>
                <a:cubicBezTo>
                  <a:pt x="194368" y="183451"/>
                  <a:pt x="183451" y="194368"/>
                  <a:pt x="183451" y="207835"/>
                </a:cubicBezTo>
                <a:lnTo>
                  <a:pt x="183451" y="601789"/>
                </a:lnTo>
                <a:cubicBezTo>
                  <a:pt x="183451" y="615256"/>
                  <a:pt x="194368" y="626173"/>
                  <a:pt x="207835" y="626173"/>
                </a:cubicBezTo>
                <a:lnTo>
                  <a:pt x="419957" y="626173"/>
                </a:lnTo>
                <a:lnTo>
                  <a:pt x="419957" y="454723"/>
                </a:lnTo>
                <a:lnTo>
                  <a:pt x="361950" y="454723"/>
                </a:lnTo>
                <a:lnTo>
                  <a:pt x="361950" y="388048"/>
                </a:lnTo>
                <a:lnTo>
                  <a:pt x="419671" y="388048"/>
                </a:lnTo>
                <a:lnTo>
                  <a:pt x="419671" y="338613"/>
                </a:lnTo>
                <a:cubicBezTo>
                  <a:pt x="419671" y="281463"/>
                  <a:pt x="454533" y="250317"/>
                  <a:pt x="505396" y="250317"/>
                </a:cubicBezTo>
                <a:cubicBezTo>
                  <a:pt x="522609" y="250238"/>
                  <a:pt x="539813" y="251128"/>
                  <a:pt x="556926" y="252984"/>
                </a:cubicBezTo>
                <a:lnTo>
                  <a:pt x="556926" y="312705"/>
                </a:lnTo>
                <a:lnTo>
                  <a:pt x="522065" y="312705"/>
                </a:lnTo>
                <a:cubicBezTo>
                  <a:pt x="494252" y="312705"/>
                  <a:pt x="488918" y="325945"/>
                  <a:pt x="488918" y="345281"/>
                </a:cubicBezTo>
                <a:lnTo>
                  <a:pt x="488918" y="387953"/>
                </a:lnTo>
                <a:lnTo>
                  <a:pt x="555593" y="387953"/>
                </a:lnTo>
                <a:lnTo>
                  <a:pt x="546925" y="454628"/>
                </a:lnTo>
                <a:lnTo>
                  <a:pt x="489775" y="454628"/>
                </a:lnTo>
                <a:lnTo>
                  <a:pt x="489775" y="626078"/>
                </a:lnTo>
                <a:lnTo>
                  <a:pt x="601789" y="626078"/>
                </a:lnTo>
                <a:cubicBezTo>
                  <a:pt x="615256" y="626078"/>
                  <a:pt x="626173" y="615161"/>
                  <a:pt x="626173" y="601694"/>
                </a:cubicBezTo>
                <a:lnTo>
                  <a:pt x="626173" y="207835"/>
                </a:lnTo>
                <a:cubicBezTo>
                  <a:pt x="626173" y="194368"/>
                  <a:pt x="615256" y="183451"/>
                  <a:pt x="601789" y="183451"/>
                </a:cubicBezTo>
                <a:lnTo>
                  <a:pt x="207835" y="183451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737EC4F3-8130-2F4D-B18F-7AF3E2C71869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7877158" y="2497253"/>
            <a:ext cx="1941914" cy="865381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" b="0" kern="1200" cap="none" baseline="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" b="1" kern="1200" cap="all" baseline="0">
                <a:noFill/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00" kern="1200">
                <a:noFill/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400" b="0" kern="1200">
                <a:noFill/>
                <a:latin typeface="+mn-lt"/>
                <a:ea typeface="+mn-ea"/>
                <a:cs typeface="+mn-cs"/>
              </a:defRPr>
            </a:lvl4pPr>
            <a:lvl5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 sz="400" kern="1200">
                <a:noFill/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00" kern="1200">
                <a:noFill/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00" kern="1200">
                <a:noFill/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00" kern="1200">
                <a:noFill/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00" kern="1200">
                <a:noFill/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085339415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76849F14-4971-4208-82A8-1F0513897926}"/>
              </a:ext>
            </a:extLst>
          </p:cNvPr>
          <p:cNvSpPr/>
          <p:nvPr userDrawn="1"/>
        </p:nvSpPr>
        <p:spPr>
          <a:xfrm>
            <a:off x="719400" y="-2"/>
            <a:ext cx="107532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096AA35B-6D3E-4809-9D78-9CF31081E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9400" y="-2"/>
            <a:ext cx="4680000" cy="4068000"/>
          </a:xfrm>
          <a:solidFill>
            <a:schemeClr val="tx2"/>
          </a:solidFill>
        </p:spPr>
        <p:txBody>
          <a:bodyPr lIns="342000" tIns="342000" rIns="0" bIns="504000" anchor="b" anchorCtr="0"/>
          <a:lstStyle>
            <a:lvl1pPr>
              <a:defRPr sz="4500">
                <a:solidFill>
                  <a:schemeClr val="accent1"/>
                </a:solidFill>
              </a:defRPr>
            </a:lvl1pPr>
          </a:lstStyle>
          <a:p>
            <a:r>
              <a:rPr lang="en-US"/>
              <a:t>Thank you</a:t>
            </a:r>
            <a:endParaRPr lang="en-AU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FD95F930-CD55-469B-9FD0-1150DA73B39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-2"/>
            <a:ext cx="12192000" cy="6876000"/>
          </a:xfrm>
          <a:custGeom>
            <a:avLst/>
            <a:gdLst>
              <a:gd name="connsiteX0" fmla="*/ 114726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472600 w 12192000"/>
              <a:gd name="connsiteY3" fmla="*/ 6858000 h 6858000"/>
              <a:gd name="connsiteX4" fmla="*/ 0 w 12192000"/>
              <a:gd name="connsiteY4" fmla="*/ 0 h 6858000"/>
              <a:gd name="connsiteX5" fmla="*/ 719400 w 12192000"/>
              <a:gd name="connsiteY5" fmla="*/ 0 h 6858000"/>
              <a:gd name="connsiteX6" fmla="*/ 7194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14726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472600" y="6858000"/>
                </a:lnTo>
                <a:close/>
                <a:moveTo>
                  <a:pt x="0" y="0"/>
                </a:moveTo>
                <a:lnTo>
                  <a:pt x="719400" y="0"/>
                </a:lnTo>
                <a:lnTo>
                  <a:pt x="7194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08000" tIns="108000" rIns="115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F8BC909C-567D-4F9C-A0DF-D05DE8F82075}"/>
              </a:ext>
            </a:extLst>
          </p:cNvPr>
          <p:cNvSpPr>
            <a:spLocks noChangeAspect="1"/>
          </p:cNvSpPr>
          <p:nvPr/>
        </p:nvSpPr>
        <p:spPr>
          <a:xfrm>
            <a:off x="7916652" y="4501548"/>
            <a:ext cx="242382" cy="242382"/>
          </a:xfrm>
          <a:custGeom>
            <a:avLst/>
            <a:gdLst>
              <a:gd name="connsiteX0" fmla="*/ 357950 w 809625"/>
              <a:gd name="connsiteY0" fmla="*/ 333375 h 809625"/>
              <a:gd name="connsiteX1" fmla="*/ 480537 w 809625"/>
              <a:gd name="connsiteY1" fmla="*/ 397002 h 809625"/>
              <a:gd name="connsiteX2" fmla="*/ 357950 w 809625"/>
              <a:gd name="connsiteY2" fmla="*/ 460439 h 809625"/>
              <a:gd name="connsiteX3" fmla="*/ 242887 w 809625"/>
              <a:gd name="connsiteY3" fmla="*/ 249555 h 809625"/>
              <a:gd name="connsiteX4" fmla="*/ 178117 w 809625"/>
              <a:gd name="connsiteY4" fmla="*/ 314325 h 809625"/>
              <a:gd name="connsiteX5" fmla="*/ 178117 w 809625"/>
              <a:gd name="connsiteY5" fmla="*/ 495300 h 809625"/>
              <a:gd name="connsiteX6" fmla="*/ 242887 w 809625"/>
              <a:gd name="connsiteY6" fmla="*/ 560070 h 809625"/>
              <a:gd name="connsiteX7" fmla="*/ 566737 w 809625"/>
              <a:gd name="connsiteY7" fmla="*/ 560070 h 809625"/>
              <a:gd name="connsiteX8" fmla="*/ 631507 w 809625"/>
              <a:gd name="connsiteY8" fmla="*/ 495300 h 809625"/>
              <a:gd name="connsiteX9" fmla="*/ 631507 w 809625"/>
              <a:gd name="connsiteY9" fmla="*/ 314325 h 809625"/>
              <a:gd name="connsiteX10" fmla="*/ 566737 w 809625"/>
              <a:gd name="connsiteY10" fmla="*/ 249555 h 809625"/>
              <a:gd name="connsiteX11" fmla="*/ 404813 w 809625"/>
              <a:gd name="connsiteY11" fmla="*/ 0 h 809625"/>
              <a:gd name="connsiteX12" fmla="*/ 809625 w 809625"/>
              <a:gd name="connsiteY12" fmla="*/ 404813 h 809625"/>
              <a:gd name="connsiteX13" fmla="*/ 404813 w 809625"/>
              <a:gd name="connsiteY13" fmla="*/ 809625 h 809625"/>
              <a:gd name="connsiteX14" fmla="*/ 0 w 809625"/>
              <a:gd name="connsiteY14" fmla="*/ 404813 h 809625"/>
              <a:gd name="connsiteX15" fmla="*/ 404813 w 809625"/>
              <a:gd name="connsiteY15" fmla="*/ 0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809625" h="809625">
                <a:moveTo>
                  <a:pt x="357950" y="333375"/>
                </a:moveTo>
                <a:lnTo>
                  <a:pt x="480537" y="397002"/>
                </a:lnTo>
                <a:lnTo>
                  <a:pt x="357950" y="460439"/>
                </a:lnTo>
                <a:close/>
                <a:moveTo>
                  <a:pt x="242887" y="249555"/>
                </a:moveTo>
                <a:cubicBezTo>
                  <a:pt x="207159" y="249660"/>
                  <a:pt x="178222" y="278597"/>
                  <a:pt x="178117" y="314325"/>
                </a:cubicBezTo>
                <a:lnTo>
                  <a:pt x="178117" y="495300"/>
                </a:lnTo>
                <a:cubicBezTo>
                  <a:pt x="178222" y="531028"/>
                  <a:pt x="207159" y="559965"/>
                  <a:pt x="242887" y="560070"/>
                </a:cubicBezTo>
                <a:lnTo>
                  <a:pt x="566737" y="560070"/>
                </a:lnTo>
                <a:cubicBezTo>
                  <a:pt x="602465" y="559965"/>
                  <a:pt x="631402" y="531028"/>
                  <a:pt x="631507" y="495300"/>
                </a:cubicBezTo>
                <a:lnTo>
                  <a:pt x="631507" y="314325"/>
                </a:lnTo>
                <a:cubicBezTo>
                  <a:pt x="631402" y="278597"/>
                  <a:pt x="602465" y="249660"/>
                  <a:pt x="566737" y="249555"/>
                </a:cubicBezTo>
                <a:close/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2487C176-18A9-4BB0-BD80-DEC34233A800}"/>
              </a:ext>
            </a:extLst>
          </p:cNvPr>
          <p:cNvSpPr>
            <a:spLocks noChangeAspect="1"/>
          </p:cNvSpPr>
          <p:nvPr/>
        </p:nvSpPr>
        <p:spPr>
          <a:xfrm>
            <a:off x="8298996" y="4501548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495146 w 809625"/>
              <a:gd name="connsiteY5" fmla="*/ 220645 h 809625"/>
              <a:gd name="connsiteX6" fmla="*/ 428527 w 809625"/>
              <a:gd name="connsiteY6" fmla="*/ 245841 h 809625"/>
              <a:gd name="connsiteX7" fmla="*/ 399192 w 809625"/>
              <a:gd name="connsiteY7" fmla="*/ 313563 h 809625"/>
              <a:gd name="connsiteX8" fmla="*/ 401573 w 809625"/>
              <a:gd name="connsiteY8" fmla="*/ 334803 h 809625"/>
              <a:gd name="connsiteX9" fmla="*/ 209549 w 809625"/>
              <a:gd name="connsiteY9" fmla="*/ 238125 h 809625"/>
              <a:gd name="connsiteX10" fmla="*/ 238124 w 809625"/>
              <a:gd name="connsiteY10" fmla="*/ 361950 h 809625"/>
              <a:gd name="connsiteX11" fmla="*/ 195928 w 809625"/>
              <a:gd name="connsiteY11" fmla="*/ 350329 h 809625"/>
              <a:gd name="connsiteX12" fmla="*/ 195929 w 809625"/>
              <a:gd name="connsiteY12" fmla="*/ 351567 h 809625"/>
              <a:gd name="connsiteX13" fmla="*/ 270605 w 809625"/>
              <a:gd name="connsiteY13" fmla="*/ 442722 h 809625"/>
              <a:gd name="connsiteX14" fmla="*/ 228599 w 809625"/>
              <a:gd name="connsiteY14" fmla="*/ 444341 h 809625"/>
              <a:gd name="connsiteX15" fmla="*/ 315467 w 809625"/>
              <a:gd name="connsiteY15" fmla="*/ 508920 h 809625"/>
              <a:gd name="connsiteX16" fmla="*/ 200024 w 809625"/>
              <a:gd name="connsiteY16" fmla="*/ 548544 h 809625"/>
              <a:gd name="connsiteX17" fmla="*/ 177831 w 809625"/>
              <a:gd name="connsiteY17" fmla="*/ 547211 h 809625"/>
              <a:gd name="connsiteX18" fmla="*/ 320706 w 809625"/>
              <a:gd name="connsiteY18" fmla="*/ 589026 h 809625"/>
              <a:gd name="connsiteX19" fmla="*/ 585406 w 809625"/>
              <a:gd name="connsiteY19" fmla="*/ 324421 h 809625"/>
              <a:gd name="connsiteX20" fmla="*/ 585406 w 809625"/>
              <a:gd name="connsiteY20" fmla="*/ 312324 h 809625"/>
              <a:gd name="connsiteX21" fmla="*/ 631507 w 809625"/>
              <a:gd name="connsiteY21" fmla="*/ 264223 h 809625"/>
              <a:gd name="connsiteX22" fmla="*/ 578072 w 809625"/>
              <a:gd name="connsiteY22" fmla="*/ 278892 h 809625"/>
              <a:gd name="connsiteX23" fmla="*/ 619124 w 809625"/>
              <a:gd name="connsiteY23" fmla="*/ 227361 h 809625"/>
              <a:gd name="connsiteX24" fmla="*/ 560069 w 809625"/>
              <a:gd name="connsiteY24" fmla="*/ 249936 h 809625"/>
              <a:gd name="connsiteX25" fmla="*/ 495146 w 809625"/>
              <a:gd name="connsiteY25" fmla="*/ 220645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495146" y="220645"/>
                </a:moveTo>
                <a:cubicBezTo>
                  <a:pt x="471342" y="219904"/>
                  <a:pt x="447255" y="228245"/>
                  <a:pt x="428527" y="245841"/>
                </a:cubicBezTo>
                <a:cubicBezTo>
                  <a:pt x="409833" y="263407"/>
                  <a:pt x="399219" y="287911"/>
                  <a:pt x="399192" y="313563"/>
                </a:cubicBezTo>
                <a:cubicBezTo>
                  <a:pt x="399204" y="320709"/>
                  <a:pt x="400003" y="327832"/>
                  <a:pt x="401573" y="334803"/>
                </a:cubicBezTo>
                <a:cubicBezTo>
                  <a:pt x="326768" y="331204"/>
                  <a:pt x="256991" y="296073"/>
                  <a:pt x="209549" y="238125"/>
                </a:cubicBezTo>
                <a:cubicBezTo>
                  <a:pt x="185023" y="280491"/>
                  <a:pt x="197513" y="334615"/>
                  <a:pt x="238124" y="361950"/>
                </a:cubicBezTo>
                <a:cubicBezTo>
                  <a:pt x="223336" y="361482"/>
                  <a:pt x="208871" y="357499"/>
                  <a:pt x="195928" y="350329"/>
                </a:cubicBezTo>
                <a:lnTo>
                  <a:pt x="195929" y="351567"/>
                </a:lnTo>
                <a:cubicBezTo>
                  <a:pt x="195962" y="395849"/>
                  <a:pt x="227195" y="433974"/>
                  <a:pt x="270605" y="442722"/>
                </a:cubicBezTo>
                <a:cubicBezTo>
                  <a:pt x="256901" y="446399"/>
                  <a:pt x="242546" y="446952"/>
                  <a:pt x="228599" y="444341"/>
                </a:cubicBezTo>
                <a:cubicBezTo>
                  <a:pt x="240745" y="482243"/>
                  <a:pt x="275672" y="508209"/>
                  <a:pt x="315467" y="508920"/>
                </a:cubicBezTo>
                <a:cubicBezTo>
                  <a:pt x="282513" y="534690"/>
                  <a:pt x="241858" y="548644"/>
                  <a:pt x="200024" y="548544"/>
                </a:cubicBezTo>
                <a:cubicBezTo>
                  <a:pt x="192607" y="548536"/>
                  <a:pt x="185196" y="548091"/>
                  <a:pt x="177831" y="547211"/>
                </a:cubicBezTo>
                <a:cubicBezTo>
                  <a:pt x="220421" y="574649"/>
                  <a:pt x="270043" y="589172"/>
                  <a:pt x="320706" y="589026"/>
                </a:cubicBezTo>
                <a:cubicBezTo>
                  <a:pt x="492156" y="589026"/>
                  <a:pt x="585406" y="447294"/>
                  <a:pt x="585406" y="324421"/>
                </a:cubicBezTo>
                <a:cubicBezTo>
                  <a:pt x="585406" y="320325"/>
                  <a:pt x="585406" y="316325"/>
                  <a:pt x="585406" y="312324"/>
                </a:cubicBezTo>
                <a:cubicBezTo>
                  <a:pt x="603503" y="299151"/>
                  <a:pt x="619113" y="282863"/>
                  <a:pt x="631507" y="264223"/>
                </a:cubicBezTo>
                <a:cubicBezTo>
                  <a:pt x="614513" y="271713"/>
                  <a:pt x="596508" y="276656"/>
                  <a:pt x="578072" y="278892"/>
                </a:cubicBezTo>
                <a:cubicBezTo>
                  <a:pt x="597588" y="267302"/>
                  <a:pt x="612190" y="248974"/>
                  <a:pt x="619124" y="227361"/>
                </a:cubicBezTo>
                <a:cubicBezTo>
                  <a:pt x="600877" y="238213"/>
                  <a:pt x="580902" y="245848"/>
                  <a:pt x="560069" y="249936"/>
                </a:cubicBezTo>
                <a:cubicBezTo>
                  <a:pt x="542473" y="231209"/>
                  <a:pt x="518951" y="221387"/>
                  <a:pt x="495146" y="22064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41393088-2A2D-4F19-A536-4C5B46718A69}"/>
              </a:ext>
            </a:extLst>
          </p:cNvPr>
          <p:cNvSpPr>
            <a:spLocks noChangeAspect="1"/>
          </p:cNvSpPr>
          <p:nvPr userDrawn="1"/>
        </p:nvSpPr>
        <p:spPr>
          <a:xfrm>
            <a:off x="8681340" y="4501548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230981 w 809625"/>
              <a:gd name="connsiteY5" fmla="*/ 177069 h 809625"/>
              <a:gd name="connsiteX6" fmla="*/ 176498 w 809625"/>
              <a:gd name="connsiteY6" fmla="*/ 231552 h 809625"/>
              <a:gd name="connsiteX7" fmla="*/ 230981 w 809625"/>
              <a:gd name="connsiteY7" fmla="*/ 286035 h 809625"/>
              <a:gd name="connsiteX8" fmla="*/ 285464 w 809625"/>
              <a:gd name="connsiteY8" fmla="*/ 231552 h 809625"/>
              <a:gd name="connsiteX9" fmla="*/ 230981 w 809625"/>
              <a:gd name="connsiteY9" fmla="*/ 177069 h 809625"/>
              <a:gd name="connsiteX10" fmla="*/ 517493 w 809625"/>
              <a:gd name="connsiteY10" fmla="*/ 319849 h 809625"/>
              <a:gd name="connsiteX11" fmla="*/ 428625 w 809625"/>
              <a:gd name="connsiteY11" fmla="*/ 368617 h 809625"/>
              <a:gd name="connsiteX12" fmla="*/ 426910 w 809625"/>
              <a:gd name="connsiteY12" fmla="*/ 368617 h 809625"/>
              <a:gd name="connsiteX13" fmla="*/ 426910 w 809625"/>
              <a:gd name="connsiteY13" fmla="*/ 327278 h 809625"/>
              <a:gd name="connsiteX14" fmla="*/ 336899 w 809625"/>
              <a:gd name="connsiteY14" fmla="*/ 327278 h 809625"/>
              <a:gd name="connsiteX15" fmla="*/ 336899 w 809625"/>
              <a:gd name="connsiteY15" fmla="*/ 629602 h 809625"/>
              <a:gd name="connsiteX16" fmla="*/ 430720 w 809625"/>
              <a:gd name="connsiteY16" fmla="*/ 629602 h 809625"/>
              <a:gd name="connsiteX17" fmla="*/ 430720 w 809625"/>
              <a:gd name="connsiteY17" fmla="*/ 480059 h 809625"/>
              <a:gd name="connsiteX18" fmla="*/ 487108 w 809625"/>
              <a:gd name="connsiteY18" fmla="*/ 402430 h 809625"/>
              <a:gd name="connsiteX19" fmla="*/ 535876 w 809625"/>
              <a:gd name="connsiteY19" fmla="*/ 482631 h 809625"/>
              <a:gd name="connsiteX20" fmla="*/ 535876 w 809625"/>
              <a:gd name="connsiteY20" fmla="*/ 629602 h 809625"/>
              <a:gd name="connsiteX21" fmla="*/ 630174 w 809625"/>
              <a:gd name="connsiteY21" fmla="*/ 629602 h 809625"/>
              <a:gd name="connsiteX22" fmla="*/ 630174 w 809625"/>
              <a:gd name="connsiteY22" fmla="*/ 463771 h 809625"/>
              <a:gd name="connsiteX23" fmla="*/ 517493 w 809625"/>
              <a:gd name="connsiteY23" fmla="*/ 319849 h 809625"/>
              <a:gd name="connsiteX24" fmla="*/ 183927 w 809625"/>
              <a:gd name="connsiteY24" fmla="*/ 327278 h 809625"/>
              <a:gd name="connsiteX25" fmla="*/ 183927 w 809625"/>
              <a:gd name="connsiteY25" fmla="*/ 629602 h 809625"/>
              <a:gd name="connsiteX26" fmla="*/ 277939 w 809625"/>
              <a:gd name="connsiteY26" fmla="*/ 629602 h 809625"/>
              <a:gd name="connsiteX27" fmla="*/ 277939 w 809625"/>
              <a:gd name="connsiteY27" fmla="*/ 327278 h 809625"/>
              <a:gd name="connsiteX28" fmla="*/ 183927 w 809625"/>
              <a:gd name="connsiteY28" fmla="*/ 327278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230981" y="177069"/>
                </a:moveTo>
                <a:cubicBezTo>
                  <a:pt x="200891" y="177069"/>
                  <a:pt x="176498" y="201462"/>
                  <a:pt x="176498" y="231552"/>
                </a:cubicBezTo>
                <a:cubicBezTo>
                  <a:pt x="176498" y="261642"/>
                  <a:pt x="200891" y="286035"/>
                  <a:pt x="230981" y="286035"/>
                </a:cubicBezTo>
                <a:cubicBezTo>
                  <a:pt x="261071" y="286035"/>
                  <a:pt x="285464" y="261642"/>
                  <a:pt x="285464" y="231552"/>
                </a:cubicBezTo>
                <a:cubicBezTo>
                  <a:pt x="285464" y="201462"/>
                  <a:pt x="261071" y="177069"/>
                  <a:pt x="230981" y="177069"/>
                </a:cubicBezTo>
                <a:close/>
                <a:moveTo>
                  <a:pt x="517493" y="319849"/>
                </a:moveTo>
                <a:cubicBezTo>
                  <a:pt x="481146" y="318484"/>
                  <a:pt x="446996" y="337225"/>
                  <a:pt x="428625" y="368617"/>
                </a:cubicBezTo>
                <a:lnTo>
                  <a:pt x="426910" y="368617"/>
                </a:lnTo>
                <a:lnTo>
                  <a:pt x="426910" y="327278"/>
                </a:lnTo>
                <a:lnTo>
                  <a:pt x="336899" y="327278"/>
                </a:lnTo>
                <a:lnTo>
                  <a:pt x="336899" y="629602"/>
                </a:lnTo>
                <a:lnTo>
                  <a:pt x="430720" y="629602"/>
                </a:lnTo>
                <a:lnTo>
                  <a:pt x="430720" y="480059"/>
                </a:lnTo>
                <a:cubicBezTo>
                  <a:pt x="430720" y="440530"/>
                  <a:pt x="438912" y="402430"/>
                  <a:pt x="487108" y="402430"/>
                </a:cubicBezTo>
                <a:cubicBezTo>
                  <a:pt x="535305" y="402430"/>
                  <a:pt x="535876" y="447579"/>
                  <a:pt x="535876" y="482631"/>
                </a:cubicBezTo>
                <a:lnTo>
                  <a:pt x="535876" y="629602"/>
                </a:lnTo>
                <a:lnTo>
                  <a:pt x="630174" y="629602"/>
                </a:lnTo>
                <a:lnTo>
                  <a:pt x="630174" y="463771"/>
                </a:lnTo>
                <a:cubicBezTo>
                  <a:pt x="630174" y="382428"/>
                  <a:pt x="612743" y="319849"/>
                  <a:pt x="517493" y="319849"/>
                </a:cubicBezTo>
                <a:close/>
                <a:moveTo>
                  <a:pt x="183927" y="327278"/>
                </a:moveTo>
                <a:lnTo>
                  <a:pt x="183927" y="629602"/>
                </a:lnTo>
                <a:lnTo>
                  <a:pt x="277939" y="629602"/>
                </a:lnTo>
                <a:lnTo>
                  <a:pt x="277939" y="327278"/>
                </a:lnTo>
                <a:lnTo>
                  <a:pt x="183927" y="32727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F1F78FC3-536A-4C34-B2A3-95085DF38A8D}"/>
              </a:ext>
            </a:extLst>
          </p:cNvPr>
          <p:cNvSpPr>
            <a:spLocks noChangeAspect="1"/>
          </p:cNvSpPr>
          <p:nvPr userDrawn="1"/>
        </p:nvSpPr>
        <p:spPr>
          <a:xfrm>
            <a:off x="9063685" y="4501548"/>
            <a:ext cx="242382" cy="242382"/>
          </a:xfrm>
          <a:custGeom>
            <a:avLst/>
            <a:gdLst>
              <a:gd name="connsiteX0" fmla="*/ 404812 w 809625"/>
              <a:gd name="connsiteY0" fmla="*/ 288417 h 809625"/>
              <a:gd name="connsiteX1" fmla="*/ 288417 w 809625"/>
              <a:gd name="connsiteY1" fmla="*/ 404812 h 809625"/>
              <a:gd name="connsiteX2" fmla="*/ 404812 w 809625"/>
              <a:gd name="connsiteY2" fmla="*/ 521208 h 809625"/>
              <a:gd name="connsiteX3" fmla="*/ 521208 w 809625"/>
              <a:gd name="connsiteY3" fmla="*/ 404812 h 809625"/>
              <a:gd name="connsiteX4" fmla="*/ 404812 w 809625"/>
              <a:gd name="connsiteY4" fmla="*/ 288417 h 809625"/>
              <a:gd name="connsiteX5" fmla="*/ 525780 w 809625"/>
              <a:gd name="connsiteY5" fmla="*/ 256603 h 809625"/>
              <a:gd name="connsiteX6" fmla="*/ 498538 w 809625"/>
              <a:gd name="connsiteY6" fmla="*/ 283844 h 809625"/>
              <a:gd name="connsiteX7" fmla="*/ 525780 w 809625"/>
              <a:gd name="connsiteY7" fmla="*/ 311086 h 809625"/>
              <a:gd name="connsiteX8" fmla="*/ 553021 w 809625"/>
              <a:gd name="connsiteY8" fmla="*/ 283844 h 809625"/>
              <a:gd name="connsiteX9" fmla="*/ 525780 w 809625"/>
              <a:gd name="connsiteY9" fmla="*/ 256603 h 809625"/>
              <a:gd name="connsiteX10" fmla="*/ 404812 w 809625"/>
              <a:gd name="connsiteY10" fmla="*/ 219075 h 809625"/>
              <a:gd name="connsiteX11" fmla="*/ 496443 w 809625"/>
              <a:gd name="connsiteY11" fmla="*/ 220408 h 809625"/>
              <a:gd name="connsiteX12" fmla="*/ 538543 w 809625"/>
              <a:gd name="connsiteY12" fmla="*/ 228218 h 809625"/>
              <a:gd name="connsiteX13" fmla="*/ 581501 w 809625"/>
              <a:gd name="connsiteY13" fmla="*/ 271176 h 809625"/>
              <a:gd name="connsiteX14" fmla="*/ 589311 w 809625"/>
              <a:gd name="connsiteY14" fmla="*/ 313277 h 809625"/>
              <a:gd name="connsiteX15" fmla="*/ 590645 w 809625"/>
              <a:gd name="connsiteY15" fmla="*/ 404907 h 809625"/>
              <a:gd name="connsiteX16" fmla="*/ 589311 w 809625"/>
              <a:gd name="connsiteY16" fmla="*/ 496538 h 809625"/>
              <a:gd name="connsiteX17" fmla="*/ 581501 w 809625"/>
              <a:gd name="connsiteY17" fmla="*/ 538638 h 809625"/>
              <a:gd name="connsiteX18" fmla="*/ 538543 w 809625"/>
              <a:gd name="connsiteY18" fmla="*/ 581596 h 809625"/>
              <a:gd name="connsiteX19" fmla="*/ 496443 w 809625"/>
              <a:gd name="connsiteY19" fmla="*/ 589406 h 809625"/>
              <a:gd name="connsiteX20" fmla="*/ 404812 w 809625"/>
              <a:gd name="connsiteY20" fmla="*/ 590740 h 809625"/>
              <a:gd name="connsiteX21" fmla="*/ 313182 w 809625"/>
              <a:gd name="connsiteY21" fmla="*/ 589407 h 809625"/>
              <a:gd name="connsiteX22" fmla="*/ 271081 w 809625"/>
              <a:gd name="connsiteY22" fmla="*/ 581596 h 809625"/>
              <a:gd name="connsiteX23" fmla="*/ 228600 w 809625"/>
              <a:gd name="connsiteY23" fmla="*/ 538543 h 809625"/>
              <a:gd name="connsiteX24" fmla="*/ 220789 w 809625"/>
              <a:gd name="connsiteY24" fmla="*/ 496443 h 809625"/>
              <a:gd name="connsiteX25" fmla="*/ 219075 w 809625"/>
              <a:gd name="connsiteY25" fmla="*/ 404812 h 809625"/>
              <a:gd name="connsiteX26" fmla="*/ 220408 w 809625"/>
              <a:gd name="connsiteY26" fmla="*/ 313182 h 809625"/>
              <a:gd name="connsiteX27" fmla="*/ 228600 w 809625"/>
              <a:gd name="connsiteY27" fmla="*/ 271081 h 809625"/>
              <a:gd name="connsiteX28" fmla="*/ 271081 w 809625"/>
              <a:gd name="connsiteY28" fmla="*/ 228600 h 809625"/>
              <a:gd name="connsiteX29" fmla="*/ 313181 w 809625"/>
              <a:gd name="connsiteY29" fmla="*/ 220789 h 809625"/>
              <a:gd name="connsiteX30" fmla="*/ 404812 w 809625"/>
              <a:gd name="connsiteY30" fmla="*/ 219075 h 809625"/>
              <a:gd name="connsiteX31" fmla="*/ 405669 w 809625"/>
              <a:gd name="connsiteY31" fmla="*/ 177736 h 809625"/>
              <a:gd name="connsiteX32" fmla="*/ 404812 w 809625"/>
              <a:gd name="connsiteY32" fmla="*/ 178212 h 809625"/>
              <a:gd name="connsiteX33" fmla="*/ 311372 w 809625"/>
              <a:gd name="connsiteY33" fmla="*/ 179546 h 809625"/>
              <a:gd name="connsiteX34" fmla="*/ 256317 w 809625"/>
              <a:gd name="connsiteY34" fmla="*/ 190500 h 809625"/>
              <a:gd name="connsiteX35" fmla="*/ 189642 w 809625"/>
              <a:gd name="connsiteY35" fmla="*/ 257175 h 809625"/>
              <a:gd name="connsiteX36" fmla="*/ 179069 w 809625"/>
              <a:gd name="connsiteY36" fmla="*/ 312229 h 809625"/>
              <a:gd name="connsiteX37" fmla="*/ 177736 w 809625"/>
              <a:gd name="connsiteY37" fmla="*/ 405669 h 809625"/>
              <a:gd name="connsiteX38" fmla="*/ 179069 w 809625"/>
              <a:gd name="connsiteY38" fmla="*/ 499110 h 809625"/>
              <a:gd name="connsiteX39" fmla="*/ 190500 w 809625"/>
              <a:gd name="connsiteY39" fmla="*/ 553307 h 809625"/>
              <a:gd name="connsiteX40" fmla="*/ 257175 w 809625"/>
              <a:gd name="connsiteY40" fmla="*/ 619982 h 809625"/>
              <a:gd name="connsiteX41" fmla="*/ 312229 w 809625"/>
              <a:gd name="connsiteY41" fmla="*/ 630554 h 809625"/>
              <a:gd name="connsiteX42" fmla="*/ 405669 w 809625"/>
              <a:gd name="connsiteY42" fmla="*/ 631888 h 809625"/>
              <a:gd name="connsiteX43" fmla="*/ 499110 w 809625"/>
              <a:gd name="connsiteY43" fmla="*/ 630554 h 809625"/>
              <a:gd name="connsiteX44" fmla="*/ 554164 w 809625"/>
              <a:gd name="connsiteY44" fmla="*/ 619982 h 809625"/>
              <a:gd name="connsiteX45" fmla="*/ 620839 w 809625"/>
              <a:gd name="connsiteY45" fmla="*/ 553307 h 809625"/>
              <a:gd name="connsiteX46" fmla="*/ 631412 w 809625"/>
              <a:gd name="connsiteY46" fmla="*/ 498252 h 809625"/>
              <a:gd name="connsiteX47" fmla="*/ 632745 w 809625"/>
              <a:gd name="connsiteY47" fmla="*/ 404812 h 809625"/>
              <a:gd name="connsiteX48" fmla="*/ 631412 w 809625"/>
              <a:gd name="connsiteY48" fmla="*/ 311372 h 809625"/>
              <a:gd name="connsiteX49" fmla="*/ 620839 w 809625"/>
              <a:gd name="connsiteY49" fmla="*/ 256317 h 809625"/>
              <a:gd name="connsiteX50" fmla="*/ 554164 w 809625"/>
              <a:gd name="connsiteY50" fmla="*/ 189642 h 809625"/>
              <a:gd name="connsiteX51" fmla="*/ 499110 w 809625"/>
              <a:gd name="connsiteY51" fmla="*/ 179069 h 809625"/>
              <a:gd name="connsiteX52" fmla="*/ 405669 w 809625"/>
              <a:gd name="connsiteY52" fmla="*/ 177736 h 809625"/>
              <a:gd name="connsiteX53" fmla="*/ 404813 w 809625"/>
              <a:gd name="connsiteY53" fmla="*/ 0 h 809625"/>
              <a:gd name="connsiteX54" fmla="*/ 809625 w 809625"/>
              <a:gd name="connsiteY54" fmla="*/ 404813 h 809625"/>
              <a:gd name="connsiteX55" fmla="*/ 404813 w 809625"/>
              <a:gd name="connsiteY55" fmla="*/ 809625 h 809625"/>
              <a:gd name="connsiteX56" fmla="*/ 0 w 809625"/>
              <a:gd name="connsiteY56" fmla="*/ 404813 h 809625"/>
              <a:gd name="connsiteX57" fmla="*/ 404813 w 809625"/>
              <a:gd name="connsiteY57" fmla="*/ 0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809625" h="809625">
                <a:moveTo>
                  <a:pt x="404812" y="288417"/>
                </a:moveTo>
                <a:cubicBezTo>
                  <a:pt x="340529" y="288417"/>
                  <a:pt x="288417" y="340529"/>
                  <a:pt x="288417" y="404812"/>
                </a:cubicBezTo>
                <a:cubicBezTo>
                  <a:pt x="288417" y="469096"/>
                  <a:pt x="340529" y="521208"/>
                  <a:pt x="404812" y="521208"/>
                </a:cubicBezTo>
                <a:cubicBezTo>
                  <a:pt x="469096" y="521208"/>
                  <a:pt x="521208" y="469096"/>
                  <a:pt x="521208" y="404812"/>
                </a:cubicBezTo>
                <a:cubicBezTo>
                  <a:pt x="521208" y="340529"/>
                  <a:pt x="469096" y="288417"/>
                  <a:pt x="404812" y="288417"/>
                </a:cubicBezTo>
                <a:close/>
                <a:moveTo>
                  <a:pt x="525780" y="256603"/>
                </a:moveTo>
                <a:cubicBezTo>
                  <a:pt x="510734" y="256603"/>
                  <a:pt x="498538" y="268799"/>
                  <a:pt x="498538" y="283844"/>
                </a:cubicBezTo>
                <a:cubicBezTo>
                  <a:pt x="498538" y="298890"/>
                  <a:pt x="510734" y="311086"/>
                  <a:pt x="525780" y="311086"/>
                </a:cubicBezTo>
                <a:cubicBezTo>
                  <a:pt x="540825" y="311086"/>
                  <a:pt x="553021" y="298890"/>
                  <a:pt x="553021" y="283844"/>
                </a:cubicBezTo>
                <a:cubicBezTo>
                  <a:pt x="553021" y="268799"/>
                  <a:pt x="540825" y="256603"/>
                  <a:pt x="525780" y="256603"/>
                </a:cubicBezTo>
                <a:close/>
                <a:moveTo>
                  <a:pt x="404812" y="219075"/>
                </a:moveTo>
                <a:cubicBezTo>
                  <a:pt x="465296" y="219075"/>
                  <a:pt x="472535" y="219075"/>
                  <a:pt x="496443" y="220408"/>
                </a:cubicBezTo>
                <a:cubicBezTo>
                  <a:pt x="510824" y="220533"/>
                  <a:pt x="525073" y="223177"/>
                  <a:pt x="538543" y="228218"/>
                </a:cubicBezTo>
                <a:cubicBezTo>
                  <a:pt x="558257" y="235874"/>
                  <a:pt x="573845" y="251463"/>
                  <a:pt x="581501" y="271176"/>
                </a:cubicBezTo>
                <a:cubicBezTo>
                  <a:pt x="586542" y="284646"/>
                  <a:pt x="589186" y="298895"/>
                  <a:pt x="589311" y="313277"/>
                </a:cubicBezTo>
                <a:cubicBezTo>
                  <a:pt x="590454" y="337185"/>
                  <a:pt x="590645" y="344424"/>
                  <a:pt x="590645" y="404907"/>
                </a:cubicBezTo>
                <a:cubicBezTo>
                  <a:pt x="590645" y="465391"/>
                  <a:pt x="590645" y="472630"/>
                  <a:pt x="589311" y="496538"/>
                </a:cubicBezTo>
                <a:cubicBezTo>
                  <a:pt x="589186" y="510920"/>
                  <a:pt x="586543" y="525168"/>
                  <a:pt x="581501" y="538638"/>
                </a:cubicBezTo>
                <a:cubicBezTo>
                  <a:pt x="573845" y="558352"/>
                  <a:pt x="558257" y="573940"/>
                  <a:pt x="538543" y="581596"/>
                </a:cubicBezTo>
                <a:cubicBezTo>
                  <a:pt x="525073" y="586638"/>
                  <a:pt x="510824" y="589281"/>
                  <a:pt x="496443" y="589406"/>
                </a:cubicBezTo>
                <a:cubicBezTo>
                  <a:pt x="472535" y="590550"/>
                  <a:pt x="465391" y="590740"/>
                  <a:pt x="404812" y="590740"/>
                </a:cubicBezTo>
                <a:cubicBezTo>
                  <a:pt x="344233" y="590740"/>
                  <a:pt x="337089" y="590740"/>
                  <a:pt x="313182" y="589407"/>
                </a:cubicBezTo>
                <a:cubicBezTo>
                  <a:pt x="298800" y="589281"/>
                  <a:pt x="284551" y="586638"/>
                  <a:pt x="271081" y="581596"/>
                </a:cubicBezTo>
                <a:cubicBezTo>
                  <a:pt x="251529" y="573808"/>
                  <a:pt x="236125" y="558197"/>
                  <a:pt x="228600" y="538543"/>
                </a:cubicBezTo>
                <a:cubicBezTo>
                  <a:pt x="223558" y="525073"/>
                  <a:pt x="220914" y="510824"/>
                  <a:pt x="220789" y="496443"/>
                </a:cubicBezTo>
                <a:cubicBezTo>
                  <a:pt x="219075" y="472535"/>
                  <a:pt x="219075" y="465296"/>
                  <a:pt x="219075" y="404812"/>
                </a:cubicBezTo>
                <a:cubicBezTo>
                  <a:pt x="219075" y="344328"/>
                  <a:pt x="219075" y="337089"/>
                  <a:pt x="220408" y="313182"/>
                </a:cubicBezTo>
                <a:cubicBezTo>
                  <a:pt x="220655" y="298777"/>
                  <a:pt x="223428" y="284527"/>
                  <a:pt x="228600" y="271081"/>
                </a:cubicBezTo>
                <a:cubicBezTo>
                  <a:pt x="236258" y="251643"/>
                  <a:pt x="251643" y="236258"/>
                  <a:pt x="271081" y="228600"/>
                </a:cubicBezTo>
                <a:cubicBezTo>
                  <a:pt x="284551" y="223558"/>
                  <a:pt x="298800" y="220914"/>
                  <a:pt x="313181" y="220789"/>
                </a:cubicBezTo>
                <a:cubicBezTo>
                  <a:pt x="337089" y="219075"/>
                  <a:pt x="344328" y="219075"/>
                  <a:pt x="404812" y="219075"/>
                </a:cubicBezTo>
                <a:close/>
                <a:moveTo>
                  <a:pt x="405669" y="177736"/>
                </a:moveTo>
                <a:lnTo>
                  <a:pt x="404812" y="178212"/>
                </a:lnTo>
                <a:cubicBezTo>
                  <a:pt x="343281" y="178212"/>
                  <a:pt x="335565" y="178212"/>
                  <a:pt x="311372" y="179546"/>
                </a:cubicBezTo>
                <a:cubicBezTo>
                  <a:pt x="292533" y="180057"/>
                  <a:pt x="273917" y="183760"/>
                  <a:pt x="256317" y="190500"/>
                </a:cubicBezTo>
                <a:cubicBezTo>
                  <a:pt x="225602" y="202200"/>
                  <a:pt x="201343" y="226459"/>
                  <a:pt x="189642" y="257175"/>
                </a:cubicBezTo>
                <a:cubicBezTo>
                  <a:pt x="183033" y="274797"/>
                  <a:pt x="179458" y="293412"/>
                  <a:pt x="179069" y="312229"/>
                </a:cubicBezTo>
                <a:cubicBezTo>
                  <a:pt x="178022" y="336423"/>
                  <a:pt x="177736" y="344138"/>
                  <a:pt x="177736" y="405669"/>
                </a:cubicBezTo>
                <a:cubicBezTo>
                  <a:pt x="177736" y="467201"/>
                  <a:pt x="177736" y="474916"/>
                  <a:pt x="179069" y="499110"/>
                </a:cubicBezTo>
                <a:cubicBezTo>
                  <a:pt x="179828" y="517687"/>
                  <a:pt x="183692" y="536005"/>
                  <a:pt x="190500" y="553307"/>
                </a:cubicBezTo>
                <a:cubicBezTo>
                  <a:pt x="202200" y="584022"/>
                  <a:pt x="226459" y="608281"/>
                  <a:pt x="257175" y="619982"/>
                </a:cubicBezTo>
                <a:cubicBezTo>
                  <a:pt x="274797" y="626591"/>
                  <a:pt x="293412" y="630165"/>
                  <a:pt x="312229" y="630554"/>
                </a:cubicBezTo>
                <a:cubicBezTo>
                  <a:pt x="336423" y="631602"/>
                  <a:pt x="344138" y="631888"/>
                  <a:pt x="405669" y="631888"/>
                </a:cubicBezTo>
                <a:cubicBezTo>
                  <a:pt x="467201" y="631888"/>
                  <a:pt x="474916" y="631888"/>
                  <a:pt x="499110" y="630554"/>
                </a:cubicBezTo>
                <a:cubicBezTo>
                  <a:pt x="517927" y="630165"/>
                  <a:pt x="536542" y="626591"/>
                  <a:pt x="554164" y="619982"/>
                </a:cubicBezTo>
                <a:cubicBezTo>
                  <a:pt x="584880" y="608281"/>
                  <a:pt x="609138" y="584022"/>
                  <a:pt x="620839" y="553307"/>
                </a:cubicBezTo>
                <a:cubicBezTo>
                  <a:pt x="627448" y="535684"/>
                  <a:pt x="631023" y="517069"/>
                  <a:pt x="631412" y="498252"/>
                </a:cubicBezTo>
                <a:cubicBezTo>
                  <a:pt x="632460" y="474059"/>
                  <a:pt x="632745" y="466344"/>
                  <a:pt x="632745" y="404812"/>
                </a:cubicBezTo>
                <a:cubicBezTo>
                  <a:pt x="632745" y="343281"/>
                  <a:pt x="632745" y="335565"/>
                  <a:pt x="631412" y="311372"/>
                </a:cubicBezTo>
                <a:cubicBezTo>
                  <a:pt x="631023" y="292555"/>
                  <a:pt x="627448" y="273940"/>
                  <a:pt x="620839" y="256317"/>
                </a:cubicBezTo>
                <a:cubicBezTo>
                  <a:pt x="609138" y="225602"/>
                  <a:pt x="584880" y="201343"/>
                  <a:pt x="554164" y="189642"/>
                </a:cubicBezTo>
                <a:cubicBezTo>
                  <a:pt x="536542" y="183033"/>
                  <a:pt x="517927" y="179458"/>
                  <a:pt x="499110" y="179069"/>
                </a:cubicBezTo>
                <a:cubicBezTo>
                  <a:pt x="474916" y="178022"/>
                  <a:pt x="467201" y="177736"/>
                  <a:pt x="405669" y="177736"/>
                </a:cubicBezTo>
                <a:close/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37645F6A-EDD9-42D2-A01C-F8414798D57C}"/>
              </a:ext>
            </a:extLst>
          </p:cNvPr>
          <p:cNvSpPr>
            <a:spLocks noChangeAspect="1"/>
          </p:cNvSpPr>
          <p:nvPr/>
        </p:nvSpPr>
        <p:spPr>
          <a:xfrm>
            <a:off x="9446029" y="4501548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207835 w 809625"/>
              <a:gd name="connsiteY5" fmla="*/ 183451 h 809625"/>
              <a:gd name="connsiteX6" fmla="*/ 183451 w 809625"/>
              <a:gd name="connsiteY6" fmla="*/ 207835 h 809625"/>
              <a:gd name="connsiteX7" fmla="*/ 183451 w 809625"/>
              <a:gd name="connsiteY7" fmla="*/ 601789 h 809625"/>
              <a:gd name="connsiteX8" fmla="*/ 207835 w 809625"/>
              <a:gd name="connsiteY8" fmla="*/ 626173 h 809625"/>
              <a:gd name="connsiteX9" fmla="*/ 419957 w 809625"/>
              <a:gd name="connsiteY9" fmla="*/ 626173 h 809625"/>
              <a:gd name="connsiteX10" fmla="*/ 419957 w 809625"/>
              <a:gd name="connsiteY10" fmla="*/ 454723 h 809625"/>
              <a:gd name="connsiteX11" fmla="*/ 361950 w 809625"/>
              <a:gd name="connsiteY11" fmla="*/ 454723 h 809625"/>
              <a:gd name="connsiteX12" fmla="*/ 361950 w 809625"/>
              <a:gd name="connsiteY12" fmla="*/ 388048 h 809625"/>
              <a:gd name="connsiteX13" fmla="*/ 419671 w 809625"/>
              <a:gd name="connsiteY13" fmla="*/ 388048 h 809625"/>
              <a:gd name="connsiteX14" fmla="*/ 419671 w 809625"/>
              <a:gd name="connsiteY14" fmla="*/ 338613 h 809625"/>
              <a:gd name="connsiteX15" fmla="*/ 505396 w 809625"/>
              <a:gd name="connsiteY15" fmla="*/ 250317 h 809625"/>
              <a:gd name="connsiteX16" fmla="*/ 556926 w 809625"/>
              <a:gd name="connsiteY16" fmla="*/ 252984 h 809625"/>
              <a:gd name="connsiteX17" fmla="*/ 556926 w 809625"/>
              <a:gd name="connsiteY17" fmla="*/ 312705 h 809625"/>
              <a:gd name="connsiteX18" fmla="*/ 522065 w 809625"/>
              <a:gd name="connsiteY18" fmla="*/ 312705 h 809625"/>
              <a:gd name="connsiteX19" fmla="*/ 488918 w 809625"/>
              <a:gd name="connsiteY19" fmla="*/ 345281 h 809625"/>
              <a:gd name="connsiteX20" fmla="*/ 488918 w 809625"/>
              <a:gd name="connsiteY20" fmla="*/ 387953 h 809625"/>
              <a:gd name="connsiteX21" fmla="*/ 555593 w 809625"/>
              <a:gd name="connsiteY21" fmla="*/ 387953 h 809625"/>
              <a:gd name="connsiteX22" fmla="*/ 546925 w 809625"/>
              <a:gd name="connsiteY22" fmla="*/ 454628 h 809625"/>
              <a:gd name="connsiteX23" fmla="*/ 489775 w 809625"/>
              <a:gd name="connsiteY23" fmla="*/ 454628 h 809625"/>
              <a:gd name="connsiteX24" fmla="*/ 489775 w 809625"/>
              <a:gd name="connsiteY24" fmla="*/ 626078 h 809625"/>
              <a:gd name="connsiteX25" fmla="*/ 601789 w 809625"/>
              <a:gd name="connsiteY25" fmla="*/ 626078 h 809625"/>
              <a:gd name="connsiteX26" fmla="*/ 626173 w 809625"/>
              <a:gd name="connsiteY26" fmla="*/ 601694 h 809625"/>
              <a:gd name="connsiteX27" fmla="*/ 626173 w 809625"/>
              <a:gd name="connsiteY27" fmla="*/ 207835 h 809625"/>
              <a:gd name="connsiteX28" fmla="*/ 601789 w 809625"/>
              <a:gd name="connsiteY28" fmla="*/ 183451 h 809625"/>
              <a:gd name="connsiteX29" fmla="*/ 207835 w 809625"/>
              <a:gd name="connsiteY29" fmla="*/ 183451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207835" y="183451"/>
                </a:moveTo>
                <a:cubicBezTo>
                  <a:pt x="194368" y="183451"/>
                  <a:pt x="183451" y="194368"/>
                  <a:pt x="183451" y="207835"/>
                </a:cubicBezTo>
                <a:lnTo>
                  <a:pt x="183451" y="601789"/>
                </a:lnTo>
                <a:cubicBezTo>
                  <a:pt x="183451" y="615256"/>
                  <a:pt x="194368" y="626173"/>
                  <a:pt x="207835" y="626173"/>
                </a:cubicBezTo>
                <a:lnTo>
                  <a:pt x="419957" y="626173"/>
                </a:lnTo>
                <a:lnTo>
                  <a:pt x="419957" y="454723"/>
                </a:lnTo>
                <a:lnTo>
                  <a:pt x="361950" y="454723"/>
                </a:lnTo>
                <a:lnTo>
                  <a:pt x="361950" y="388048"/>
                </a:lnTo>
                <a:lnTo>
                  <a:pt x="419671" y="388048"/>
                </a:lnTo>
                <a:lnTo>
                  <a:pt x="419671" y="338613"/>
                </a:lnTo>
                <a:cubicBezTo>
                  <a:pt x="419671" y="281463"/>
                  <a:pt x="454533" y="250317"/>
                  <a:pt x="505396" y="250317"/>
                </a:cubicBezTo>
                <a:cubicBezTo>
                  <a:pt x="522609" y="250238"/>
                  <a:pt x="539813" y="251128"/>
                  <a:pt x="556926" y="252984"/>
                </a:cubicBezTo>
                <a:lnTo>
                  <a:pt x="556926" y="312705"/>
                </a:lnTo>
                <a:lnTo>
                  <a:pt x="522065" y="312705"/>
                </a:lnTo>
                <a:cubicBezTo>
                  <a:pt x="494252" y="312705"/>
                  <a:pt x="488918" y="325945"/>
                  <a:pt x="488918" y="345281"/>
                </a:cubicBezTo>
                <a:lnTo>
                  <a:pt x="488918" y="387953"/>
                </a:lnTo>
                <a:lnTo>
                  <a:pt x="555593" y="387953"/>
                </a:lnTo>
                <a:lnTo>
                  <a:pt x="546925" y="454628"/>
                </a:lnTo>
                <a:lnTo>
                  <a:pt x="489775" y="454628"/>
                </a:lnTo>
                <a:lnTo>
                  <a:pt x="489775" y="626078"/>
                </a:lnTo>
                <a:lnTo>
                  <a:pt x="601789" y="626078"/>
                </a:lnTo>
                <a:cubicBezTo>
                  <a:pt x="615256" y="626078"/>
                  <a:pt x="626173" y="615161"/>
                  <a:pt x="626173" y="601694"/>
                </a:cubicBezTo>
                <a:lnTo>
                  <a:pt x="626173" y="207835"/>
                </a:lnTo>
                <a:cubicBezTo>
                  <a:pt x="626173" y="194368"/>
                  <a:pt x="615256" y="183451"/>
                  <a:pt x="601789" y="183451"/>
                </a:cubicBezTo>
                <a:lnTo>
                  <a:pt x="207835" y="183451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737EC4F3-8130-2F4D-B18F-7AF3E2C71869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7877158" y="2497253"/>
            <a:ext cx="1941914" cy="865381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" b="0" kern="1200" cap="none" baseline="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" b="1" kern="1200" cap="all" baseline="0">
                <a:noFill/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00" kern="1200">
                <a:noFill/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400" b="0" kern="1200">
                <a:noFill/>
                <a:latin typeface="+mn-lt"/>
                <a:ea typeface="+mn-ea"/>
                <a:cs typeface="+mn-cs"/>
              </a:defRPr>
            </a:lvl4pPr>
            <a:lvl5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 sz="400" kern="1200">
                <a:noFill/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00" kern="1200">
                <a:noFill/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00" kern="1200">
                <a:noFill/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00" kern="1200">
                <a:noFill/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00" kern="1200">
                <a:noFill/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03543984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E9670259-4695-428B-A004-7FC80D7094B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1062000" tIns="3348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FCAC8505-DEDF-4C01-A608-94D176EC4352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7540580" y="1"/>
            <a:ext cx="4651420" cy="1673605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1740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BCEEC50-8D3D-4D30-A7E4-EB437433847B}"/>
              </a:ext>
            </a:extLst>
          </p:cNvPr>
          <p:cNvSpPr>
            <a:spLocks noGrp="1" noChangeAspect="1"/>
          </p:cNvSpPr>
          <p:nvPr>
            <p:ph type="body" sz="quarter" idx="16"/>
          </p:nvPr>
        </p:nvSpPr>
        <p:spPr>
          <a:xfrm>
            <a:off x="10849038" y="333375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5383366-B84A-4AF0-9ECA-0C40F072B9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625180771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D50AE23D-06D1-4F9E-B490-E50D424CE9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DFCCD94-C178-488E-A0A8-B9933C21C8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B6B25C7-EDE8-4C6A-A016-B0BC2F236A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3CEBA6-B1B6-4DE4-9914-AA9310C6B7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8951947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87CEE9C-A8AE-431B-A0E0-C79E2E22CC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0C04917-818A-4A3D-87A1-5D1A3CEF6E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14D6DCE-44D6-472C-8A31-1D8DC27A62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6175939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E396722-86FB-4B61-980E-29BB1A84BF5F}"/>
              </a:ext>
            </a:extLst>
          </p:cNvPr>
          <p:cNvSpPr/>
          <p:nvPr userDrawn="1"/>
        </p:nvSpPr>
        <p:spPr>
          <a:xfrm>
            <a:off x="0" y="-1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D50AE23D-06D1-4F9E-B490-E50D424CE9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892E96-6CF9-4BCC-9A9B-CB94EC6D1A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97B376B-D4F9-4143-A8AE-817EB0EA6B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84A53671-41EC-45C8-A0C1-D1426C22F9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CDD6A81-9396-BE48-A86C-E83608F7D186}"/>
              </a:ext>
            </a:extLst>
          </p:cNvPr>
          <p:cNvSpPr>
            <a:spLocks noGrp="1" noChangeAspect="1"/>
          </p:cNvSpPr>
          <p:nvPr>
            <p:ph type="body" sz="quarter" idx="16"/>
          </p:nvPr>
        </p:nvSpPr>
        <p:spPr>
          <a:xfrm>
            <a:off x="10849038" y="333375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9497251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D583ABC-22A1-400D-B5EB-018BF7A1B892}"/>
              </a:ext>
            </a:extLst>
          </p:cNvPr>
          <p:cNvSpPr/>
          <p:nvPr userDrawn="1"/>
        </p:nvSpPr>
        <p:spPr>
          <a:xfrm>
            <a:off x="0" y="0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10794666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5EE857-4C7E-47C5-A433-5F303A10690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963" y="1413375"/>
            <a:ext cx="10794665" cy="72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3" name="Table Placeholder 12">
            <a:extLst>
              <a:ext uri="{FF2B5EF4-FFF2-40B4-BE49-F238E27FC236}">
                <a16:creationId xmlns:a16="http://schemas.microsoft.com/office/drawing/2014/main" id="{12720170-841B-4714-B671-AE40B2FE0283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334963" y="2243443"/>
            <a:ext cx="10794665" cy="3600000"/>
          </a:xfrm>
        </p:spPr>
        <p:txBody>
          <a:bodyPr anchor="ctr" anchorCtr="0"/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4E7EDCB-670C-46CB-A20E-159535CC5C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D18779D-2EB2-4254-A93E-7459659F2BB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8B347AD-5E50-42AC-AFB4-7F625291AB6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405A9204-2440-41D2-ACE8-C0954FBCEA1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849886" y="333375"/>
            <a:ext cx="1006304" cy="448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3831303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E396722-86FB-4B61-980E-29BB1A84BF5F}"/>
              </a:ext>
            </a:extLst>
          </p:cNvPr>
          <p:cNvSpPr/>
          <p:nvPr userDrawn="1"/>
        </p:nvSpPr>
        <p:spPr>
          <a:xfrm>
            <a:off x="0" y="-1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892E96-6CF9-4BCC-9A9B-CB94EC6D1A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97B376B-D4F9-4143-A8AE-817EB0EA6B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84A53671-41EC-45C8-A0C1-D1426C22F9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7807E9A1-1B37-2E4A-95C5-D75F492AC6BA}"/>
              </a:ext>
            </a:extLst>
          </p:cNvPr>
          <p:cNvSpPr>
            <a:spLocks noGrp="1" noChangeAspect="1"/>
          </p:cNvSpPr>
          <p:nvPr>
            <p:ph type="body" sz="quarter" idx="16"/>
          </p:nvPr>
        </p:nvSpPr>
        <p:spPr>
          <a:xfrm>
            <a:off x="10849038" y="333375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865287124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ing slide-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E9670259-4695-428B-A004-7FC80D7094B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19400" y="1"/>
            <a:ext cx="107532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342000" tIns="342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C3F7B8-0B35-40FF-8CB7-4337CBF123A9}"/>
              </a:ext>
            </a:extLst>
          </p:cNvPr>
          <p:cNvSpPr/>
          <p:nvPr userDrawn="1"/>
        </p:nvSpPr>
        <p:spPr>
          <a:xfrm>
            <a:off x="0" y="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CCB27E3-026E-4103-AE04-0346F7EF5C2F}"/>
              </a:ext>
            </a:extLst>
          </p:cNvPr>
          <p:cNvSpPr/>
          <p:nvPr userDrawn="1"/>
        </p:nvSpPr>
        <p:spPr>
          <a:xfrm>
            <a:off x="11472000" y="-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A69E0D77-12A6-1936-23BF-FD10A7ADB6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8950" y="2628900"/>
            <a:ext cx="3594100" cy="160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8133485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3979AE5-365E-4EEB-8F4C-F4E45C728AEF}"/>
              </a:ext>
            </a:extLst>
          </p:cNvPr>
          <p:cNvSpPr/>
          <p:nvPr userDrawn="1"/>
        </p:nvSpPr>
        <p:spPr>
          <a:xfrm>
            <a:off x="719400" y="0"/>
            <a:ext cx="107532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E31FF5A-63AE-45A7-AF45-BF707B1A337A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14726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472600 w 12192000"/>
              <a:gd name="connsiteY3" fmla="*/ 6858000 h 6858000"/>
              <a:gd name="connsiteX4" fmla="*/ 0 w 12192000"/>
              <a:gd name="connsiteY4" fmla="*/ 0 h 6858000"/>
              <a:gd name="connsiteX5" fmla="*/ 719400 w 12192000"/>
              <a:gd name="connsiteY5" fmla="*/ 0 h 6858000"/>
              <a:gd name="connsiteX6" fmla="*/ 7194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14726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472600" y="6858000"/>
                </a:lnTo>
                <a:close/>
                <a:moveTo>
                  <a:pt x="0" y="0"/>
                </a:moveTo>
                <a:lnTo>
                  <a:pt x="719400" y="0"/>
                </a:lnTo>
                <a:lnTo>
                  <a:pt x="7194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08000" tIns="108000" rIns="115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113A054-12CB-4197-89CB-FBA21D5F89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5688" y="4097865"/>
            <a:ext cx="5040312" cy="14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800" b="1" cap="none">
                <a:solidFill>
                  <a:schemeClr val="bg1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6pPr>
            <a:lvl7pPr marL="0" indent="0" algn="l">
              <a:buNone/>
              <a:defRPr sz="1800" b="1">
                <a:solidFill>
                  <a:schemeClr val="bg1"/>
                </a:solidFill>
              </a:defRPr>
            </a:lvl7pPr>
            <a:lvl8pPr marL="0" indent="0" algn="l">
              <a:buNone/>
              <a:defRPr sz="1800" b="1">
                <a:solidFill>
                  <a:schemeClr val="bg1"/>
                </a:solidFill>
              </a:defRPr>
            </a:lvl8pPr>
            <a:lvl9pPr marL="0" indent="0" algn="l">
              <a:buNone/>
              <a:defRPr sz="1800" b="1">
                <a:solidFill>
                  <a:schemeClr val="bg1"/>
                </a:solidFill>
              </a:defRPr>
            </a:lvl9pPr>
          </a:lstStyle>
          <a:p>
            <a:r>
              <a:rPr lang="en-AU"/>
              <a:t>Subtitle or presenters name and date</a:t>
            </a:r>
            <a:endParaRPr lang="en-GB"/>
          </a:p>
          <a:p>
            <a:pPr lvl="1"/>
            <a:r>
              <a:rPr lang="en-US"/>
              <a:t>2</a:t>
            </a:r>
          </a:p>
          <a:p>
            <a:pPr lvl="2"/>
            <a:r>
              <a:rPr lang="en-US"/>
              <a:t>3</a:t>
            </a:r>
          </a:p>
          <a:p>
            <a:pPr lvl="3"/>
            <a:r>
              <a:rPr lang="en-US"/>
              <a:t>4</a:t>
            </a:r>
          </a:p>
          <a:p>
            <a:pPr lvl="4"/>
            <a:r>
              <a:rPr lang="en-US"/>
              <a:t>5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287AC88-A942-4E4F-A359-307B996A79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1946566"/>
            <a:ext cx="10753200" cy="1620000"/>
          </a:xfrm>
          <a:noFill/>
        </p:spPr>
        <p:txBody>
          <a:bodyPr lIns="342000" tIns="342000" rIns="2160000" bIns="0" anchor="b" anchorCtr="0"/>
          <a:lstStyle>
            <a:lvl1pPr>
              <a:defRPr sz="4500" cap="all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98BCAB1-59A8-4C66-87FD-A76DA0651EF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A19EADA1-ACC1-8BB7-CD58-D2C3B694F89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69628" y="5506147"/>
            <a:ext cx="2166684" cy="964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9290768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l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E9670259-4695-428B-A004-7FC80D7094B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19400" y="1"/>
            <a:ext cx="107532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342000" tIns="342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F9144E-5217-4B9A-B2C1-83385827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1946566"/>
            <a:ext cx="10753200" cy="1620000"/>
          </a:xfrm>
          <a:noFill/>
        </p:spPr>
        <p:txBody>
          <a:bodyPr lIns="342000" tIns="342000" rIns="2160000" bIns="0" anchor="b" anchorCtr="0"/>
          <a:lstStyle>
            <a:lvl1pPr>
              <a:defRPr sz="4500" cap="all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113A054-12CB-4197-89CB-FBA21D5F89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5688" y="4097865"/>
            <a:ext cx="5040312" cy="14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800" b="1" cap="none">
                <a:solidFill>
                  <a:schemeClr val="bg2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6pPr>
            <a:lvl7pPr marL="0" indent="0" algn="l">
              <a:buNone/>
              <a:defRPr sz="1800" b="1">
                <a:solidFill>
                  <a:schemeClr val="bg2"/>
                </a:solidFill>
              </a:defRPr>
            </a:lvl7pPr>
            <a:lvl8pPr marL="0" indent="0" algn="l">
              <a:buNone/>
              <a:defRPr sz="1800" b="1">
                <a:solidFill>
                  <a:schemeClr val="bg2"/>
                </a:solidFill>
              </a:defRPr>
            </a:lvl8pPr>
            <a:lvl9pPr marL="0" indent="0" algn="l">
              <a:buNone/>
              <a:defRPr sz="1800" b="1">
                <a:solidFill>
                  <a:schemeClr val="bg2"/>
                </a:solidFill>
              </a:defRPr>
            </a:lvl9pPr>
          </a:lstStyle>
          <a:p>
            <a:r>
              <a:rPr lang="en-AU"/>
              <a:t>Subtitle or presenters name and date</a:t>
            </a:r>
            <a:endParaRPr lang="en-GB"/>
          </a:p>
          <a:p>
            <a:pPr lvl="1"/>
            <a:r>
              <a:rPr lang="en-US"/>
              <a:t>2</a:t>
            </a:r>
          </a:p>
          <a:p>
            <a:pPr lvl="2"/>
            <a:r>
              <a:rPr lang="en-US"/>
              <a:t>3</a:t>
            </a:r>
          </a:p>
          <a:p>
            <a:pPr lvl="3"/>
            <a:r>
              <a:rPr lang="en-US"/>
              <a:t>4</a:t>
            </a:r>
          </a:p>
          <a:p>
            <a:pPr lvl="4"/>
            <a:r>
              <a:rPr lang="en-US"/>
              <a:t>5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C3F7B8-0B35-40FF-8CB7-4337CBF123A9}"/>
              </a:ext>
            </a:extLst>
          </p:cNvPr>
          <p:cNvSpPr/>
          <p:nvPr userDrawn="1"/>
        </p:nvSpPr>
        <p:spPr>
          <a:xfrm>
            <a:off x="0" y="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CCB27E3-026E-4103-AE04-0346F7EF5C2F}"/>
              </a:ext>
            </a:extLst>
          </p:cNvPr>
          <p:cNvSpPr/>
          <p:nvPr userDrawn="1"/>
        </p:nvSpPr>
        <p:spPr>
          <a:xfrm>
            <a:off x="11472000" y="-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C4A1CEB9-11E9-4D44-B10D-C1106153B09E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6096000" y="3940935"/>
            <a:ext cx="5376000" cy="2917066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40000"/>
                </a:schemeClr>
              </a:gs>
            </a:gsLst>
            <a:lin ang="372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6F98E5-C772-4C1B-AEA2-5FA88430480D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60988FE9-E51C-90D4-0D7D-70F07C7E3F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0219" y="5562698"/>
            <a:ext cx="1976093" cy="879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1071111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dark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E9670259-4695-428B-A004-7FC80D7094B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19400" y="1"/>
            <a:ext cx="107532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342000" tIns="342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FC044026-2D0A-4F4C-B231-B0EF94B3258C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6096000" y="3940935"/>
            <a:ext cx="5376000" cy="2917066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40000"/>
                </a:schemeClr>
              </a:gs>
            </a:gsLst>
            <a:lin ang="372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F9144E-5217-4B9A-B2C1-83385827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1946566"/>
            <a:ext cx="10753200" cy="1620000"/>
          </a:xfrm>
          <a:noFill/>
        </p:spPr>
        <p:txBody>
          <a:bodyPr lIns="342000" tIns="342000" rIns="2160000" bIns="0" anchor="b" anchorCtr="0"/>
          <a:lstStyle>
            <a:lvl1pPr>
              <a:defRPr sz="4500" cap="all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113A054-12CB-4197-89CB-FBA21D5F89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5688" y="4097865"/>
            <a:ext cx="5040312" cy="14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800" b="1" cap="none">
                <a:solidFill>
                  <a:schemeClr val="bg2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6pPr>
            <a:lvl7pPr marL="0" indent="0" algn="l">
              <a:buNone/>
              <a:defRPr sz="1800" b="1">
                <a:solidFill>
                  <a:schemeClr val="bg2"/>
                </a:solidFill>
              </a:defRPr>
            </a:lvl7pPr>
            <a:lvl8pPr marL="0" indent="0" algn="l">
              <a:buNone/>
              <a:defRPr sz="1800" b="1">
                <a:solidFill>
                  <a:schemeClr val="bg2"/>
                </a:solidFill>
              </a:defRPr>
            </a:lvl8pPr>
            <a:lvl9pPr marL="0" indent="0" algn="l">
              <a:buNone/>
              <a:defRPr sz="1800" b="1">
                <a:solidFill>
                  <a:schemeClr val="bg2"/>
                </a:solidFill>
              </a:defRPr>
            </a:lvl9pPr>
          </a:lstStyle>
          <a:p>
            <a:r>
              <a:rPr lang="en-AU"/>
              <a:t>Subtitle or presenters name and date</a:t>
            </a:r>
            <a:endParaRPr lang="en-GB"/>
          </a:p>
          <a:p>
            <a:pPr lvl="1"/>
            <a:r>
              <a:rPr lang="en-US"/>
              <a:t>2</a:t>
            </a:r>
          </a:p>
          <a:p>
            <a:pPr lvl="2"/>
            <a:r>
              <a:rPr lang="en-US"/>
              <a:t>3</a:t>
            </a:r>
          </a:p>
          <a:p>
            <a:pPr lvl="3"/>
            <a:r>
              <a:rPr lang="en-US"/>
              <a:t>4</a:t>
            </a:r>
          </a:p>
          <a:p>
            <a:pPr lvl="4"/>
            <a:r>
              <a:rPr lang="en-US"/>
              <a:t>5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C3F7B8-0B35-40FF-8CB7-4337CBF123A9}"/>
              </a:ext>
            </a:extLst>
          </p:cNvPr>
          <p:cNvSpPr/>
          <p:nvPr userDrawn="1"/>
        </p:nvSpPr>
        <p:spPr>
          <a:xfrm>
            <a:off x="0" y="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CCB27E3-026E-4103-AE04-0346F7EF5C2F}"/>
              </a:ext>
            </a:extLst>
          </p:cNvPr>
          <p:cNvSpPr/>
          <p:nvPr userDrawn="1"/>
        </p:nvSpPr>
        <p:spPr>
          <a:xfrm>
            <a:off x="11472000" y="-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1C0FFFF4-D9E3-4A0E-BB93-6DCF367821CD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1055688" y="6288257"/>
            <a:ext cx="7913940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11A8C781-A258-1E2D-729C-E8C06536492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0219" y="5562698"/>
            <a:ext cx="1976093" cy="879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5625155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E9670259-4695-428B-A004-7FC80D7094B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1062000" tIns="342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A57D46A-D8D7-49BF-9479-240175CDBE8A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7540580" y="1"/>
            <a:ext cx="4651420" cy="1673605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1740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F9144E-5217-4B9A-B2C1-83385827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2619000"/>
            <a:ext cx="9000000" cy="1620000"/>
          </a:xfrm>
          <a:noFill/>
        </p:spPr>
        <p:txBody>
          <a:bodyPr lIns="342000" tIns="0" rIns="2160000" bIns="0" anchor="ctr" anchorCtr="0"/>
          <a:lstStyle>
            <a:lvl1pPr>
              <a:defRPr sz="4500" cap="all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FE441B78-CDE5-32F4-9065-9B5A0B3E51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0286" y="303441"/>
            <a:ext cx="1371600" cy="6106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5992470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2DC463D-2F1B-4364-A3E4-F6CD28DDD6E5}"/>
              </a:ext>
            </a:extLst>
          </p:cNvPr>
          <p:cNvSpPr/>
          <p:nvPr userDrawn="1"/>
        </p:nvSpPr>
        <p:spPr>
          <a:xfrm>
            <a:off x="0" y="0"/>
            <a:ext cx="12192000" cy="687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F9144E-5217-4B9A-B2C1-83385827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2619000"/>
            <a:ext cx="9000000" cy="1620000"/>
          </a:xfrm>
          <a:noFill/>
        </p:spPr>
        <p:txBody>
          <a:bodyPr lIns="342000" tIns="0" rIns="2160000" bIns="0" anchor="ctr" anchorCtr="0"/>
          <a:lstStyle>
            <a:lvl1pPr>
              <a:defRPr sz="4500" cap="all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4FB3E14A-559D-E5F3-7EE2-00C437FD5B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0286" y="303441"/>
            <a:ext cx="1371600" cy="6106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3045392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61B3790-BDEB-43E5-BF9C-3E8D289EECE8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9628" y="333375"/>
            <a:ext cx="10080000" cy="1080000"/>
          </a:xfrm>
        </p:spPr>
        <p:txBody>
          <a:bodyPr/>
          <a:lstStyle>
            <a:lvl1pPr>
              <a:defRPr cap="all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FEB565-49CC-408C-BDD2-C2590A4A642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49629" y="1880314"/>
            <a:ext cx="4320000" cy="3960000"/>
          </a:xfrm>
        </p:spPr>
        <p:txBody>
          <a:bodyPr/>
          <a:lstStyle>
            <a:lvl1pPr marL="288000" indent="-288000">
              <a:spcBef>
                <a:spcPts val="1200"/>
              </a:spcBef>
              <a:buFont typeface="+mj-lt"/>
              <a:buAutoNum type="arabicPeriod"/>
              <a:defRPr sz="2200"/>
            </a:lvl1pPr>
            <a:lvl2pPr marL="288000">
              <a:spcBef>
                <a:spcPts val="600"/>
              </a:spcBef>
              <a:spcAft>
                <a:spcPts val="600"/>
              </a:spcAft>
              <a:defRPr b="0" cap="none" baseline="0">
                <a:solidFill>
                  <a:schemeClr val="tx2"/>
                </a:solidFill>
              </a:defRPr>
            </a:lvl2pPr>
            <a:lvl3pPr marL="468000">
              <a:defRPr/>
            </a:lvl3pPr>
            <a:lvl4pPr marL="0" indent="0">
              <a:buNone/>
              <a:defRPr cap="all" baseline="0">
                <a:solidFill>
                  <a:schemeClr val="accent1"/>
                </a:solidFill>
                <a:latin typeface="+mj-lt"/>
              </a:defRPr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add Agenda item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5E5FA15F-A1ED-4F06-8C67-E1D73CF85C8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1880314"/>
            <a:ext cx="4320000" cy="3960000"/>
          </a:xfrm>
        </p:spPr>
        <p:txBody>
          <a:bodyPr/>
          <a:lstStyle>
            <a:lvl1pPr marL="288000" indent="-288000">
              <a:spcBef>
                <a:spcPts val="1200"/>
              </a:spcBef>
              <a:buFont typeface="+mj-lt"/>
              <a:buAutoNum type="arabicPeriod"/>
              <a:defRPr sz="2200"/>
            </a:lvl1pPr>
            <a:lvl2pPr marL="288000">
              <a:spcBef>
                <a:spcPts val="600"/>
              </a:spcBef>
              <a:spcAft>
                <a:spcPts val="600"/>
              </a:spcAft>
              <a:defRPr b="0" cap="none" baseline="0">
                <a:solidFill>
                  <a:schemeClr val="tx2"/>
                </a:solidFill>
              </a:defRPr>
            </a:lvl2pPr>
            <a:lvl3pPr marL="468000">
              <a:defRPr/>
            </a:lvl3pPr>
            <a:lvl4pPr marL="0" indent="0">
              <a:buNone/>
              <a:defRPr cap="all" baseline="0">
                <a:solidFill>
                  <a:schemeClr val="accent1"/>
                </a:solidFill>
                <a:latin typeface="+mj-lt"/>
              </a:defRPr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add Agenda item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98866983-58A4-4EC2-ADBC-AEEA6B9D69AB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8248903" y="6288257"/>
            <a:ext cx="1183557" cy="365125"/>
          </a:xfrm>
        </p:spPr>
        <p:txBody>
          <a:bodyPr/>
          <a:lstStyle/>
          <a:p>
            <a:endParaRPr lang="en-GB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F6B299B-0652-4E6B-BB65-0DE715526B4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55688" y="6288257"/>
            <a:ext cx="7193215" cy="365125"/>
          </a:xfrm>
        </p:spPr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42DCA20-AF8B-4853-AA2C-E5E7CD8D26F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8B1AC7E-46EA-441D-9455-6E65525B6A5A}"/>
              </a:ext>
            </a:extLst>
          </p:cNvPr>
          <p:cNvSpPr/>
          <p:nvPr userDrawn="1"/>
        </p:nvSpPr>
        <p:spPr>
          <a:xfrm>
            <a:off x="0" y="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C9469F0-045F-4A85-8721-359D41A43D06}"/>
              </a:ext>
            </a:extLst>
          </p:cNvPr>
          <p:cNvSpPr/>
          <p:nvPr userDrawn="1"/>
        </p:nvSpPr>
        <p:spPr>
          <a:xfrm>
            <a:off x="11472000" y="-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2179EAA8-E18E-42F9-924F-98FF7A3E70C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128313" y="333375"/>
            <a:ext cx="1008000" cy="448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0521430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880315"/>
            <a:ext cx="10080000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06AFE3-EE64-4522-825B-815C6A28E9F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CCCCDE7-B8EA-4773-A164-304D34F89D0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C4FDAA8-8585-4D16-87AD-3485D164648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1404850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1312C68-9CDC-4DDF-AFFD-F813984EE08A}"/>
              </a:ext>
            </a:extLst>
          </p:cNvPr>
          <p:cNvSpPr/>
          <p:nvPr userDrawn="1"/>
        </p:nvSpPr>
        <p:spPr>
          <a:xfrm>
            <a:off x="0" y="-11798"/>
            <a:ext cx="12192000" cy="690814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880315"/>
            <a:ext cx="10080000" cy="396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  <a:lvl6pPr>
              <a:defRPr>
                <a:solidFill>
                  <a:schemeClr val="bg2"/>
                </a:solidFill>
              </a:defRPr>
            </a:lvl6pPr>
            <a:lvl7pPr>
              <a:defRPr>
                <a:solidFill>
                  <a:schemeClr val="bg2"/>
                </a:solidFill>
              </a:defRPr>
            </a:lvl7pPr>
            <a:lvl8pPr>
              <a:defRPr>
                <a:solidFill>
                  <a:schemeClr val="bg2"/>
                </a:solidFill>
              </a:defRPr>
            </a:lvl8pPr>
            <a:lvl9pPr>
              <a:defRPr>
                <a:solidFill>
                  <a:schemeClr val="bg2"/>
                </a:solidFill>
              </a:defRPr>
            </a:lvl9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06AFE3-EE64-4522-825B-815C6A28E9F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CCCCDE7-B8EA-4773-A164-304D34F89D0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C4FDAA8-8585-4D16-87AD-3485D164648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DCB8BC7D-E0E4-0345-72B7-03D7CF44FD1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6375" y="303442"/>
            <a:ext cx="1115510" cy="496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63570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C60C8A8-1B70-4653-94B4-DE00B5C785B3}"/>
              </a:ext>
            </a:extLst>
          </p:cNvPr>
          <p:cNvSpPr/>
          <p:nvPr userDrawn="1"/>
        </p:nvSpPr>
        <p:spPr>
          <a:xfrm>
            <a:off x="0" y="0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10801351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5EE857-4C7E-47C5-A433-5F303A10690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964" y="1413375"/>
            <a:ext cx="10801350" cy="72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D1ECE4F1-33EB-4137-BED8-59885BB39C47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334963" y="2243442"/>
            <a:ext cx="10801350" cy="3599999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778F5DE-1344-42BD-82D0-6611DD7B1FC6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D0D518F-1062-474E-BA48-10EA56B2C55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2C63567-251B-4660-ADF6-37AB6DCF01D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E1A2CF36-775E-4392-BEA9-87C8C3FA9B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849886" y="333375"/>
            <a:ext cx="1006304" cy="448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3098760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880315"/>
            <a:ext cx="4680000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06AFE3-EE64-4522-825B-815C6A28E9F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CCCCDE7-B8EA-4773-A164-304D34F89D0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C4FDAA8-8585-4D16-87AD-3485D164648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9FAA2598-9FF1-4FD4-A0B9-1D5412ADF05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734962" y="1880315"/>
            <a:ext cx="4680000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68391712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F17809F-093D-4878-B686-CA14CFB80D98}"/>
              </a:ext>
            </a:extLst>
          </p:cNvPr>
          <p:cNvSpPr/>
          <p:nvPr userDrawn="1"/>
        </p:nvSpPr>
        <p:spPr>
          <a:xfrm>
            <a:off x="0" y="-1"/>
            <a:ext cx="12192000" cy="687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880315"/>
            <a:ext cx="4680000" cy="396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06AFE3-EE64-4522-825B-815C6A28E9F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CCCCDE7-B8EA-4773-A164-304D34F89D0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C4FDAA8-8585-4D16-87AD-3485D164648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9FAA2598-9FF1-4FD4-A0B9-1D5412ADF05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734962" y="1880315"/>
            <a:ext cx="4680000" cy="396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E69570CD-4160-2778-6E55-3B05B83F138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9924" y="303441"/>
            <a:ext cx="1071962" cy="477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9236542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lef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450744" y="1880315"/>
            <a:ext cx="4691628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23DD628-AE63-4907-AF4B-6B53C077707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4963" y="1880314"/>
            <a:ext cx="5761037" cy="4644311"/>
          </a:xfrm>
          <a:prstGeom prst="roundRect">
            <a:avLst>
              <a:gd name="adj" fmla="val 1982"/>
            </a:avLst>
          </a:prstGeom>
          <a:solidFill>
            <a:schemeClr val="bg1">
              <a:lumMod val="85000"/>
            </a:schemeClr>
          </a:solidFill>
        </p:spPr>
        <p:txBody>
          <a:bodyPr lIns="342000" tIns="342000" rIns="342000" bIns="342000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AU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6453E03-EC16-4564-B43B-27855EB9BD2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450744" y="6288257"/>
            <a:ext cx="4320000" cy="365125"/>
          </a:xfrm>
        </p:spPr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A913BC-780A-4949-92A0-B5967D36080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459140" y="6159500"/>
            <a:ext cx="727410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3689459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16EF975B-AD72-4CB0-A546-757A6175A51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83255" y="1880314"/>
            <a:ext cx="5761038" cy="4644311"/>
          </a:xfrm>
          <a:prstGeom prst="roundRect">
            <a:avLst>
              <a:gd name="adj" fmla="val 1982"/>
            </a:avLst>
          </a:prstGeom>
          <a:solidFill>
            <a:schemeClr val="bg1">
              <a:lumMod val="85000"/>
            </a:schemeClr>
          </a:solidFill>
        </p:spPr>
        <p:txBody>
          <a:bodyPr lIns="342000" tIns="342000" rIns="342000" bIns="342000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AU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880315"/>
            <a:ext cx="4691628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C94176C4-3B30-43F2-91DE-33D09AEA7B5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A95B7BCF-DC6C-46BC-B3D2-2F18F9BC75D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547064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-full wid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23DD628-AE63-4907-AF4B-6B53C077707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4963" y="1880314"/>
            <a:ext cx="11509330" cy="4644311"/>
          </a:xfrm>
          <a:prstGeom prst="roundRect">
            <a:avLst>
              <a:gd name="adj" fmla="val 1982"/>
            </a:avLst>
          </a:prstGeom>
          <a:solidFill>
            <a:schemeClr val="bg1">
              <a:lumMod val="85000"/>
            </a:schemeClr>
          </a:solidFill>
        </p:spPr>
        <p:txBody>
          <a:bodyPr lIns="342000" tIns="342000" rIns="342000" bIns="342000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AU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6E7A7DD-8C14-4B85-B39F-1E990E1FFE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333375"/>
            <a:ext cx="5761038" cy="108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7D8FAF2-858C-419E-A577-F0425218264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15444" y="333375"/>
            <a:ext cx="3600000" cy="126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D048DB48-6039-4A0D-ACBF-D5EB8DD358F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459140" y="6159500"/>
            <a:ext cx="727410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39370715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-full ble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0">
            <a:extLst>
              <a:ext uri="{FF2B5EF4-FFF2-40B4-BE49-F238E27FC236}">
                <a16:creationId xmlns:a16="http://schemas.microsoft.com/office/drawing/2014/main" id="{5AF6F1E8-5ECE-4267-92B5-43C3523BCBE3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1062000" tIns="360000" rIns="4320000" bIns="360000" anchor="ctr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8390923A-6BDB-44C8-9456-CEB6E0A0A293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7540580" y="1"/>
            <a:ext cx="4651420" cy="1673605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1740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6E7A7DD-8C14-4B85-B39F-1E990E1FFE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333375"/>
            <a:ext cx="5761038" cy="108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7D8FAF2-858C-419E-A577-F0425218264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15444" y="333375"/>
            <a:ext cx="3600000" cy="126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  <a:lvl6pPr>
              <a:defRPr>
                <a:solidFill>
                  <a:schemeClr val="bg2"/>
                </a:solidFill>
              </a:defRPr>
            </a:lvl6pPr>
            <a:lvl7pPr>
              <a:defRPr>
                <a:solidFill>
                  <a:schemeClr val="bg2"/>
                </a:solidFill>
              </a:defRPr>
            </a:lvl7pPr>
            <a:lvl8pPr>
              <a:defRPr>
                <a:solidFill>
                  <a:schemeClr val="bg2"/>
                </a:solidFill>
              </a:defRPr>
            </a:lvl8pPr>
            <a:lvl9pPr>
              <a:defRPr>
                <a:solidFill>
                  <a:schemeClr val="bg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E0AD6A4-0D42-4CCD-B0CB-498EE201FE4E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21E9B0E-B319-4C6F-97AF-0F8D83942F0C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65D74DCF-D99B-4098-B297-0BD016160D35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FB4A08B0-6A28-D04B-257D-013EC758BC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170" y="303442"/>
            <a:ext cx="979715" cy="43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6571394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right 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23DD628-AE63-4907-AF4B-6B53C077707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0"/>
            <a:ext cx="6096000" cy="6858000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</p:spPr>
        <p:txBody>
          <a:bodyPr lIns="342000" tIns="342000" rIns="1440000" bIns="342000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AU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EB2F477-266C-4C9D-A64F-287BA3F4CF3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4962" y="1880314"/>
            <a:ext cx="5220000" cy="396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771A36E-45E1-4553-9842-66EF392719C7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844884" y="1880314"/>
            <a:ext cx="2160000" cy="396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7D669EEE-6563-477F-A4CD-D425F6140F00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347256" y="1880314"/>
            <a:ext cx="2160000" cy="396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A5DE353-D720-4A1F-9ECC-89FB139059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2218" y="333375"/>
            <a:ext cx="5220000" cy="108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913AB32-E310-49A2-9A47-2348F6B61E52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6266A723-640D-4EFF-93D1-1E964694156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C4DEE883-581D-4AC9-9251-8929D0C8E380}"/>
              </a:ext>
            </a:extLst>
          </p:cNvPr>
          <p:cNvSpPr>
            <a:spLocks noGrp="1" noChangeAspect="1"/>
          </p:cNvSpPr>
          <p:nvPr>
            <p:ph type="body" sz="quarter" idx="25"/>
          </p:nvPr>
        </p:nvSpPr>
        <p:spPr>
          <a:xfrm>
            <a:off x="7540580" y="1"/>
            <a:ext cx="4651420" cy="1673605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1740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6C4035EB-46BA-D68D-EDAA-1CAC6D7697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170" y="303442"/>
            <a:ext cx="979715" cy="43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0052413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7F07ECCF-5EE7-4BA4-BD7C-50DF82C3F5BF}"/>
              </a:ext>
            </a:extLst>
          </p:cNvPr>
          <p:cNvSpPr/>
          <p:nvPr userDrawn="1"/>
        </p:nvSpPr>
        <p:spPr>
          <a:xfrm>
            <a:off x="0" y="0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10080000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08DD2E7-C8BF-4E45-AE9F-C1389B7B38D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963" y="2600315"/>
            <a:ext cx="2160000" cy="3240000"/>
          </a:xfrm>
        </p:spPr>
        <p:txBody>
          <a:bodyPr/>
          <a:lstStyle>
            <a:lvl1pPr>
              <a:defRPr sz="1600" cap="all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 b="0" cap="none" baseline="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D7BC8491-CCAE-458C-BD6D-862F904604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979212" y="2600315"/>
            <a:ext cx="2160000" cy="3240000"/>
          </a:xfrm>
        </p:spPr>
        <p:txBody>
          <a:bodyPr/>
          <a:lstStyle>
            <a:lvl1pPr>
              <a:defRPr sz="1600" cap="all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 b="0" cap="none" baseline="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B036190F-67DD-4555-BB1F-179E8E9C46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23461" y="2600315"/>
            <a:ext cx="2160000" cy="3240000"/>
          </a:xfrm>
        </p:spPr>
        <p:txBody>
          <a:bodyPr/>
          <a:lstStyle>
            <a:lvl1pPr>
              <a:defRPr sz="1600" cap="all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 b="0" cap="none" baseline="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F1044E10-4BD7-47DE-8A5A-57C9557A0B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67709" y="2600315"/>
            <a:ext cx="2160000" cy="3240000"/>
          </a:xfrm>
        </p:spPr>
        <p:txBody>
          <a:bodyPr/>
          <a:lstStyle>
            <a:lvl1pPr>
              <a:defRPr sz="1600" cap="all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 b="0" cap="none" baseline="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B900929-35E2-4B6A-A4BF-9E02733E3AB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6B47C34-75D5-42A4-8A99-FADDAF9BBA6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67B0344-E805-4D5F-B3FB-AF95BC74870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5344C7BC-0E67-CA0F-39A7-28EB9FE063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170" y="303442"/>
            <a:ext cx="979715" cy="43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2617426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7F07ECCF-5EE7-4BA4-BD7C-50DF82C3F5BF}"/>
              </a:ext>
            </a:extLst>
          </p:cNvPr>
          <p:cNvSpPr/>
          <p:nvPr userDrawn="1"/>
        </p:nvSpPr>
        <p:spPr>
          <a:xfrm>
            <a:off x="0" y="0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F1044E10-4BD7-47DE-8A5A-57C9557A0B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42214" y="2106271"/>
            <a:ext cx="4507572" cy="2281251"/>
          </a:xfrm>
        </p:spPr>
        <p:txBody>
          <a:bodyPr/>
          <a:lstStyle>
            <a:lvl1pPr>
              <a:defRPr sz="2800" cap="none" baseline="0">
                <a:solidFill>
                  <a:schemeClr val="accent1"/>
                </a:solidFill>
                <a:latin typeface="+mj-lt"/>
              </a:defRPr>
            </a:lvl1pPr>
            <a:lvl2pPr algn="l">
              <a:spcBef>
                <a:spcPts val="600"/>
              </a:spcBef>
              <a:defRPr sz="1600" b="0" cap="none" baseline="0">
                <a:solidFill>
                  <a:schemeClr val="accent1"/>
                </a:solidFill>
              </a:defRPr>
            </a:lvl2pPr>
            <a:lvl3pPr algn="l">
              <a:defRPr sz="1600" cap="none">
                <a:solidFill>
                  <a:schemeClr val="accent1"/>
                </a:solidFill>
              </a:defRPr>
            </a:lvl3pPr>
            <a:lvl4pPr algn="l">
              <a:defRPr sz="1600" cap="none">
                <a:solidFill>
                  <a:schemeClr val="accent1"/>
                </a:solidFill>
              </a:defRPr>
            </a:lvl4pPr>
            <a:lvl5pPr algn="l">
              <a:defRPr sz="1600" cap="none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CCFA2A9-BC18-4CF8-AD38-42B263119472}"/>
              </a:ext>
            </a:extLst>
          </p:cNvPr>
          <p:cNvSpPr txBox="1"/>
          <p:nvPr userDrawn="1"/>
        </p:nvSpPr>
        <p:spPr>
          <a:xfrm>
            <a:off x="2756995" y="1307904"/>
            <a:ext cx="914033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2000">
                <a:solidFill>
                  <a:schemeClr val="accent1"/>
                </a:solidFill>
                <a:latin typeface="+mj-lt"/>
              </a:rPr>
              <a:t>“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9C98CC0-E077-4ADE-8BC2-9559518E22D8}"/>
              </a:ext>
            </a:extLst>
          </p:cNvPr>
          <p:cNvSpPr txBox="1"/>
          <p:nvPr userDrawn="1"/>
        </p:nvSpPr>
        <p:spPr>
          <a:xfrm>
            <a:off x="7755716" y="3692995"/>
            <a:ext cx="1643399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2000">
                <a:solidFill>
                  <a:schemeClr val="tx2"/>
                </a:solidFill>
                <a:latin typeface="+mj-lt"/>
              </a:rPr>
              <a:t>“</a:t>
            </a:r>
            <a:r>
              <a:rPr lang="en-AU" sz="12000">
                <a:solidFill>
                  <a:schemeClr val="accent1"/>
                </a:solidFill>
                <a:latin typeface="+mj-lt"/>
              </a:rPr>
              <a:t>”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25A78CB-C25F-477B-ACB8-7A8C3B33F7D7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0DC4922-3AFC-43D6-9996-17D5CAC06E9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54801EF-D4C3-4D21-A7DC-76D432B0F00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7CB4A03A-94C8-BFEA-8068-9023E104F6B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170" y="303442"/>
            <a:ext cx="979715" cy="43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482830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10794666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5EE857-4C7E-47C5-A433-5F303A10690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963" y="1413375"/>
            <a:ext cx="10794665" cy="72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3" name="Table Placeholder 12">
            <a:extLst>
              <a:ext uri="{FF2B5EF4-FFF2-40B4-BE49-F238E27FC236}">
                <a16:creationId xmlns:a16="http://schemas.microsoft.com/office/drawing/2014/main" id="{12720170-841B-4714-B671-AE40B2FE0283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334963" y="2243443"/>
            <a:ext cx="10794665" cy="3600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table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4E7EDCB-670C-46CB-A20E-159535CC5C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D18779D-2EB2-4254-A93E-7459659F2BB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8B347AD-5E50-42AC-AFB4-7F625291AB6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040796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76849F14-4971-4208-82A8-1F0513897926}"/>
              </a:ext>
            </a:extLst>
          </p:cNvPr>
          <p:cNvSpPr/>
          <p:nvPr userDrawn="1"/>
        </p:nvSpPr>
        <p:spPr>
          <a:xfrm>
            <a:off x="719400" y="-2"/>
            <a:ext cx="107532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096AA35B-6D3E-4809-9D78-9CF31081E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9400" y="-2"/>
            <a:ext cx="4680000" cy="4068000"/>
          </a:xfrm>
          <a:solidFill>
            <a:schemeClr val="tx2"/>
          </a:solidFill>
        </p:spPr>
        <p:txBody>
          <a:bodyPr lIns="342000" tIns="342000" rIns="0" bIns="504000" anchor="b" anchorCtr="0"/>
          <a:lstStyle>
            <a:lvl1pPr>
              <a:defRPr sz="4500">
                <a:solidFill>
                  <a:schemeClr val="accent1"/>
                </a:solidFill>
              </a:defRPr>
            </a:lvl1pPr>
          </a:lstStyle>
          <a:p>
            <a:r>
              <a:rPr lang="en-US"/>
              <a:t>Thank you</a:t>
            </a:r>
            <a:endParaRPr lang="en-AU"/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C26E00FB-CED1-4B46-93A1-739D22FD51A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787692" y="2529091"/>
            <a:ext cx="2017653" cy="899814"/>
          </a:xfrm>
          <a:prstGeom prst="rect">
            <a:avLst/>
          </a:prstGeom>
        </p:spPr>
      </p:pic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FD95F930-CD55-469B-9FD0-1150DA73B39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-2"/>
            <a:ext cx="12192000" cy="6876000"/>
          </a:xfrm>
          <a:custGeom>
            <a:avLst/>
            <a:gdLst>
              <a:gd name="connsiteX0" fmla="*/ 114726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472600 w 12192000"/>
              <a:gd name="connsiteY3" fmla="*/ 6858000 h 6858000"/>
              <a:gd name="connsiteX4" fmla="*/ 0 w 12192000"/>
              <a:gd name="connsiteY4" fmla="*/ 0 h 6858000"/>
              <a:gd name="connsiteX5" fmla="*/ 719400 w 12192000"/>
              <a:gd name="connsiteY5" fmla="*/ 0 h 6858000"/>
              <a:gd name="connsiteX6" fmla="*/ 7194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14726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472600" y="6858000"/>
                </a:lnTo>
                <a:close/>
                <a:moveTo>
                  <a:pt x="0" y="0"/>
                </a:moveTo>
                <a:lnTo>
                  <a:pt x="719400" y="0"/>
                </a:lnTo>
                <a:lnTo>
                  <a:pt x="7194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08000" tIns="108000" rIns="115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4417D20-4CB7-471C-A5C4-50706D404792}"/>
              </a:ext>
            </a:extLst>
          </p:cNvPr>
          <p:cNvSpPr txBox="1"/>
          <p:nvPr userDrawn="1"/>
        </p:nvSpPr>
        <p:spPr>
          <a:xfrm>
            <a:off x="7916652" y="3928056"/>
            <a:ext cx="3321238" cy="25564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 cap="none" baseline="0">
                <a:solidFill>
                  <a:schemeClr val="bg1"/>
                </a:solidFill>
              </a:defRPr>
            </a:lvl1pPr>
            <a:lvl2pPr marL="0" lvl="1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b="1" cap="all" baseline="0">
                <a:solidFill>
                  <a:schemeClr val="bg1"/>
                </a:solidFill>
              </a:defRPr>
            </a:lvl2pPr>
            <a:lvl3pPr marL="0" lvl="2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3pPr>
            <a:lvl4pPr marL="0" lvl="3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4pPr>
            <a:lvl5pPr marL="0" lvl="4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5pPr>
            <a:lvl6pPr marL="0" lvl="5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6pPr>
            <a:lvl7pPr marL="0" lvl="6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7pPr>
            <a:lvl8pPr marL="0" lvl="7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8pPr>
            <a:lvl9pPr marL="0" lvl="8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9pPr>
          </a:lstStyle>
          <a:p>
            <a:pPr lvl="0">
              <a:spcBef>
                <a:spcPts val="400"/>
              </a:spcBef>
            </a:pPr>
            <a:r>
              <a:rPr lang="en-US" altLang="en-US" sz="1600" b="0">
                <a:solidFill>
                  <a:schemeClr val="bg2"/>
                </a:solidFill>
                <a:latin typeface="+mj-lt"/>
              </a:rPr>
              <a:t>Forest Stewardship Council</a:t>
            </a:r>
            <a:r>
              <a:rPr lang="en-US" altLang="en-US" sz="1600" b="0" baseline="30000">
                <a:solidFill>
                  <a:schemeClr val="bg2"/>
                </a:solidFill>
                <a:latin typeface="+mj-lt"/>
              </a:rPr>
              <a:t>®</a:t>
            </a:r>
            <a:r>
              <a:rPr lang="en-US" altLang="en-US" sz="1600" b="0">
                <a:solidFill>
                  <a:schemeClr val="bg2"/>
                </a:solidFill>
                <a:latin typeface="+mj-lt"/>
              </a:rPr>
              <a:t> </a:t>
            </a:r>
            <a:br>
              <a:rPr lang="en-US" altLang="en-US" sz="1600" b="0">
                <a:solidFill>
                  <a:schemeClr val="bg2"/>
                </a:solidFill>
                <a:latin typeface="+mj-lt"/>
              </a:rPr>
            </a:br>
            <a:r>
              <a:rPr lang="en-US" altLang="en-US" sz="1600" b="0">
                <a:solidFill>
                  <a:schemeClr val="bg2"/>
                </a:solidFill>
                <a:latin typeface="+mj-lt"/>
              </a:rPr>
              <a:t>FSC</a:t>
            </a:r>
            <a:r>
              <a:rPr lang="en-US" altLang="en-US" sz="1600" b="0" baseline="30000">
                <a:solidFill>
                  <a:schemeClr val="bg2"/>
                </a:solidFill>
                <a:latin typeface="+mj-lt"/>
              </a:rPr>
              <a:t> ®</a:t>
            </a:r>
            <a:r>
              <a:rPr lang="en-US" altLang="en-US" sz="1600" b="0">
                <a:solidFill>
                  <a:schemeClr val="bg2"/>
                </a:solidFill>
                <a:latin typeface="+mj-lt"/>
              </a:rPr>
              <a:t> International</a:t>
            </a:r>
          </a:p>
          <a:p>
            <a:pPr lvl="0"/>
            <a:endParaRPr lang="en-US" altLang="en-US" sz="1600" b="0"/>
          </a:p>
          <a:p>
            <a:pPr lvl="0"/>
            <a:endParaRPr lang="en-US" altLang="en-US" sz="1600" b="0"/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FSC® F001000</a:t>
            </a:r>
          </a:p>
          <a:p>
            <a:pPr lvl="0"/>
            <a:r>
              <a:rPr lang="en-US" altLang="en-US" sz="1400" b="0">
                <a:solidFill>
                  <a:schemeClr val="bg1"/>
                </a:solidFill>
                <a:latin typeface="+mj-lt"/>
              </a:rPr>
              <a:t>www.fsc.org</a:t>
            </a:r>
            <a:endParaRPr lang="en-US" altLang="en-US" sz="1600" b="0">
              <a:solidFill>
                <a:schemeClr val="bg1"/>
              </a:solidFill>
            </a:endParaRPr>
          </a:p>
        </p:txBody>
      </p:sp>
      <p:sp>
        <p:nvSpPr>
          <p:cNvPr id="8" name="Freeform: Shape 7">
            <a:hlinkClick r:id="rId4"/>
            <a:extLst>
              <a:ext uri="{FF2B5EF4-FFF2-40B4-BE49-F238E27FC236}">
                <a16:creationId xmlns:a16="http://schemas.microsoft.com/office/drawing/2014/main" id="{F8BC909C-567D-4F9C-A0DF-D05DE8F82075}"/>
              </a:ext>
            </a:extLst>
          </p:cNvPr>
          <p:cNvSpPr>
            <a:spLocks noChangeAspect="1"/>
          </p:cNvSpPr>
          <p:nvPr/>
        </p:nvSpPr>
        <p:spPr>
          <a:xfrm>
            <a:off x="7916652" y="4591756"/>
            <a:ext cx="242382" cy="242382"/>
          </a:xfrm>
          <a:custGeom>
            <a:avLst/>
            <a:gdLst>
              <a:gd name="connsiteX0" fmla="*/ 357950 w 809625"/>
              <a:gd name="connsiteY0" fmla="*/ 333375 h 809625"/>
              <a:gd name="connsiteX1" fmla="*/ 480537 w 809625"/>
              <a:gd name="connsiteY1" fmla="*/ 397002 h 809625"/>
              <a:gd name="connsiteX2" fmla="*/ 357950 w 809625"/>
              <a:gd name="connsiteY2" fmla="*/ 460439 h 809625"/>
              <a:gd name="connsiteX3" fmla="*/ 242887 w 809625"/>
              <a:gd name="connsiteY3" fmla="*/ 249555 h 809625"/>
              <a:gd name="connsiteX4" fmla="*/ 178117 w 809625"/>
              <a:gd name="connsiteY4" fmla="*/ 314325 h 809625"/>
              <a:gd name="connsiteX5" fmla="*/ 178117 w 809625"/>
              <a:gd name="connsiteY5" fmla="*/ 495300 h 809625"/>
              <a:gd name="connsiteX6" fmla="*/ 242887 w 809625"/>
              <a:gd name="connsiteY6" fmla="*/ 560070 h 809625"/>
              <a:gd name="connsiteX7" fmla="*/ 566737 w 809625"/>
              <a:gd name="connsiteY7" fmla="*/ 560070 h 809625"/>
              <a:gd name="connsiteX8" fmla="*/ 631507 w 809625"/>
              <a:gd name="connsiteY8" fmla="*/ 495300 h 809625"/>
              <a:gd name="connsiteX9" fmla="*/ 631507 w 809625"/>
              <a:gd name="connsiteY9" fmla="*/ 314325 h 809625"/>
              <a:gd name="connsiteX10" fmla="*/ 566737 w 809625"/>
              <a:gd name="connsiteY10" fmla="*/ 249555 h 809625"/>
              <a:gd name="connsiteX11" fmla="*/ 404813 w 809625"/>
              <a:gd name="connsiteY11" fmla="*/ 0 h 809625"/>
              <a:gd name="connsiteX12" fmla="*/ 809625 w 809625"/>
              <a:gd name="connsiteY12" fmla="*/ 404813 h 809625"/>
              <a:gd name="connsiteX13" fmla="*/ 404813 w 809625"/>
              <a:gd name="connsiteY13" fmla="*/ 809625 h 809625"/>
              <a:gd name="connsiteX14" fmla="*/ 0 w 809625"/>
              <a:gd name="connsiteY14" fmla="*/ 404813 h 809625"/>
              <a:gd name="connsiteX15" fmla="*/ 404813 w 809625"/>
              <a:gd name="connsiteY15" fmla="*/ 0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809625" h="809625">
                <a:moveTo>
                  <a:pt x="357950" y="333375"/>
                </a:moveTo>
                <a:lnTo>
                  <a:pt x="480537" y="397002"/>
                </a:lnTo>
                <a:lnTo>
                  <a:pt x="357950" y="460439"/>
                </a:lnTo>
                <a:close/>
                <a:moveTo>
                  <a:pt x="242887" y="249555"/>
                </a:moveTo>
                <a:cubicBezTo>
                  <a:pt x="207159" y="249660"/>
                  <a:pt x="178222" y="278597"/>
                  <a:pt x="178117" y="314325"/>
                </a:cubicBezTo>
                <a:lnTo>
                  <a:pt x="178117" y="495300"/>
                </a:lnTo>
                <a:cubicBezTo>
                  <a:pt x="178222" y="531028"/>
                  <a:pt x="207159" y="559965"/>
                  <a:pt x="242887" y="560070"/>
                </a:cubicBezTo>
                <a:lnTo>
                  <a:pt x="566737" y="560070"/>
                </a:lnTo>
                <a:cubicBezTo>
                  <a:pt x="602465" y="559965"/>
                  <a:pt x="631402" y="531028"/>
                  <a:pt x="631507" y="495300"/>
                </a:cubicBezTo>
                <a:lnTo>
                  <a:pt x="631507" y="314325"/>
                </a:lnTo>
                <a:cubicBezTo>
                  <a:pt x="631402" y="278597"/>
                  <a:pt x="602465" y="249660"/>
                  <a:pt x="566737" y="249555"/>
                </a:cubicBezTo>
                <a:close/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9" name="Freeform: Shape 8">
            <a:hlinkClick r:id="rId5"/>
            <a:extLst>
              <a:ext uri="{FF2B5EF4-FFF2-40B4-BE49-F238E27FC236}">
                <a16:creationId xmlns:a16="http://schemas.microsoft.com/office/drawing/2014/main" id="{2487C176-18A9-4BB0-BD80-DEC34233A800}"/>
              </a:ext>
            </a:extLst>
          </p:cNvPr>
          <p:cNvSpPr>
            <a:spLocks noChangeAspect="1"/>
          </p:cNvSpPr>
          <p:nvPr/>
        </p:nvSpPr>
        <p:spPr>
          <a:xfrm>
            <a:off x="8298996" y="4591756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495146 w 809625"/>
              <a:gd name="connsiteY5" fmla="*/ 220645 h 809625"/>
              <a:gd name="connsiteX6" fmla="*/ 428527 w 809625"/>
              <a:gd name="connsiteY6" fmla="*/ 245841 h 809625"/>
              <a:gd name="connsiteX7" fmla="*/ 399192 w 809625"/>
              <a:gd name="connsiteY7" fmla="*/ 313563 h 809625"/>
              <a:gd name="connsiteX8" fmla="*/ 401573 w 809625"/>
              <a:gd name="connsiteY8" fmla="*/ 334803 h 809625"/>
              <a:gd name="connsiteX9" fmla="*/ 209549 w 809625"/>
              <a:gd name="connsiteY9" fmla="*/ 238125 h 809625"/>
              <a:gd name="connsiteX10" fmla="*/ 238124 w 809625"/>
              <a:gd name="connsiteY10" fmla="*/ 361950 h 809625"/>
              <a:gd name="connsiteX11" fmla="*/ 195928 w 809625"/>
              <a:gd name="connsiteY11" fmla="*/ 350329 h 809625"/>
              <a:gd name="connsiteX12" fmla="*/ 195929 w 809625"/>
              <a:gd name="connsiteY12" fmla="*/ 351567 h 809625"/>
              <a:gd name="connsiteX13" fmla="*/ 270605 w 809625"/>
              <a:gd name="connsiteY13" fmla="*/ 442722 h 809625"/>
              <a:gd name="connsiteX14" fmla="*/ 228599 w 809625"/>
              <a:gd name="connsiteY14" fmla="*/ 444341 h 809625"/>
              <a:gd name="connsiteX15" fmla="*/ 315467 w 809625"/>
              <a:gd name="connsiteY15" fmla="*/ 508920 h 809625"/>
              <a:gd name="connsiteX16" fmla="*/ 200024 w 809625"/>
              <a:gd name="connsiteY16" fmla="*/ 548544 h 809625"/>
              <a:gd name="connsiteX17" fmla="*/ 177831 w 809625"/>
              <a:gd name="connsiteY17" fmla="*/ 547211 h 809625"/>
              <a:gd name="connsiteX18" fmla="*/ 320706 w 809625"/>
              <a:gd name="connsiteY18" fmla="*/ 589026 h 809625"/>
              <a:gd name="connsiteX19" fmla="*/ 585406 w 809625"/>
              <a:gd name="connsiteY19" fmla="*/ 324421 h 809625"/>
              <a:gd name="connsiteX20" fmla="*/ 585406 w 809625"/>
              <a:gd name="connsiteY20" fmla="*/ 312324 h 809625"/>
              <a:gd name="connsiteX21" fmla="*/ 631507 w 809625"/>
              <a:gd name="connsiteY21" fmla="*/ 264223 h 809625"/>
              <a:gd name="connsiteX22" fmla="*/ 578072 w 809625"/>
              <a:gd name="connsiteY22" fmla="*/ 278892 h 809625"/>
              <a:gd name="connsiteX23" fmla="*/ 619124 w 809625"/>
              <a:gd name="connsiteY23" fmla="*/ 227361 h 809625"/>
              <a:gd name="connsiteX24" fmla="*/ 560069 w 809625"/>
              <a:gd name="connsiteY24" fmla="*/ 249936 h 809625"/>
              <a:gd name="connsiteX25" fmla="*/ 495146 w 809625"/>
              <a:gd name="connsiteY25" fmla="*/ 220645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495146" y="220645"/>
                </a:moveTo>
                <a:cubicBezTo>
                  <a:pt x="471342" y="219904"/>
                  <a:pt x="447255" y="228245"/>
                  <a:pt x="428527" y="245841"/>
                </a:cubicBezTo>
                <a:cubicBezTo>
                  <a:pt x="409833" y="263407"/>
                  <a:pt x="399219" y="287911"/>
                  <a:pt x="399192" y="313563"/>
                </a:cubicBezTo>
                <a:cubicBezTo>
                  <a:pt x="399204" y="320709"/>
                  <a:pt x="400003" y="327832"/>
                  <a:pt x="401573" y="334803"/>
                </a:cubicBezTo>
                <a:cubicBezTo>
                  <a:pt x="326768" y="331204"/>
                  <a:pt x="256991" y="296073"/>
                  <a:pt x="209549" y="238125"/>
                </a:cubicBezTo>
                <a:cubicBezTo>
                  <a:pt x="185023" y="280491"/>
                  <a:pt x="197513" y="334615"/>
                  <a:pt x="238124" y="361950"/>
                </a:cubicBezTo>
                <a:cubicBezTo>
                  <a:pt x="223336" y="361482"/>
                  <a:pt x="208871" y="357499"/>
                  <a:pt x="195928" y="350329"/>
                </a:cubicBezTo>
                <a:lnTo>
                  <a:pt x="195929" y="351567"/>
                </a:lnTo>
                <a:cubicBezTo>
                  <a:pt x="195962" y="395849"/>
                  <a:pt x="227195" y="433974"/>
                  <a:pt x="270605" y="442722"/>
                </a:cubicBezTo>
                <a:cubicBezTo>
                  <a:pt x="256901" y="446399"/>
                  <a:pt x="242546" y="446952"/>
                  <a:pt x="228599" y="444341"/>
                </a:cubicBezTo>
                <a:cubicBezTo>
                  <a:pt x="240745" y="482243"/>
                  <a:pt x="275672" y="508209"/>
                  <a:pt x="315467" y="508920"/>
                </a:cubicBezTo>
                <a:cubicBezTo>
                  <a:pt x="282513" y="534690"/>
                  <a:pt x="241858" y="548644"/>
                  <a:pt x="200024" y="548544"/>
                </a:cubicBezTo>
                <a:cubicBezTo>
                  <a:pt x="192607" y="548536"/>
                  <a:pt x="185196" y="548091"/>
                  <a:pt x="177831" y="547211"/>
                </a:cubicBezTo>
                <a:cubicBezTo>
                  <a:pt x="220421" y="574649"/>
                  <a:pt x="270043" y="589172"/>
                  <a:pt x="320706" y="589026"/>
                </a:cubicBezTo>
                <a:cubicBezTo>
                  <a:pt x="492156" y="589026"/>
                  <a:pt x="585406" y="447294"/>
                  <a:pt x="585406" y="324421"/>
                </a:cubicBezTo>
                <a:cubicBezTo>
                  <a:pt x="585406" y="320325"/>
                  <a:pt x="585406" y="316325"/>
                  <a:pt x="585406" y="312324"/>
                </a:cubicBezTo>
                <a:cubicBezTo>
                  <a:pt x="603503" y="299151"/>
                  <a:pt x="619113" y="282863"/>
                  <a:pt x="631507" y="264223"/>
                </a:cubicBezTo>
                <a:cubicBezTo>
                  <a:pt x="614513" y="271713"/>
                  <a:pt x="596508" y="276656"/>
                  <a:pt x="578072" y="278892"/>
                </a:cubicBezTo>
                <a:cubicBezTo>
                  <a:pt x="597588" y="267302"/>
                  <a:pt x="612190" y="248974"/>
                  <a:pt x="619124" y="227361"/>
                </a:cubicBezTo>
                <a:cubicBezTo>
                  <a:pt x="600877" y="238213"/>
                  <a:pt x="580902" y="245848"/>
                  <a:pt x="560069" y="249936"/>
                </a:cubicBezTo>
                <a:cubicBezTo>
                  <a:pt x="542473" y="231209"/>
                  <a:pt x="518951" y="221387"/>
                  <a:pt x="495146" y="22064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0" name="Freeform: Shape 9">
            <a:hlinkClick r:id="rId6"/>
            <a:extLst>
              <a:ext uri="{FF2B5EF4-FFF2-40B4-BE49-F238E27FC236}">
                <a16:creationId xmlns:a16="http://schemas.microsoft.com/office/drawing/2014/main" id="{41393088-2A2D-4F19-A536-4C5B46718A69}"/>
              </a:ext>
            </a:extLst>
          </p:cNvPr>
          <p:cNvSpPr>
            <a:spLocks noChangeAspect="1"/>
          </p:cNvSpPr>
          <p:nvPr/>
        </p:nvSpPr>
        <p:spPr>
          <a:xfrm>
            <a:off x="8681340" y="4591756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230981 w 809625"/>
              <a:gd name="connsiteY5" fmla="*/ 177069 h 809625"/>
              <a:gd name="connsiteX6" fmla="*/ 176498 w 809625"/>
              <a:gd name="connsiteY6" fmla="*/ 231552 h 809625"/>
              <a:gd name="connsiteX7" fmla="*/ 230981 w 809625"/>
              <a:gd name="connsiteY7" fmla="*/ 286035 h 809625"/>
              <a:gd name="connsiteX8" fmla="*/ 285464 w 809625"/>
              <a:gd name="connsiteY8" fmla="*/ 231552 h 809625"/>
              <a:gd name="connsiteX9" fmla="*/ 230981 w 809625"/>
              <a:gd name="connsiteY9" fmla="*/ 177069 h 809625"/>
              <a:gd name="connsiteX10" fmla="*/ 517493 w 809625"/>
              <a:gd name="connsiteY10" fmla="*/ 319849 h 809625"/>
              <a:gd name="connsiteX11" fmla="*/ 428625 w 809625"/>
              <a:gd name="connsiteY11" fmla="*/ 368617 h 809625"/>
              <a:gd name="connsiteX12" fmla="*/ 426910 w 809625"/>
              <a:gd name="connsiteY12" fmla="*/ 368617 h 809625"/>
              <a:gd name="connsiteX13" fmla="*/ 426910 w 809625"/>
              <a:gd name="connsiteY13" fmla="*/ 327278 h 809625"/>
              <a:gd name="connsiteX14" fmla="*/ 336899 w 809625"/>
              <a:gd name="connsiteY14" fmla="*/ 327278 h 809625"/>
              <a:gd name="connsiteX15" fmla="*/ 336899 w 809625"/>
              <a:gd name="connsiteY15" fmla="*/ 629602 h 809625"/>
              <a:gd name="connsiteX16" fmla="*/ 430720 w 809625"/>
              <a:gd name="connsiteY16" fmla="*/ 629602 h 809625"/>
              <a:gd name="connsiteX17" fmla="*/ 430720 w 809625"/>
              <a:gd name="connsiteY17" fmla="*/ 480059 h 809625"/>
              <a:gd name="connsiteX18" fmla="*/ 487108 w 809625"/>
              <a:gd name="connsiteY18" fmla="*/ 402430 h 809625"/>
              <a:gd name="connsiteX19" fmla="*/ 535876 w 809625"/>
              <a:gd name="connsiteY19" fmla="*/ 482631 h 809625"/>
              <a:gd name="connsiteX20" fmla="*/ 535876 w 809625"/>
              <a:gd name="connsiteY20" fmla="*/ 629602 h 809625"/>
              <a:gd name="connsiteX21" fmla="*/ 630174 w 809625"/>
              <a:gd name="connsiteY21" fmla="*/ 629602 h 809625"/>
              <a:gd name="connsiteX22" fmla="*/ 630174 w 809625"/>
              <a:gd name="connsiteY22" fmla="*/ 463771 h 809625"/>
              <a:gd name="connsiteX23" fmla="*/ 517493 w 809625"/>
              <a:gd name="connsiteY23" fmla="*/ 319849 h 809625"/>
              <a:gd name="connsiteX24" fmla="*/ 183927 w 809625"/>
              <a:gd name="connsiteY24" fmla="*/ 327278 h 809625"/>
              <a:gd name="connsiteX25" fmla="*/ 183927 w 809625"/>
              <a:gd name="connsiteY25" fmla="*/ 629602 h 809625"/>
              <a:gd name="connsiteX26" fmla="*/ 277939 w 809625"/>
              <a:gd name="connsiteY26" fmla="*/ 629602 h 809625"/>
              <a:gd name="connsiteX27" fmla="*/ 277939 w 809625"/>
              <a:gd name="connsiteY27" fmla="*/ 327278 h 809625"/>
              <a:gd name="connsiteX28" fmla="*/ 183927 w 809625"/>
              <a:gd name="connsiteY28" fmla="*/ 327278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230981" y="177069"/>
                </a:moveTo>
                <a:cubicBezTo>
                  <a:pt x="200891" y="177069"/>
                  <a:pt x="176498" y="201462"/>
                  <a:pt x="176498" y="231552"/>
                </a:cubicBezTo>
                <a:cubicBezTo>
                  <a:pt x="176498" y="261642"/>
                  <a:pt x="200891" y="286035"/>
                  <a:pt x="230981" y="286035"/>
                </a:cubicBezTo>
                <a:cubicBezTo>
                  <a:pt x="261071" y="286035"/>
                  <a:pt x="285464" y="261642"/>
                  <a:pt x="285464" y="231552"/>
                </a:cubicBezTo>
                <a:cubicBezTo>
                  <a:pt x="285464" y="201462"/>
                  <a:pt x="261071" y="177069"/>
                  <a:pt x="230981" y="177069"/>
                </a:cubicBezTo>
                <a:close/>
                <a:moveTo>
                  <a:pt x="517493" y="319849"/>
                </a:moveTo>
                <a:cubicBezTo>
                  <a:pt x="481146" y="318484"/>
                  <a:pt x="446996" y="337225"/>
                  <a:pt x="428625" y="368617"/>
                </a:cubicBezTo>
                <a:lnTo>
                  <a:pt x="426910" y="368617"/>
                </a:lnTo>
                <a:lnTo>
                  <a:pt x="426910" y="327278"/>
                </a:lnTo>
                <a:lnTo>
                  <a:pt x="336899" y="327278"/>
                </a:lnTo>
                <a:lnTo>
                  <a:pt x="336899" y="629602"/>
                </a:lnTo>
                <a:lnTo>
                  <a:pt x="430720" y="629602"/>
                </a:lnTo>
                <a:lnTo>
                  <a:pt x="430720" y="480059"/>
                </a:lnTo>
                <a:cubicBezTo>
                  <a:pt x="430720" y="440530"/>
                  <a:pt x="438912" y="402430"/>
                  <a:pt x="487108" y="402430"/>
                </a:cubicBezTo>
                <a:cubicBezTo>
                  <a:pt x="535305" y="402430"/>
                  <a:pt x="535876" y="447579"/>
                  <a:pt x="535876" y="482631"/>
                </a:cubicBezTo>
                <a:lnTo>
                  <a:pt x="535876" y="629602"/>
                </a:lnTo>
                <a:lnTo>
                  <a:pt x="630174" y="629602"/>
                </a:lnTo>
                <a:lnTo>
                  <a:pt x="630174" y="463771"/>
                </a:lnTo>
                <a:cubicBezTo>
                  <a:pt x="630174" y="382428"/>
                  <a:pt x="612743" y="319849"/>
                  <a:pt x="517493" y="319849"/>
                </a:cubicBezTo>
                <a:close/>
                <a:moveTo>
                  <a:pt x="183927" y="327278"/>
                </a:moveTo>
                <a:lnTo>
                  <a:pt x="183927" y="629602"/>
                </a:lnTo>
                <a:lnTo>
                  <a:pt x="277939" y="629602"/>
                </a:lnTo>
                <a:lnTo>
                  <a:pt x="277939" y="327278"/>
                </a:lnTo>
                <a:lnTo>
                  <a:pt x="183927" y="32727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1" name="Freeform: Shape 10">
            <a:hlinkClick r:id="rId7"/>
            <a:extLst>
              <a:ext uri="{FF2B5EF4-FFF2-40B4-BE49-F238E27FC236}">
                <a16:creationId xmlns:a16="http://schemas.microsoft.com/office/drawing/2014/main" id="{F1F78FC3-536A-4C34-B2A3-95085DF38A8D}"/>
              </a:ext>
            </a:extLst>
          </p:cNvPr>
          <p:cNvSpPr>
            <a:spLocks noChangeAspect="1"/>
          </p:cNvSpPr>
          <p:nvPr/>
        </p:nvSpPr>
        <p:spPr>
          <a:xfrm>
            <a:off x="9063685" y="4591756"/>
            <a:ext cx="242382" cy="242382"/>
          </a:xfrm>
          <a:custGeom>
            <a:avLst/>
            <a:gdLst>
              <a:gd name="connsiteX0" fmla="*/ 404812 w 809625"/>
              <a:gd name="connsiteY0" fmla="*/ 288417 h 809625"/>
              <a:gd name="connsiteX1" fmla="*/ 288417 w 809625"/>
              <a:gd name="connsiteY1" fmla="*/ 404812 h 809625"/>
              <a:gd name="connsiteX2" fmla="*/ 404812 w 809625"/>
              <a:gd name="connsiteY2" fmla="*/ 521208 h 809625"/>
              <a:gd name="connsiteX3" fmla="*/ 521208 w 809625"/>
              <a:gd name="connsiteY3" fmla="*/ 404812 h 809625"/>
              <a:gd name="connsiteX4" fmla="*/ 404812 w 809625"/>
              <a:gd name="connsiteY4" fmla="*/ 288417 h 809625"/>
              <a:gd name="connsiteX5" fmla="*/ 525780 w 809625"/>
              <a:gd name="connsiteY5" fmla="*/ 256603 h 809625"/>
              <a:gd name="connsiteX6" fmla="*/ 498538 w 809625"/>
              <a:gd name="connsiteY6" fmla="*/ 283844 h 809625"/>
              <a:gd name="connsiteX7" fmla="*/ 525780 w 809625"/>
              <a:gd name="connsiteY7" fmla="*/ 311086 h 809625"/>
              <a:gd name="connsiteX8" fmla="*/ 553021 w 809625"/>
              <a:gd name="connsiteY8" fmla="*/ 283844 h 809625"/>
              <a:gd name="connsiteX9" fmla="*/ 525780 w 809625"/>
              <a:gd name="connsiteY9" fmla="*/ 256603 h 809625"/>
              <a:gd name="connsiteX10" fmla="*/ 404812 w 809625"/>
              <a:gd name="connsiteY10" fmla="*/ 219075 h 809625"/>
              <a:gd name="connsiteX11" fmla="*/ 496443 w 809625"/>
              <a:gd name="connsiteY11" fmla="*/ 220408 h 809625"/>
              <a:gd name="connsiteX12" fmla="*/ 538543 w 809625"/>
              <a:gd name="connsiteY12" fmla="*/ 228218 h 809625"/>
              <a:gd name="connsiteX13" fmla="*/ 581501 w 809625"/>
              <a:gd name="connsiteY13" fmla="*/ 271176 h 809625"/>
              <a:gd name="connsiteX14" fmla="*/ 589311 w 809625"/>
              <a:gd name="connsiteY14" fmla="*/ 313277 h 809625"/>
              <a:gd name="connsiteX15" fmla="*/ 590645 w 809625"/>
              <a:gd name="connsiteY15" fmla="*/ 404907 h 809625"/>
              <a:gd name="connsiteX16" fmla="*/ 589311 w 809625"/>
              <a:gd name="connsiteY16" fmla="*/ 496538 h 809625"/>
              <a:gd name="connsiteX17" fmla="*/ 581501 w 809625"/>
              <a:gd name="connsiteY17" fmla="*/ 538638 h 809625"/>
              <a:gd name="connsiteX18" fmla="*/ 538543 w 809625"/>
              <a:gd name="connsiteY18" fmla="*/ 581596 h 809625"/>
              <a:gd name="connsiteX19" fmla="*/ 496443 w 809625"/>
              <a:gd name="connsiteY19" fmla="*/ 589406 h 809625"/>
              <a:gd name="connsiteX20" fmla="*/ 404812 w 809625"/>
              <a:gd name="connsiteY20" fmla="*/ 590740 h 809625"/>
              <a:gd name="connsiteX21" fmla="*/ 313182 w 809625"/>
              <a:gd name="connsiteY21" fmla="*/ 589407 h 809625"/>
              <a:gd name="connsiteX22" fmla="*/ 271081 w 809625"/>
              <a:gd name="connsiteY22" fmla="*/ 581596 h 809625"/>
              <a:gd name="connsiteX23" fmla="*/ 228600 w 809625"/>
              <a:gd name="connsiteY23" fmla="*/ 538543 h 809625"/>
              <a:gd name="connsiteX24" fmla="*/ 220789 w 809625"/>
              <a:gd name="connsiteY24" fmla="*/ 496443 h 809625"/>
              <a:gd name="connsiteX25" fmla="*/ 219075 w 809625"/>
              <a:gd name="connsiteY25" fmla="*/ 404812 h 809625"/>
              <a:gd name="connsiteX26" fmla="*/ 220408 w 809625"/>
              <a:gd name="connsiteY26" fmla="*/ 313182 h 809625"/>
              <a:gd name="connsiteX27" fmla="*/ 228600 w 809625"/>
              <a:gd name="connsiteY27" fmla="*/ 271081 h 809625"/>
              <a:gd name="connsiteX28" fmla="*/ 271081 w 809625"/>
              <a:gd name="connsiteY28" fmla="*/ 228600 h 809625"/>
              <a:gd name="connsiteX29" fmla="*/ 313181 w 809625"/>
              <a:gd name="connsiteY29" fmla="*/ 220789 h 809625"/>
              <a:gd name="connsiteX30" fmla="*/ 404812 w 809625"/>
              <a:gd name="connsiteY30" fmla="*/ 219075 h 809625"/>
              <a:gd name="connsiteX31" fmla="*/ 405669 w 809625"/>
              <a:gd name="connsiteY31" fmla="*/ 177736 h 809625"/>
              <a:gd name="connsiteX32" fmla="*/ 404812 w 809625"/>
              <a:gd name="connsiteY32" fmla="*/ 178212 h 809625"/>
              <a:gd name="connsiteX33" fmla="*/ 311372 w 809625"/>
              <a:gd name="connsiteY33" fmla="*/ 179546 h 809625"/>
              <a:gd name="connsiteX34" fmla="*/ 256317 w 809625"/>
              <a:gd name="connsiteY34" fmla="*/ 190500 h 809625"/>
              <a:gd name="connsiteX35" fmla="*/ 189642 w 809625"/>
              <a:gd name="connsiteY35" fmla="*/ 257175 h 809625"/>
              <a:gd name="connsiteX36" fmla="*/ 179069 w 809625"/>
              <a:gd name="connsiteY36" fmla="*/ 312229 h 809625"/>
              <a:gd name="connsiteX37" fmla="*/ 177736 w 809625"/>
              <a:gd name="connsiteY37" fmla="*/ 405669 h 809625"/>
              <a:gd name="connsiteX38" fmla="*/ 179069 w 809625"/>
              <a:gd name="connsiteY38" fmla="*/ 499110 h 809625"/>
              <a:gd name="connsiteX39" fmla="*/ 190500 w 809625"/>
              <a:gd name="connsiteY39" fmla="*/ 553307 h 809625"/>
              <a:gd name="connsiteX40" fmla="*/ 257175 w 809625"/>
              <a:gd name="connsiteY40" fmla="*/ 619982 h 809625"/>
              <a:gd name="connsiteX41" fmla="*/ 312229 w 809625"/>
              <a:gd name="connsiteY41" fmla="*/ 630554 h 809625"/>
              <a:gd name="connsiteX42" fmla="*/ 405669 w 809625"/>
              <a:gd name="connsiteY42" fmla="*/ 631888 h 809625"/>
              <a:gd name="connsiteX43" fmla="*/ 499110 w 809625"/>
              <a:gd name="connsiteY43" fmla="*/ 630554 h 809625"/>
              <a:gd name="connsiteX44" fmla="*/ 554164 w 809625"/>
              <a:gd name="connsiteY44" fmla="*/ 619982 h 809625"/>
              <a:gd name="connsiteX45" fmla="*/ 620839 w 809625"/>
              <a:gd name="connsiteY45" fmla="*/ 553307 h 809625"/>
              <a:gd name="connsiteX46" fmla="*/ 631412 w 809625"/>
              <a:gd name="connsiteY46" fmla="*/ 498252 h 809625"/>
              <a:gd name="connsiteX47" fmla="*/ 632745 w 809625"/>
              <a:gd name="connsiteY47" fmla="*/ 404812 h 809625"/>
              <a:gd name="connsiteX48" fmla="*/ 631412 w 809625"/>
              <a:gd name="connsiteY48" fmla="*/ 311372 h 809625"/>
              <a:gd name="connsiteX49" fmla="*/ 620839 w 809625"/>
              <a:gd name="connsiteY49" fmla="*/ 256317 h 809625"/>
              <a:gd name="connsiteX50" fmla="*/ 554164 w 809625"/>
              <a:gd name="connsiteY50" fmla="*/ 189642 h 809625"/>
              <a:gd name="connsiteX51" fmla="*/ 499110 w 809625"/>
              <a:gd name="connsiteY51" fmla="*/ 179069 h 809625"/>
              <a:gd name="connsiteX52" fmla="*/ 405669 w 809625"/>
              <a:gd name="connsiteY52" fmla="*/ 177736 h 809625"/>
              <a:gd name="connsiteX53" fmla="*/ 404813 w 809625"/>
              <a:gd name="connsiteY53" fmla="*/ 0 h 809625"/>
              <a:gd name="connsiteX54" fmla="*/ 809625 w 809625"/>
              <a:gd name="connsiteY54" fmla="*/ 404813 h 809625"/>
              <a:gd name="connsiteX55" fmla="*/ 404813 w 809625"/>
              <a:gd name="connsiteY55" fmla="*/ 809625 h 809625"/>
              <a:gd name="connsiteX56" fmla="*/ 0 w 809625"/>
              <a:gd name="connsiteY56" fmla="*/ 404813 h 809625"/>
              <a:gd name="connsiteX57" fmla="*/ 404813 w 809625"/>
              <a:gd name="connsiteY57" fmla="*/ 0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809625" h="809625">
                <a:moveTo>
                  <a:pt x="404812" y="288417"/>
                </a:moveTo>
                <a:cubicBezTo>
                  <a:pt x="340529" y="288417"/>
                  <a:pt x="288417" y="340529"/>
                  <a:pt x="288417" y="404812"/>
                </a:cubicBezTo>
                <a:cubicBezTo>
                  <a:pt x="288417" y="469096"/>
                  <a:pt x="340529" y="521208"/>
                  <a:pt x="404812" y="521208"/>
                </a:cubicBezTo>
                <a:cubicBezTo>
                  <a:pt x="469096" y="521208"/>
                  <a:pt x="521208" y="469096"/>
                  <a:pt x="521208" y="404812"/>
                </a:cubicBezTo>
                <a:cubicBezTo>
                  <a:pt x="521208" y="340529"/>
                  <a:pt x="469096" y="288417"/>
                  <a:pt x="404812" y="288417"/>
                </a:cubicBezTo>
                <a:close/>
                <a:moveTo>
                  <a:pt x="525780" y="256603"/>
                </a:moveTo>
                <a:cubicBezTo>
                  <a:pt x="510734" y="256603"/>
                  <a:pt x="498538" y="268799"/>
                  <a:pt x="498538" y="283844"/>
                </a:cubicBezTo>
                <a:cubicBezTo>
                  <a:pt x="498538" y="298890"/>
                  <a:pt x="510734" y="311086"/>
                  <a:pt x="525780" y="311086"/>
                </a:cubicBezTo>
                <a:cubicBezTo>
                  <a:pt x="540825" y="311086"/>
                  <a:pt x="553021" y="298890"/>
                  <a:pt x="553021" y="283844"/>
                </a:cubicBezTo>
                <a:cubicBezTo>
                  <a:pt x="553021" y="268799"/>
                  <a:pt x="540825" y="256603"/>
                  <a:pt x="525780" y="256603"/>
                </a:cubicBezTo>
                <a:close/>
                <a:moveTo>
                  <a:pt x="404812" y="219075"/>
                </a:moveTo>
                <a:cubicBezTo>
                  <a:pt x="465296" y="219075"/>
                  <a:pt x="472535" y="219075"/>
                  <a:pt x="496443" y="220408"/>
                </a:cubicBezTo>
                <a:cubicBezTo>
                  <a:pt x="510824" y="220533"/>
                  <a:pt x="525073" y="223177"/>
                  <a:pt x="538543" y="228218"/>
                </a:cubicBezTo>
                <a:cubicBezTo>
                  <a:pt x="558257" y="235874"/>
                  <a:pt x="573845" y="251463"/>
                  <a:pt x="581501" y="271176"/>
                </a:cubicBezTo>
                <a:cubicBezTo>
                  <a:pt x="586542" y="284646"/>
                  <a:pt x="589186" y="298895"/>
                  <a:pt x="589311" y="313277"/>
                </a:cubicBezTo>
                <a:cubicBezTo>
                  <a:pt x="590454" y="337185"/>
                  <a:pt x="590645" y="344424"/>
                  <a:pt x="590645" y="404907"/>
                </a:cubicBezTo>
                <a:cubicBezTo>
                  <a:pt x="590645" y="465391"/>
                  <a:pt x="590645" y="472630"/>
                  <a:pt x="589311" y="496538"/>
                </a:cubicBezTo>
                <a:cubicBezTo>
                  <a:pt x="589186" y="510920"/>
                  <a:pt x="586543" y="525168"/>
                  <a:pt x="581501" y="538638"/>
                </a:cubicBezTo>
                <a:cubicBezTo>
                  <a:pt x="573845" y="558352"/>
                  <a:pt x="558257" y="573940"/>
                  <a:pt x="538543" y="581596"/>
                </a:cubicBezTo>
                <a:cubicBezTo>
                  <a:pt x="525073" y="586638"/>
                  <a:pt x="510824" y="589281"/>
                  <a:pt x="496443" y="589406"/>
                </a:cubicBezTo>
                <a:cubicBezTo>
                  <a:pt x="472535" y="590550"/>
                  <a:pt x="465391" y="590740"/>
                  <a:pt x="404812" y="590740"/>
                </a:cubicBezTo>
                <a:cubicBezTo>
                  <a:pt x="344233" y="590740"/>
                  <a:pt x="337089" y="590740"/>
                  <a:pt x="313182" y="589407"/>
                </a:cubicBezTo>
                <a:cubicBezTo>
                  <a:pt x="298800" y="589281"/>
                  <a:pt x="284551" y="586638"/>
                  <a:pt x="271081" y="581596"/>
                </a:cubicBezTo>
                <a:cubicBezTo>
                  <a:pt x="251529" y="573808"/>
                  <a:pt x="236125" y="558197"/>
                  <a:pt x="228600" y="538543"/>
                </a:cubicBezTo>
                <a:cubicBezTo>
                  <a:pt x="223558" y="525073"/>
                  <a:pt x="220914" y="510824"/>
                  <a:pt x="220789" y="496443"/>
                </a:cubicBezTo>
                <a:cubicBezTo>
                  <a:pt x="219075" y="472535"/>
                  <a:pt x="219075" y="465296"/>
                  <a:pt x="219075" y="404812"/>
                </a:cubicBezTo>
                <a:cubicBezTo>
                  <a:pt x="219075" y="344328"/>
                  <a:pt x="219075" y="337089"/>
                  <a:pt x="220408" y="313182"/>
                </a:cubicBezTo>
                <a:cubicBezTo>
                  <a:pt x="220655" y="298777"/>
                  <a:pt x="223428" y="284527"/>
                  <a:pt x="228600" y="271081"/>
                </a:cubicBezTo>
                <a:cubicBezTo>
                  <a:pt x="236258" y="251643"/>
                  <a:pt x="251643" y="236258"/>
                  <a:pt x="271081" y="228600"/>
                </a:cubicBezTo>
                <a:cubicBezTo>
                  <a:pt x="284551" y="223558"/>
                  <a:pt x="298800" y="220914"/>
                  <a:pt x="313181" y="220789"/>
                </a:cubicBezTo>
                <a:cubicBezTo>
                  <a:pt x="337089" y="219075"/>
                  <a:pt x="344328" y="219075"/>
                  <a:pt x="404812" y="219075"/>
                </a:cubicBezTo>
                <a:close/>
                <a:moveTo>
                  <a:pt x="405669" y="177736"/>
                </a:moveTo>
                <a:lnTo>
                  <a:pt x="404812" y="178212"/>
                </a:lnTo>
                <a:cubicBezTo>
                  <a:pt x="343281" y="178212"/>
                  <a:pt x="335565" y="178212"/>
                  <a:pt x="311372" y="179546"/>
                </a:cubicBezTo>
                <a:cubicBezTo>
                  <a:pt x="292533" y="180057"/>
                  <a:pt x="273917" y="183760"/>
                  <a:pt x="256317" y="190500"/>
                </a:cubicBezTo>
                <a:cubicBezTo>
                  <a:pt x="225602" y="202200"/>
                  <a:pt x="201343" y="226459"/>
                  <a:pt x="189642" y="257175"/>
                </a:cubicBezTo>
                <a:cubicBezTo>
                  <a:pt x="183033" y="274797"/>
                  <a:pt x="179458" y="293412"/>
                  <a:pt x="179069" y="312229"/>
                </a:cubicBezTo>
                <a:cubicBezTo>
                  <a:pt x="178022" y="336423"/>
                  <a:pt x="177736" y="344138"/>
                  <a:pt x="177736" y="405669"/>
                </a:cubicBezTo>
                <a:cubicBezTo>
                  <a:pt x="177736" y="467201"/>
                  <a:pt x="177736" y="474916"/>
                  <a:pt x="179069" y="499110"/>
                </a:cubicBezTo>
                <a:cubicBezTo>
                  <a:pt x="179828" y="517687"/>
                  <a:pt x="183692" y="536005"/>
                  <a:pt x="190500" y="553307"/>
                </a:cubicBezTo>
                <a:cubicBezTo>
                  <a:pt x="202200" y="584022"/>
                  <a:pt x="226459" y="608281"/>
                  <a:pt x="257175" y="619982"/>
                </a:cubicBezTo>
                <a:cubicBezTo>
                  <a:pt x="274797" y="626591"/>
                  <a:pt x="293412" y="630165"/>
                  <a:pt x="312229" y="630554"/>
                </a:cubicBezTo>
                <a:cubicBezTo>
                  <a:pt x="336423" y="631602"/>
                  <a:pt x="344138" y="631888"/>
                  <a:pt x="405669" y="631888"/>
                </a:cubicBezTo>
                <a:cubicBezTo>
                  <a:pt x="467201" y="631888"/>
                  <a:pt x="474916" y="631888"/>
                  <a:pt x="499110" y="630554"/>
                </a:cubicBezTo>
                <a:cubicBezTo>
                  <a:pt x="517927" y="630165"/>
                  <a:pt x="536542" y="626591"/>
                  <a:pt x="554164" y="619982"/>
                </a:cubicBezTo>
                <a:cubicBezTo>
                  <a:pt x="584880" y="608281"/>
                  <a:pt x="609138" y="584022"/>
                  <a:pt x="620839" y="553307"/>
                </a:cubicBezTo>
                <a:cubicBezTo>
                  <a:pt x="627448" y="535684"/>
                  <a:pt x="631023" y="517069"/>
                  <a:pt x="631412" y="498252"/>
                </a:cubicBezTo>
                <a:cubicBezTo>
                  <a:pt x="632460" y="474059"/>
                  <a:pt x="632745" y="466344"/>
                  <a:pt x="632745" y="404812"/>
                </a:cubicBezTo>
                <a:cubicBezTo>
                  <a:pt x="632745" y="343281"/>
                  <a:pt x="632745" y="335565"/>
                  <a:pt x="631412" y="311372"/>
                </a:cubicBezTo>
                <a:cubicBezTo>
                  <a:pt x="631023" y="292555"/>
                  <a:pt x="627448" y="273940"/>
                  <a:pt x="620839" y="256317"/>
                </a:cubicBezTo>
                <a:cubicBezTo>
                  <a:pt x="609138" y="225602"/>
                  <a:pt x="584880" y="201343"/>
                  <a:pt x="554164" y="189642"/>
                </a:cubicBezTo>
                <a:cubicBezTo>
                  <a:pt x="536542" y="183033"/>
                  <a:pt x="517927" y="179458"/>
                  <a:pt x="499110" y="179069"/>
                </a:cubicBezTo>
                <a:cubicBezTo>
                  <a:pt x="474916" y="178022"/>
                  <a:pt x="467201" y="177736"/>
                  <a:pt x="405669" y="177736"/>
                </a:cubicBezTo>
                <a:close/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2" name="Freeform: Shape 11">
            <a:hlinkClick r:id="rId8"/>
            <a:extLst>
              <a:ext uri="{FF2B5EF4-FFF2-40B4-BE49-F238E27FC236}">
                <a16:creationId xmlns:a16="http://schemas.microsoft.com/office/drawing/2014/main" id="{37645F6A-EDD9-42D2-A01C-F8414798D57C}"/>
              </a:ext>
            </a:extLst>
          </p:cNvPr>
          <p:cNvSpPr>
            <a:spLocks noChangeAspect="1"/>
          </p:cNvSpPr>
          <p:nvPr/>
        </p:nvSpPr>
        <p:spPr>
          <a:xfrm>
            <a:off x="9446029" y="4591756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207835 w 809625"/>
              <a:gd name="connsiteY5" fmla="*/ 183451 h 809625"/>
              <a:gd name="connsiteX6" fmla="*/ 183451 w 809625"/>
              <a:gd name="connsiteY6" fmla="*/ 207835 h 809625"/>
              <a:gd name="connsiteX7" fmla="*/ 183451 w 809625"/>
              <a:gd name="connsiteY7" fmla="*/ 601789 h 809625"/>
              <a:gd name="connsiteX8" fmla="*/ 207835 w 809625"/>
              <a:gd name="connsiteY8" fmla="*/ 626173 h 809625"/>
              <a:gd name="connsiteX9" fmla="*/ 419957 w 809625"/>
              <a:gd name="connsiteY9" fmla="*/ 626173 h 809625"/>
              <a:gd name="connsiteX10" fmla="*/ 419957 w 809625"/>
              <a:gd name="connsiteY10" fmla="*/ 454723 h 809625"/>
              <a:gd name="connsiteX11" fmla="*/ 361950 w 809625"/>
              <a:gd name="connsiteY11" fmla="*/ 454723 h 809625"/>
              <a:gd name="connsiteX12" fmla="*/ 361950 w 809625"/>
              <a:gd name="connsiteY12" fmla="*/ 388048 h 809625"/>
              <a:gd name="connsiteX13" fmla="*/ 419671 w 809625"/>
              <a:gd name="connsiteY13" fmla="*/ 388048 h 809625"/>
              <a:gd name="connsiteX14" fmla="*/ 419671 w 809625"/>
              <a:gd name="connsiteY14" fmla="*/ 338613 h 809625"/>
              <a:gd name="connsiteX15" fmla="*/ 505396 w 809625"/>
              <a:gd name="connsiteY15" fmla="*/ 250317 h 809625"/>
              <a:gd name="connsiteX16" fmla="*/ 556926 w 809625"/>
              <a:gd name="connsiteY16" fmla="*/ 252984 h 809625"/>
              <a:gd name="connsiteX17" fmla="*/ 556926 w 809625"/>
              <a:gd name="connsiteY17" fmla="*/ 312705 h 809625"/>
              <a:gd name="connsiteX18" fmla="*/ 522065 w 809625"/>
              <a:gd name="connsiteY18" fmla="*/ 312705 h 809625"/>
              <a:gd name="connsiteX19" fmla="*/ 488918 w 809625"/>
              <a:gd name="connsiteY19" fmla="*/ 345281 h 809625"/>
              <a:gd name="connsiteX20" fmla="*/ 488918 w 809625"/>
              <a:gd name="connsiteY20" fmla="*/ 387953 h 809625"/>
              <a:gd name="connsiteX21" fmla="*/ 555593 w 809625"/>
              <a:gd name="connsiteY21" fmla="*/ 387953 h 809625"/>
              <a:gd name="connsiteX22" fmla="*/ 546925 w 809625"/>
              <a:gd name="connsiteY22" fmla="*/ 454628 h 809625"/>
              <a:gd name="connsiteX23" fmla="*/ 489775 w 809625"/>
              <a:gd name="connsiteY23" fmla="*/ 454628 h 809625"/>
              <a:gd name="connsiteX24" fmla="*/ 489775 w 809625"/>
              <a:gd name="connsiteY24" fmla="*/ 626078 h 809625"/>
              <a:gd name="connsiteX25" fmla="*/ 601789 w 809625"/>
              <a:gd name="connsiteY25" fmla="*/ 626078 h 809625"/>
              <a:gd name="connsiteX26" fmla="*/ 626173 w 809625"/>
              <a:gd name="connsiteY26" fmla="*/ 601694 h 809625"/>
              <a:gd name="connsiteX27" fmla="*/ 626173 w 809625"/>
              <a:gd name="connsiteY27" fmla="*/ 207835 h 809625"/>
              <a:gd name="connsiteX28" fmla="*/ 601789 w 809625"/>
              <a:gd name="connsiteY28" fmla="*/ 183451 h 809625"/>
              <a:gd name="connsiteX29" fmla="*/ 207835 w 809625"/>
              <a:gd name="connsiteY29" fmla="*/ 183451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207835" y="183451"/>
                </a:moveTo>
                <a:cubicBezTo>
                  <a:pt x="194368" y="183451"/>
                  <a:pt x="183451" y="194368"/>
                  <a:pt x="183451" y="207835"/>
                </a:cubicBezTo>
                <a:lnTo>
                  <a:pt x="183451" y="601789"/>
                </a:lnTo>
                <a:cubicBezTo>
                  <a:pt x="183451" y="615256"/>
                  <a:pt x="194368" y="626173"/>
                  <a:pt x="207835" y="626173"/>
                </a:cubicBezTo>
                <a:lnTo>
                  <a:pt x="419957" y="626173"/>
                </a:lnTo>
                <a:lnTo>
                  <a:pt x="419957" y="454723"/>
                </a:lnTo>
                <a:lnTo>
                  <a:pt x="361950" y="454723"/>
                </a:lnTo>
                <a:lnTo>
                  <a:pt x="361950" y="388048"/>
                </a:lnTo>
                <a:lnTo>
                  <a:pt x="419671" y="388048"/>
                </a:lnTo>
                <a:lnTo>
                  <a:pt x="419671" y="338613"/>
                </a:lnTo>
                <a:cubicBezTo>
                  <a:pt x="419671" y="281463"/>
                  <a:pt x="454533" y="250317"/>
                  <a:pt x="505396" y="250317"/>
                </a:cubicBezTo>
                <a:cubicBezTo>
                  <a:pt x="522609" y="250238"/>
                  <a:pt x="539813" y="251128"/>
                  <a:pt x="556926" y="252984"/>
                </a:cubicBezTo>
                <a:lnTo>
                  <a:pt x="556926" y="312705"/>
                </a:lnTo>
                <a:lnTo>
                  <a:pt x="522065" y="312705"/>
                </a:lnTo>
                <a:cubicBezTo>
                  <a:pt x="494252" y="312705"/>
                  <a:pt x="488918" y="325945"/>
                  <a:pt x="488918" y="345281"/>
                </a:cubicBezTo>
                <a:lnTo>
                  <a:pt x="488918" y="387953"/>
                </a:lnTo>
                <a:lnTo>
                  <a:pt x="555593" y="387953"/>
                </a:lnTo>
                <a:lnTo>
                  <a:pt x="546925" y="454628"/>
                </a:lnTo>
                <a:lnTo>
                  <a:pt x="489775" y="454628"/>
                </a:lnTo>
                <a:lnTo>
                  <a:pt x="489775" y="626078"/>
                </a:lnTo>
                <a:lnTo>
                  <a:pt x="601789" y="626078"/>
                </a:lnTo>
                <a:cubicBezTo>
                  <a:pt x="615256" y="626078"/>
                  <a:pt x="626173" y="615161"/>
                  <a:pt x="626173" y="601694"/>
                </a:cubicBezTo>
                <a:lnTo>
                  <a:pt x="626173" y="207835"/>
                </a:lnTo>
                <a:cubicBezTo>
                  <a:pt x="626173" y="194368"/>
                  <a:pt x="615256" y="183451"/>
                  <a:pt x="601789" y="183451"/>
                </a:cubicBezTo>
                <a:lnTo>
                  <a:pt x="207835" y="183451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431142651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10801351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5EE857-4C7E-47C5-A433-5F303A10690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964" y="1413375"/>
            <a:ext cx="10801350" cy="72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D1ECE4F1-33EB-4137-BED8-59885BB39C47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334963" y="2243442"/>
            <a:ext cx="10801350" cy="3599999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778F5DE-1344-42BD-82D0-6611DD7B1FC6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D0D518F-1062-474E-BA48-10EA56B2C55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2C63567-251B-4660-ADF6-37AB6DCF01D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20556134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D583ABC-22A1-400D-B5EB-018BF7A1B892}"/>
              </a:ext>
            </a:extLst>
          </p:cNvPr>
          <p:cNvSpPr/>
          <p:nvPr userDrawn="1"/>
        </p:nvSpPr>
        <p:spPr>
          <a:xfrm>
            <a:off x="0" y="0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10794666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5EE857-4C7E-47C5-A433-5F303A10690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963" y="1413375"/>
            <a:ext cx="10794665" cy="72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3" name="Table Placeholder 12">
            <a:extLst>
              <a:ext uri="{FF2B5EF4-FFF2-40B4-BE49-F238E27FC236}">
                <a16:creationId xmlns:a16="http://schemas.microsoft.com/office/drawing/2014/main" id="{12720170-841B-4714-B671-AE40B2FE0283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334963" y="2243443"/>
            <a:ext cx="10794665" cy="3600000"/>
          </a:xfrm>
        </p:spPr>
        <p:txBody>
          <a:bodyPr anchor="ctr" anchorCtr="0"/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4E7EDCB-670C-46CB-A20E-159535CC5C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D18779D-2EB2-4254-A93E-7459659F2BB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8B347AD-5E50-42AC-AFB4-7F625291AB6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2FA6FFA2-47D4-767C-57CD-472CB83562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170" y="303442"/>
            <a:ext cx="979715" cy="43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024917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C60C8A8-1B70-4653-94B4-DE00B5C785B3}"/>
              </a:ext>
            </a:extLst>
          </p:cNvPr>
          <p:cNvSpPr/>
          <p:nvPr userDrawn="1"/>
        </p:nvSpPr>
        <p:spPr>
          <a:xfrm>
            <a:off x="0" y="0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10801351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5EE857-4C7E-47C5-A433-5F303A10690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964" y="1413375"/>
            <a:ext cx="10801350" cy="72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D1ECE4F1-33EB-4137-BED8-59885BB39C47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334963" y="2243442"/>
            <a:ext cx="10801350" cy="3599999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778F5DE-1344-42BD-82D0-6611DD7B1FC6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D0D518F-1062-474E-BA48-10EA56B2C55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2C63567-251B-4660-ADF6-37AB6DCF01D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55A299A2-94E0-10F6-A195-57A32A7EF3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170" y="303442"/>
            <a:ext cx="979715" cy="43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8169285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76849F14-4971-4208-82A8-1F0513897926}"/>
              </a:ext>
            </a:extLst>
          </p:cNvPr>
          <p:cNvSpPr/>
          <p:nvPr userDrawn="1"/>
        </p:nvSpPr>
        <p:spPr>
          <a:xfrm>
            <a:off x="719400" y="-2"/>
            <a:ext cx="107532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096AA35B-6D3E-4809-9D78-9CF31081E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9400" y="-2"/>
            <a:ext cx="4680000" cy="4068000"/>
          </a:xfrm>
          <a:solidFill>
            <a:schemeClr val="tx2"/>
          </a:solidFill>
        </p:spPr>
        <p:txBody>
          <a:bodyPr lIns="342000" tIns="342000" rIns="0" bIns="504000" anchor="b" anchorCtr="0"/>
          <a:lstStyle>
            <a:lvl1pPr>
              <a:defRPr sz="4500">
                <a:solidFill>
                  <a:schemeClr val="accent1"/>
                </a:solidFill>
              </a:defRPr>
            </a:lvl1pPr>
          </a:lstStyle>
          <a:p>
            <a:r>
              <a:rPr lang="en-US"/>
              <a:t>Thank you</a:t>
            </a:r>
            <a:endParaRPr lang="en-AU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FD95F930-CD55-469B-9FD0-1150DA73B39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-2"/>
            <a:ext cx="12192000" cy="6876000"/>
          </a:xfrm>
          <a:custGeom>
            <a:avLst/>
            <a:gdLst>
              <a:gd name="connsiteX0" fmla="*/ 114726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472600 w 12192000"/>
              <a:gd name="connsiteY3" fmla="*/ 6858000 h 6858000"/>
              <a:gd name="connsiteX4" fmla="*/ 0 w 12192000"/>
              <a:gd name="connsiteY4" fmla="*/ 0 h 6858000"/>
              <a:gd name="connsiteX5" fmla="*/ 719400 w 12192000"/>
              <a:gd name="connsiteY5" fmla="*/ 0 h 6858000"/>
              <a:gd name="connsiteX6" fmla="*/ 7194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14726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472600" y="6858000"/>
                </a:lnTo>
                <a:close/>
                <a:moveTo>
                  <a:pt x="0" y="0"/>
                </a:moveTo>
                <a:lnTo>
                  <a:pt x="719400" y="0"/>
                </a:lnTo>
                <a:lnTo>
                  <a:pt x="7194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08000" tIns="108000" rIns="115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F8BC909C-567D-4F9C-A0DF-D05DE8F82075}"/>
              </a:ext>
            </a:extLst>
          </p:cNvPr>
          <p:cNvSpPr>
            <a:spLocks noChangeAspect="1"/>
          </p:cNvSpPr>
          <p:nvPr/>
        </p:nvSpPr>
        <p:spPr>
          <a:xfrm>
            <a:off x="7916652" y="4591756"/>
            <a:ext cx="242382" cy="242382"/>
          </a:xfrm>
          <a:custGeom>
            <a:avLst/>
            <a:gdLst>
              <a:gd name="connsiteX0" fmla="*/ 357950 w 809625"/>
              <a:gd name="connsiteY0" fmla="*/ 333375 h 809625"/>
              <a:gd name="connsiteX1" fmla="*/ 480537 w 809625"/>
              <a:gd name="connsiteY1" fmla="*/ 397002 h 809625"/>
              <a:gd name="connsiteX2" fmla="*/ 357950 w 809625"/>
              <a:gd name="connsiteY2" fmla="*/ 460439 h 809625"/>
              <a:gd name="connsiteX3" fmla="*/ 242887 w 809625"/>
              <a:gd name="connsiteY3" fmla="*/ 249555 h 809625"/>
              <a:gd name="connsiteX4" fmla="*/ 178117 w 809625"/>
              <a:gd name="connsiteY4" fmla="*/ 314325 h 809625"/>
              <a:gd name="connsiteX5" fmla="*/ 178117 w 809625"/>
              <a:gd name="connsiteY5" fmla="*/ 495300 h 809625"/>
              <a:gd name="connsiteX6" fmla="*/ 242887 w 809625"/>
              <a:gd name="connsiteY6" fmla="*/ 560070 h 809625"/>
              <a:gd name="connsiteX7" fmla="*/ 566737 w 809625"/>
              <a:gd name="connsiteY7" fmla="*/ 560070 h 809625"/>
              <a:gd name="connsiteX8" fmla="*/ 631507 w 809625"/>
              <a:gd name="connsiteY8" fmla="*/ 495300 h 809625"/>
              <a:gd name="connsiteX9" fmla="*/ 631507 w 809625"/>
              <a:gd name="connsiteY9" fmla="*/ 314325 h 809625"/>
              <a:gd name="connsiteX10" fmla="*/ 566737 w 809625"/>
              <a:gd name="connsiteY10" fmla="*/ 249555 h 809625"/>
              <a:gd name="connsiteX11" fmla="*/ 404813 w 809625"/>
              <a:gd name="connsiteY11" fmla="*/ 0 h 809625"/>
              <a:gd name="connsiteX12" fmla="*/ 809625 w 809625"/>
              <a:gd name="connsiteY12" fmla="*/ 404813 h 809625"/>
              <a:gd name="connsiteX13" fmla="*/ 404813 w 809625"/>
              <a:gd name="connsiteY13" fmla="*/ 809625 h 809625"/>
              <a:gd name="connsiteX14" fmla="*/ 0 w 809625"/>
              <a:gd name="connsiteY14" fmla="*/ 404813 h 809625"/>
              <a:gd name="connsiteX15" fmla="*/ 404813 w 809625"/>
              <a:gd name="connsiteY15" fmla="*/ 0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809625" h="809625">
                <a:moveTo>
                  <a:pt x="357950" y="333375"/>
                </a:moveTo>
                <a:lnTo>
                  <a:pt x="480537" y="397002"/>
                </a:lnTo>
                <a:lnTo>
                  <a:pt x="357950" y="460439"/>
                </a:lnTo>
                <a:close/>
                <a:moveTo>
                  <a:pt x="242887" y="249555"/>
                </a:moveTo>
                <a:cubicBezTo>
                  <a:pt x="207159" y="249660"/>
                  <a:pt x="178222" y="278597"/>
                  <a:pt x="178117" y="314325"/>
                </a:cubicBezTo>
                <a:lnTo>
                  <a:pt x="178117" y="495300"/>
                </a:lnTo>
                <a:cubicBezTo>
                  <a:pt x="178222" y="531028"/>
                  <a:pt x="207159" y="559965"/>
                  <a:pt x="242887" y="560070"/>
                </a:cubicBezTo>
                <a:lnTo>
                  <a:pt x="566737" y="560070"/>
                </a:lnTo>
                <a:cubicBezTo>
                  <a:pt x="602465" y="559965"/>
                  <a:pt x="631402" y="531028"/>
                  <a:pt x="631507" y="495300"/>
                </a:cubicBezTo>
                <a:lnTo>
                  <a:pt x="631507" y="314325"/>
                </a:lnTo>
                <a:cubicBezTo>
                  <a:pt x="631402" y="278597"/>
                  <a:pt x="602465" y="249660"/>
                  <a:pt x="566737" y="249555"/>
                </a:cubicBezTo>
                <a:close/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2487C176-18A9-4BB0-BD80-DEC34233A800}"/>
              </a:ext>
            </a:extLst>
          </p:cNvPr>
          <p:cNvSpPr>
            <a:spLocks noChangeAspect="1"/>
          </p:cNvSpPr>
          <p:nvPr/>
        </p:nvSpPr>
        <p:spPr>
          <a:xfrm>
            <a:off x="8298996" y="4591756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495146 w 809625"/>
              <a:gd name="connsiteY5" fmla="*/ 220645 h 809625"/>
              <a:gd name="connsiteX6" fmla="*/ 428527 w 809625"/>
              <a:gd name="connsiteY6" fmla="*/ 245841 h 809625"/>
              <a:gd name="connsiteX7" fmla="*/ 399192 w 809625"/>
              <a:gd name="connsiteY7" fmla="*/ 313563 h 809625"/>
              <a:gd name="connsiteX8" fmla="*/ 401573 w 809625"/>
              <a:gd name="connsiteY8" fmla="*/ 334803 h 809625"/>
              <a:gd name="connsiteX9" fmla="*/ 209549 w 809625"/>
              <a:gd name="connsiteY9" fmla="*/ 238125 h 809625"/>
              <a:gd name="connsiteX10" fmla="*/ 238124 w 809625"/>
              <a:gd name="connsiteY10" fmla="*/ 361950 h 809625"/>
              <a:gd name="connsiteX11" fmla="*/ 195928 w 809625"/>
              <a:gd name="connsiteY11" fmla="*/ 350329 h 809625"/>
              <a:gd name="connsiteX12" fmla="*/ 195929 w 809625"/>
              <a:gd name="connsiteY12" fmla="*/ 351567 h 809625"/>
              <a:gd name="connsiteX13" fmla="*/ 270605 w 809625"/>
              <a:gd name="connsiteY13" fmla="*/ 442722 h 809625"/>
              <a:gd name="connsiteX14" fmla="*/ 228599 w 809625"/>
              <a:gd name="connsiteY14" fmla="*/ 444341 h 809625"/>
              <a:gd name="connsiteX15" fmla="*/ 315467 w 809625"/>
              <a:gd name="connsiteY15" fmla="*/ 508920 h 809625"/>
              <a:gd name="connsiteX16" fmla="*/ 200024 w 809625"/>
              <a:gd name="connsiteY16" fmla="*/ 548544 h 809625"/>
              <a:gd name="connsiteX17" fmla="*/ 177831 w 809625"/>
              <a:gd name="connsiteY17" fmla="*/ 547211 h 809625"/>
              <a:gd name="connsiteX18" fmla="*/ 320706 w 809625"/>
              <a:gd name="connsiteY18" fmla="*/ 589026 h 809625"/>
              <a:gd name="connsiteX19" fmla="*/ 585406 w 809625"/>
              <a:gd name="connsiteY19" fmla="*/ 324421 h 809625"/>
              <a:gd name="connsiteX20" fmla="*/ 585406 w 809625"/>
              <a:gd name="connsiteY20" fmla="*/ 312324 h 809625"/>
              <a:gd name="connsiteX21" fmla="*/ 631507 w 809625"/>
              <a:gd name="connsiteY21" fmla="*/ 264223 h 809625"/>
              <a:gd name="connsiteX22" fmla="*/ 578072 w 809625"/>
              <a:gd name="connsiteY22" fmla="*/ 278892 h 809625"/>
              <a:gd name="connsiteX23" fmla="*/ 619124 w 809625"/>
              <a:gd name="connsiteY23" fmla="*/ 227361 h 809625"/>
              <a:gd name="connsiteX24" fmla="*/ 560069 w 809625"/>
              <a:gd name="connsiteY24" fmla="*/ 249936 h 809625"/>
              <a:gd name="connsiteX25" fmla="*/ 495146 w 809625"/>
              <a:gd name="connsiteY25" fmla="*/ 220645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495146" y="220645"/>
                </a:moveTo>
                <a:cubicBezTo>
                  <a:pt x="471342" y="219904"/>
                  <a:pt x="447255" y="228245"/>
                  <a:pt x="428527" y="245841"/>
                </a:cubicBezTo>
                <a:cubicBezTo>
                  <a:pt x="409833" y="263407"/>
                  <a:pt x="399219" y="287911"/>
                  <a:pt x="399192" y="313563"/>
                </a:cubicBezTo>
                <a:cubicBezTo>
                  <a:pt x="399204" y="320709"/>
                  <a:pt x="400003" y="327832"/>
                  <a:pt x="401573" y="334803"/>
                </a:cubicBezTo>
                <a:cubicBezTo>
                  <a:pt x="326768" y="331204"/>
                  <a:pt x="256991" y="296073"/>
                  <a:pt x="209549" y="238125"/>
                </a:cubicBezTo>
                <a:cubicBezTo>
                  <a:pt x="185023" y="280491"/>
                  <a:pt x="197513" y="334615"/>
                  <a:pt x="238124" y="361950"/>
                </a:cubicBezTo>
                <a:cubicBezTo>
                  <a:pt x="223336" y="361482"/>
                  <a:pt x="208871" y="357499"/>
                  <a:pt x="195928" y="350329"/>
                </a:cubicBezTo>
                <a:lnTo>
                  <a:pt x="195929" y="351567"/>
                </a:lnTo>
                <a:cubicBezTo>
                  <a:pt x="195962" y="395849"/>
                  <a:pt x="227195" y="433974"/>
                  <a:pt x="270605" y="442722"/>
                </a:cubicBezTo>
                <a:cubicBezTo>
                  <a:pt x="256901" y="446399"/>
                  <a:pt x="242546" y="446952"/>
                  <a:pt x="228599" y="444341"/>
                </a:cubicBezTo>
                <a:cubicBezTo>
                  <a:pt x="240745" y="482243"/>
                  <a:pt x="275672" y="508209"/>
                  <a:pt x="315467" y="508920"/>
                </a:cubicBezTo>
                <a:cubicBezTo>
                  <a:pt x="282513" y="534690"/>
                  <a:pt x="241858" y="548644"/>
                  <a:pt x="200024" y="548544"/>
                </a:cubicBezTo>
                <a:cubicBezTo>
                  <a:pt x="192607" y="548536"/>
                  <a:pt x="185196" y="548091"/>
                  <a:pt x="177831" y="547211"/>
                </a:cubicBezTo>
                <a:cubicBezTo>
                  <a:pt x="220421" y="574649"/>
                  <a:pt x="270043" y="589172"/>
                  <a:pt x="320706" y="589026"/>
                </a:cubicBezTo>
                <a:cubicBezTo>
                  <a:pt x="492156" y="589026"/>
                  <a:pt x="585406" y="447294"/>
                  <a:pt x="585406" y="324421"/>
                </a:cubicBezTo>
                <a:cubicBezTo>
                  <a:pt x="585406" y="320325"/>
                  <a:pt x="585406" y="316325"/>
                  <a:pt x="585406" y="312324"/>
                </a:cubicBezTo>
                <a:cubicBezTo>
                  <a:pt x="603503" y="299151"/>
                  <a:pt x="619113" y="282863"/>
                  <a:pt x="631507" y="264223"/>
                </a:cubicBezTo>
                <a:cubicBezTo>
                  <a:pt x="614513" y="271713"/>
                  <a:pt x="596508" y="276656"/>
                  <a:pt x="578072" y="278892"/>
                </a:cubicBezTo>
                <a:cubicBezTo>
                  <a:pt x="597588" y="267302"/>
                  <a:pt x="612190" y="248974"/>
                  <a:pt x="619124" y="227361"/>
                </a:cubicBezTo>
                <a:cubicBezTo>
                  <a:pt x="600877" y="238213"/>
                  <a:pt x="580902" y="245848"/>
                  <a:pt x="560069" y="249936"/>
                </a:cubicBezTo>
                <a:cubicBezTo>
                  <a:pt x="542473" y="231209"/>
                  <a:pt x="518951" y="221387"/>
                  <a:pt x="495146" y="22064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41393088-2A2D-4F19-A536-4C5B46718A69}"/>
              </a:ext>
            </a:extLst>
          </p:cNvPr>
          <p:cNvSpPr>
            <a:spLocks noChangeAspect="1"/>
          </p:cNvSpPr>
          <p:nvPr/>
        </p:nvSpPr>
        <p:spPr>
          <a:xfrm>
            <a:off x="8681340" y="4591756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230981 w 809625"/>
              <a:gd name="connsiteY5" fmla="*/ 177069 h 809625"/>
              <a:gd name="connsiteX6" fmla="*/ 176498 w 809625"/>
              <a:gd name="connsiteY6" fmla="*/ 231552 h 809625"/>
              <a:gd name="connsiteX7" fmla="*/ 230981 w 809625"/>
              <a:gd name="connsiteY7" fmla="*/ 286035 h 809625"/>
              <a:gd name="connsiteX8" fmla="*/ 285464 w 809625"/>
              <a:gd name="connsiteY8" fmla="*/ 231552 h 809625"/>
              <a:gd name="connsiteX9" fmla="*/ 230981 w 809625"/>
              <a:gd name="connsiteY9" fmla="*/ 177069 h 809625"/>
              <a:gd name="connsiteX10" fmla="*/ 517493 w 809625"/>
              <a:gd name="connsiteY10" fmla="*/ 319849 h 809625"/>
              <a:gd name="connsiteX11" fmla="*/ 428625 w 809625"/>
              <a:gd name="connsiteY11" fmla="*/ 368617 h 809625"/>
              <a:gd name="connsiteX12" fmla="*/ 426910 w 809625"/>
              <a:gd name="connsiteY12" fmla="*/ 368617 h 809625"/>
              <a:gd name="connsiteX13" fmla="*/ 426910 w 809625"/>
              <a:gd name="connsiteY13" fmla="*/ 327278 h 809625"/>
              <a:gd name="connsiteX14" fmla="*/ 336899 w 809625"/>
              <a:gd name="connsiteY14" fmla="*/ 327278 h 809625"/>
              <a:gd name="connsiteX15" fmla="*/ 336899 w 809625"/>
              <a:gd name="connsiteY15" fmla="*/ 629602 h 809625"/>
              <a:gd name="connsiteX16" fmla="*/ 430720 w 809625"/>
              <a:gd name="connsiteY16" fmla="*/ 629602 h 809625"/>
              <a:gd name="connsiteX17" fmla="*/ 430720 w 809625"/>
              <a:gd name="connsiteY17" fmla="*/ 480059 h 809625"/>
              <a:gd name="connsiteX18" fmla="*/ 487108 w 809625"/>
              <a:gd name="connsiteY18" fmla="*/ 402430 h 809625"/>
              <a:gd name="connsiteX19" fmla="*/ 535876 w 809625"/>
              <a:gd name="connsiteY19" fmla="*/ 482631 h 809625"/>
              <a:gd name="connsiteX20" fmla="*/ 535876 w 809625"/>
              <a:gd name="connsiteY20" fmla="*/ 629602 h 809625"/>
              <a:gd name="connsiteX21" fmla="*/ 630174 w 809625"/>
              <a:gd name="connsiteY21" fmla="*/ 629602 h 809625"/>
              <a:gd name="connsiteX22" fmla="*/ 630174 w 809625"/>
              <a:gd name="connsiteY22" fmla="*/ 463771 h 809625"/>
              <a:gd name="connsiteX23" fmla="*/ 517493 w 809625"/>
              <a:gd name="connsiteY23" fmla="*/ 319849 h 809625"/>
              <a:gd name="connsiteX24" fmla="*/ 183927 w 809625"/>
              <a:gd name="connsiteY24" fmla="*/ 327278 h 809625"/>
              <a:gd name="connsiteX25" fmla="*/ 183927 w 809625"/>
              <a:gd name="connsiteY25" fmla="*/ 629602 h 809625"/>
              <a:gd name="connsiteX26" fmla="*/ 277939 w 809625"/>
              <a:gd name="connsiteY26" fmla="*/ 629602 h 809625"/>
              <a:gd name="connsiteX27" fmla="*/ 277939 w 809625"/>
              <a:gd name="connsiteY27" fmla="*/ 327278 h 809625"/>
              <a:gd name="connsiteX28" fmla="*/ 183927 w 809625"/>
              <a:gd name="connsiteY28" fmla="*/ 327278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230981" y="177069"/>
                </a:moveTo>
                <a:cubicBezTo>
                  <a:pt x="200891" y="177069"/>
                  <a:pt x="176498" y="201462"/>
                  <a:pt x="176498" y="231552"/>
                </a:cubicBezTo>
                <a:cubicBezTo>
                  <a:pt x="176498" y="261642"/>
                  <a:pt x="200891" y="286035"/>
                  <a:pt x="230981" y="286035"/>
                </a:cubicBezTo>
                <a:cubicBezTo>
                  <a:pt x="261071" y="286035"/>
                  <a:pt x="285464" y="261642"/>
                  <a:pt x="285464" y="231552"/>
                </a:cubicBezTo>
                <a:cubicBezTo>
                  <a:pt x="285464" y="201462"/>
                  <a:pt x="261071" y="177069"/>
                  <a:pt x="230981" y="177069"/>
                </a:cubicBezTo>
                <a:close/>
                <a:moveTo>
                  <a:pt x="517493" y="319849"/>
                </a:moveTo>
                <a:cubicBezTo>
                  <a:pt x="481146" y="318484"/>
                  <a:pt x="446996" y="337225"/>
                  <a:pt x="428625" y="368617"/>
                </a:cubicBezTo>
                <a:lnTo>
                  <a:pt x="426910" y="368617"/>
                </a:lnTo>
                <a:lnTo>
                  <a:pt x="426910" y="327278"/>
                </a:lnTo>
                <a:lnTo>
                  <a:pt x="336899" y="327278"/>
                </a:lnTo>
                <a:lnTo>
                  <a:pt x="336899" y="629602"/>
                </a:lnTo>
                <a:lnTo>
                  <a:pt x="430720" y="629602"/>
                </a:lnTo>
                <a:lnTo>
                  <a:pt x="430720" y="480059"/>
                </a:lnTo>
                <a:cubicBezTo>
                  <a:pt x="430720" y="440530"/>
                  <a:pt x="438912" y="402430"/>
                  <a:pt x="487108" y="402430"/>
                </a:cubicBezTo>
                <a:cubicBezTo>
                  <a:pt x="535305" y="402430"/>
                  <a:pt x="535876" y="447579"/>
                  <a:pt x="535876" y="482631"/>
                </a:cubicBezTo>
                <a:lnTo>
                  <a:pt x="535876" y="629602"/>
                </a:lnTo>
                <a:lnTo>
                  <a:pt x="630174" y="629602"/>
                </a:lnTo>
                <a:lnTo>
                  <a:pt x="630174" y="463771"/>
                </a:lnTo>
                <a:cubicBezTo>
                  <a:pt x="630174" y="382428"/>
                  <a:pt x="612743" y="319849"/>
                  <a:pt x="517493" y="319849"/>
                </a:cubicBezTo>
                <a:close/>
                <a:moveTo>
                  <a:pt x="183927" y="327278"/>
                </a:moveTo>
                <a:lnTo>
                  <a:pt x="183927" y="629602"/>
                </a:lnTo>
                <a:lnTo>
                  <a:pt x="277939" y="629602"/>
                </a:lnTo>
                <a:lnTo>
                  <a:pt x="277939" y="327278"/>
                </a:lnTo>
                <a:lnTo>
                  <a:pt x="183927" y="32727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F1F78FC3-536A-4C34-B2A3-95085DF38A8D}"/>
              </a:ext>
            </a:extLst>
          </p:cNvPr>
          <p:cNvSpPr>
            <a:spLocks noChangeAspect="1"/>
          </p:cNvSpPr>
          <p:nvPr/>
        </p:nvSpPr>
        <p:spPr>
          <a:xfrm>
            <a:off x="9063685" y="4591756"/>
            <a:ext cx="242382" cy="242382"/>
          </a:xfrm>
          <a:custGeom>
            <a:avLst/>
            <a:gdLst>
              <a:gd name="connsiteX0" fmla="*/ 404812 w 809625"/>
              <a:gd name="connsiteY0" fmla="*/ 288417 h 809625"/>
              <a:gd name="connsiteX1" fmla="*/ 288417 w 809625"/>
              <a:gd name="connsiteY1" fmla="*/ 404812 h 809625"/>
              <a:gd name="connsiteX2" fmla="*/ 404812 w 809625"/>
              <a:gd name="connsiteY2" fmla="*/ 521208 h 809625"/>
              <a:gd name="connsiteX3" fmla="*/ 521208 w 809625"/>
              <a:gd name="connsiteY3" fmla="*/ 404812 h 809625"/>
              <a:gd name="connsiteX4" fmla="*/ 404812 w 809625"/>
              <a:gd name="connsiteY4" fmla="*/ 288417 h 809625"/>
              <a:gd name="connsiteX5" fmla="*/ 525780 w 809625"/>
              <a:gd name="connsiteY5" fmla="*/ 256603 h 809625"/>
              <a:gd name="connsiteX6" fmla="*/ 498538 w 809625"/>
              <a:gd name="connsiteY6" fmla="*/ 283844 h 809625"/>
              <a:gd name="connsiteX7" fmla="*/ 525780 w 809625"/>
              <a:gd name="connsiteY7" fmla="*/ 311086 h 809625"/>
              <a:gd name="connsiteX8" fmla="*/ 553021 w 809625"/>
              <a:gd name="connsiteY8" fmla="*/ 283844 h 809625"/>
              <a:gd name="connsiteX9" fmla="*/ 525780 w 809625"/>
              <a:gd name="connsiteY9" fmla="*/ 256603 h 809625"/>
              <a:gd name="connsiteX10" fmla="*/ 404812 w 809625"/>
              <a:gd name="connsiteY10" fmla="*/ 219075 h 809625"/>
              <a:gd name="connsiteX11" fmla="*/ 496443 w 809625"/>
              <a:gd name="connsiteY11" fmla="*/ 220408 h 809625"/>
              <a:gd name="connsiteX12" fmla="*/ 538543 w 809625"/>
              <a:gd name="connsiteY12" fmla="*/ 228218 h 809625"/>
              <a:gd name="connsiteX13" fmla="*/ 581501 w 809625"/>
              <a:gd name="connsiteY13" fmla="*/ 271176 h 809625"/>
              <a:gd name="connsiteX14" fmla="*/ 589311 w 809625"/>
              <a:gd name="connsiteY14" fmla="*/ 313277 h 809625"/>
              <a:gd name="connsiteX15" fmla="*/ 590645 w 809625"/>
              <a:gd name="connsiteY15" fmla="*/ 404907 h 809625"/>
              <a:gd name="connsiteX16" fmla="*/ 589311 w 809625"/>
              <a:gd name="connsiteY16" fmla="*/ 496538 h 809625"/>
              <a:gd name="connsiteX17" fmla="*/ 581501 w 809625"/>
              <a:gd name="connsiteY17" fmla="*/ 538638 h 809625"/>
              <a:gd name="connsiteX18" fmla="*/ 538543 w 809625"/>
              <a:gd name="connsiteY18" fmla="*/ 581596 h 809625"/>
              <a:gd name="connsiteX19" fmla="*/ 496443 w 809625"/>
              <a:gd name="connsiteY19" fmla="*/ 589406 h 809625"/>
              <a:gd name="connsiteX20" fmla="*/ 404812 w 809625"/>
              <a:gd name="connsiteY20" fmla="*/ 590740 h 809625"/>
              <a:gd name="connsiteX21" fmla="*/ 313182 w 809625"/>
              <a:gd name="connsiteY21" fmla="*/ 589407 h 809625"/>
              <a:gd name="connsiteX22" fmla="*/ 271081 w 809625"/>
              <a:gd name="connsiteY22" fmla="*/ 581596 h 809625"/>
              <a:gd name="connsiteX23" fmla="*/ 228600 w 809625"/>
              <a:gd name="connsiteY23" fmla="*/ 538543 h 809625"/>
              <a:gd name="connsiteX24" fmla="*/ 220789 w 809625"/>
              <a:gd name="connsiteY24" fmla="*/ 496443 h 809625"/>
              <a:gd name="connsiteX25" fmla="*/ 219075 w 809625"/>
              <a:gd name="connsiteY25" fmla="*/ 404812 h 809625"/>
              <a:gd name="connsiteX26" fmla="*/ 220408 w 809625"/>
              <a:gd name="connsiteY26" fmla="*/ 313182 h 809625"/>
              <a:gd name="connsiteX27" fmla="*/ 228600 w 809625"/>
              <a:gd name="connsiteY27" fmla="*/ 271081 h 809625"/>
              <a:gd name="connsiteX28" fmla="*/ 271081 w 809625"/>
              <a:gd name="connsiteY28" fmla="*/ 228600 h 809625"/>
              <a:gd name="connsiteX29" fmla="*/ 313181 w 809625"/>
              <a:gd name="connsiteY29" fmla="*/ 220789 h 809625"/>
              <a:gd name="connsiteX30" fmla="*/ 404812 w 809625"/>
              <a:gd name="connsiteY30" fmla="*/ 219075 h 809625"/>
              <a:gd name="connsiteX31" fmla="*/ 405669 w 809625"/>
              <a:gd name="connsiteY31" fmla="*/ 177736 h 809625"/>
              <a:gd name="connsiteX32" fmla="*/ 404812 w 809625"/>
              <a:gd name="connsiteY32" fmla="*/ 178212 h 809625"/>
              <a:gd name="connsiteX33" fmla="*/ 311372 w 809625"/>
              <a:gd name="connsiteY33" fmla="*/ 179546 h 809625"/>
              <a:gd name="connsiteX34" fmla="*/ 256317 w 809625"/>
              <a:gd name="connsiteY34" fmla="*/ 190500 h 809625"/>
              <a:gd name="connsiteX35" fmla="*/ 189642 w 809625"/>
              <a:gd name="connsiteY35" fmla="*/ 257175 h 809625"/>
              <a:gd name="connsiteX36" fmla="*/ 179069 w 809625"/>
              <a:gd name="connsiteY36" fmla="*/ 312229 h 809625"/>
              <a:gd name="connsiteX37" fmla="*/ 177736 w 809625"/>
              <a:gd name="connsiteY37" fmla="*/ 405669 h 809625"/>
              <a:gd name="connsiteX38" fmla="*/ 179069 w 809625"/>
              <a:gd name="connsiteY38" fmla="*/ 499110 h 809625"/>
              <a:gd name="connsiteX39" fmla="*/ 190500 w 809625"/>
              <a:gd name="connsiteY39" fmla="*/ 553307 h 809625"/>
              <a:gd name="connsiteX40" fmla="*/ 257175 w 809625"/>
              <a:gd name="connsiteY40" fmla="*/ 619982 h 809625"/>
              <a:gd name="connsiteX41" fmla="*/ 312229 w 809625"/>
              <a:gd name="connsiteY41" fmla="*/ 630554 h 809625"/>
              <a:gd name="connsiteX42" fmla="*/ 405669 w 809625"/>
              <a:gd name="connsiteY42" fmla="*/ 631888 h 809625"/>
              <a:gd name="connsiteX43" fmla="*/ 499110 w 809625"/>
              <a:gd name="connsiteY43" fmla="*/ 630554 h 809625"/>
              <a:gd name="connsiteX44" fmla="*/ 554164 w 809625"/>
              <a:gd name="connsiteY44" fmla="*/ 619982 h 809625"/>
              <a:gd name="connsiteX45" fmla="*/ 620839 w 809625"/>
              <a:gd name="connsiteY45" fmla="*/ 553307 h 809625"/>
              <a:gd name="connsiteX46" fmla="*/ 631412 w 809625"/>
              <a:gd name="connsiteY46" fmla="*/ 498252 h 809625"/>
              <a:gd name="connsiteX47" fmla="*/ 632745 w 809625"/>
              <a:gd name="connsiteY47" fmla="*/ 404812 h 809625"/>
              <a:gd name="connsiteX48" fmla="*/ 631412 w 809625"/>
              <a:gd name="connsiteY48" fmla="*/ 311372 h 809625"/>
              <a:gd name="connsiteX49" fmla="*/ 620839 w 809625"/>
              <a:gd name="connsiteY49" fmla="*/ 256317 h 809625"/>
              <a:gd name="connsiteX50" fmla="*/ 554164 w 809625"/>
              <a:gd name="connsiteY50" fmla="*/ 189642 h 809625"/>
              <a:gd name="connsiteX51" fmla="*/ 499110 w 809625"/>
              <a:gd name="connsiteY51" fmla="*/ 179069 h 809625"/>
              <a:gd name="connsiteX52" fmla="*/ 405669 w 809625"/>
              <a:gd name="connsiteY52" fmla="*/ 177736 h 809625"/>
              <a:gd name="connsiteX53" fmla="*/ 404813 w 809625"/>
              <a:gd name="connsiteY53" fmla="*/ 0 h 809625"/>
              <a:gd name="connsiteX54" fmla="*/ 809625 w 809625"/>
              <a:gd name="connsiteY54" fmla="*/ 404813 h 809625"/>
              <a:gd name="connsiteX55" fmla="*/ 404813 w 809625"/>
              <a:gd name="connsiteY55" fmla="*/ 809625 h 809625"/>
              <a:gd name="connsiteX56" fmla="*/ 0 w 809625"/>
              <a:gd name="connsiteY56" fmla="*/ 404813 h 809625"/>
              <a:gd name="connsiteX57" fmla="*/ 404813 w 809625"/>
              <a:gd name="connsiteY57" fmla="*/ 0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809625" h="809625">
                <a:moveTo>
                  <a:pt x="404812" y="288417"/>
                </a:moveTo>
                <a:cubicBezTo>
                  <a:pt x="340529" y="288417"/>
                  <a:pt x="288417" y="340529"/>
                  <a:pt x="288417" y="404812"/>
                </a:cubicBezTo>
                <a:cubicBezTo>
                  <a:pt x="288417" y="469096"/>
                  <a:pt x="340529" y="521208"/>
                  <a:pt x="404812" y="521208"/>
                </a:cubicBezTo>
                <a:cubicBezTo>
                  <a:pt x="469096" y="521208"/>
                  <a:pt x="521208" y="469096"/>
                  <a:pt x="521208" y="404812"/>
                </a:cubicBezTo>
                <a:cubicBezTo>
                  <a:pt x="521208" y="340529"/>
                  <a:pt x="469096" y="288417"/>
                  <a:pt x="404812" y="288417"/>
                </a:cubicBezTo>
                <a:close/>
                <a:moveTo>
                  <a:pt x="525780" y="256603"/>
                </a:moveTo>
                <a:cubicBezTo>
                  <a:pt x="510734" y="256603"/>
                  <a:pt x="498538" y="268799"/>
                  <a:pt x="498538" y="283844"/>
                </a:cubicBezTo>
                <a:cubicBezTo>
                  <a:pt x="498538" y="298890"/>
                  <a:pt x="510734" y="311086"/>
                  <a:pt x="525780" y="311086"/>
                </a:cubicBezTo>
                <a:cubicBezTo>
                  <a:pt x="540825" y="311086"/>
                  <a:pt x="553021" y="298890"/>
                  <a:pt x="553021" y="283844"/>
                </a:cubicBezTo>
                <a:cubicBezTo>
                  <a:pt x="553021" y="268799"/>
                  <a:pt x="540825" y="256603"/>
                  <a:pt x="525780" y="256603"/>
                </a:cubicBezTo>
                <a:close/>
                <a:moveTo>
                  <a:pt x="404812" y="219075"/>
                </a:moveTo>
                <a:cubicBezTo>
                  <a:pt x="465296" y="219075"/>
                  <a:pt x="472535" y="219075"/>
                  <a:pt x="496443" y="220408"/>
                </a:cubicBezTo>
                <a:cubicBezTo>
                  <a:pt x="510824" y="220533"/>
                  <a:pt x="525073" y="223177"/>
                  <a:pt x="538543" y="228218"/>
                </a:cubicBezTo>
                <a:cubicBezTo>
                  <a:pt x="558257" y="235874"/>
                  <a:pt x="573845" y="251463"/>
                  <a:pt x="581501" y="271176"/>
                </a:cubicBezTo>
                <a:cubicBezTo>
                  <a:pt x="586542" y="284646"/>
                  <a:pt x="589186" y="298895"/>
                  <a:pt x="589311" y="313277"/>
                </a:cubicBezTo>
                <a:cubicBezTo>
                  <a:pt x="590454" y="337185"/>
                  <a:pt x="590645" y="344424"/>
                  <a:pt x="590645" y="404907"/>
                </a:cubicBezTo>
                <a:cubicBezTo>
                  <a:pt x="590645" y="465391"/>
                  <a:pt x="590645" y="472630"/>
                  <a:pt x="589311" y="496538"/>
                </a:cubicBezTo>
                <a:cubicBezTo>
                  <a:pt x="589186" y="510920"/>
                  <a:pt x="586543" y="525168"/>
                  <a:pt x="581501" y="538638"/>
                </a:cubicBezTo>
                <a:cubicBezTo>
                  <a:pt x="573845" y="558352"/>
                  <a:pt x="558257" y="573940"/>
                  <a:pt x="538543" y="581596"/>
                </a:cubicBezTo>
                <a:cubicBezTo>
                  <a:pt x="525073" y="586638"/>
                  <a:pt x="510824" y="589281"/>
                  <a:pt x="496443" y="589406"/>
                </a:cubicBezTo>
                <a:cubicBezTo>
                  <a:pt x="472535" y="590550"/>
                  <a:pt x="465391" y="590740"/>
                  <a:pt x="404812" y="590740"/>
                </a:cubicBezTo>
                <a:cubicBezTo>
                  <a:pt x="344233" y="590740"/>
                  <a:pt x="337089" y="590740"/>
                  <a:pt x="313182" y="589407"/>
                </a:cubicBezTo>
                <a:cubicBezTo>
                  <a:pt x="298800" y="589281"/>
                  <a:pt x="284551" y="586638"/>
                  <a:pt x="271081" y="581596"/>
                </a:cubicBezTo>
                <a:cubicBezTo>
                  <a:pt x="251529" y="573808"/>
                  <a:pt x="236125" y="558197"/>
                  <a:pt x="228600" y="538543"/>
                </a:cubicBezTo>
                <a:cubicBezTo>
                  <a:pt x="223558" y="525073"/>
                  <a:pt x="220914" y="510824"/>
                  <a:pt x="220789" y="496443"/>
                </a:cubicBezTo>
                <a:cubicBezTo>
                  <a:pt x="219075" y="472535"/>
                  <a:pt x="219075" y="465296"/>
                  <a:pt x="219075" y="404812"/>
                </a:cubicBezTo>
                <a:cubicBezTo>
                  <a:pt x="219075" y="344328"/>
                  <a:pt x="219075" y="337089"/>
                  <a:pt x="220408" y="313182"/>
                </a:cubicBezTo>
                <a:cubicBezTo>
                  <a:pt x="220655" y="298777"/>
                  <a:pt x="223428" y="284527"/>
                  <a:pt x="228600" y="271081"/>
                </a:cubicBezTo>
                <a:cubicBezTo>
                  <a:pt x="236258" y="251643"/>
                  <a:pt x="251643" y="236258"/>
                  <a:pt x="271081" y="228600"/>
                </a:cubicBezTo>
                <a:cubicBezTo>
                  <a:pt x="284551" y="223558"/>
                  <a:pt x="298800" y="220914"/>
                  <a:pt x="313181" y="220789"/>
                </a:cubicBezTo>
                <a:cubicBezTo>
                  <a:pt x="337089" y="219075"/>
                  <a:pt x="344328" y="219075"/>
                  <a:pt x="404812" y="219075"/>
                </a:cubicBezTo>
                <a:close/>
                <a:moveTo>
                  <a:pt x="405669" y="177736"/>
                </a:moveTo>
                <a:lnTo>
                  <a:pt x="404812" y="178212"/>
                </a:lnTo>
                <a:cubicBezTo>
                  <a:pt x="343281" y="178212"/>
                  <a:pt x="335565" y="178212"/>
                  <a:pt x="311372" y="179546"/>
                </a:cubicBezTo>
                <a:cubicBezTo>
                  <a:pt x="292533" y="180057"/>
                  <a:pt x="273917" y="183760"/>
                  <a:pt x="256317" y="190500"/>
                </a:cubicBezTo>
                <a:cubicBezTo>
                  <a:pt x="225602" y="202200"/>
                  <a:pt x="201343" y="226459"/>
                  <a:pt x="189642" y="257175"/>
                </a:cubicBezTo>
                <a:cubicBezTo>
                  <a:pt x="183033" y="274797"/>
                  <a:pt x="179458" y="293412"/>
                  <a:pt x="179069" y="312229"/>
                </a:cubicBezTo>
                <a:cubicBezTo>
                  <a:pt x="178022" y="336423"/>
                  <a:pt x="177736" y="344138"/>
                  <a:pt x="177736" y="405669"/>
                </a:cubicBezTo>
                <a:cubicBezTo>
                  <a:pt x="177736" y="467201"/>
                  <a:pt x="177736" y="474916"/>
                  <a:pt x="179069" y="499110"/>
                </a:cubicBezTo>
                <a:cubicBezTo>
                  <a:pt x="179828" y="517687"/>
                  <a:pt x="183692" y="536005"/>
                  <a:pt x="190500" y="553307"/>
                </a:cubicBezTo>
                <a:cubicBezTo>
                  <a:pt x="202200" y="584022"/>
                  <a:pt x="226459" y="608281"/>
                  <a:pt x="257175" y="619982"/>
                </a:cubicBezTo>
                <a:cubicBezTo>
                  <a:pt x="274797" y="626591"/>
                  <a:pt x="293412" y="630165"/>
                  <a:pt x="312229" y="630554"/>
                </a:cubicBezTo>
                <a:cubicBezTo>
                  <a:pt x="336423" y="631602"/>
                  <a:pt x="344138" y="631888"/>
                  <a:pt x="405669" y="631888"/>
                </a:cubicBezTo>
                <a:cubicBezTo>
                  <a:pt x="467201" y="631888"/>
                  <a:pt x="474916" y="631888"/>
                  <a:pt x="499110" y="630554"/>
                </a:cubicBezTo>
                <a:cubicBezTo>
                  <a:pt x="517927" y="630165"/>
                  <a:pt x="536542" y="626591"/>
                  <a:pt x="554164" y="619982"/>
                </a:cubicBezTo>
                <a:cubicBezTo>
                  <a:pt x="584880" y="608281"/>
                  <a:pt x="609138" y="584022"/>
                  <a:pt x="620839" y="553307"/>
                </a:cubicBezTo>
                <a:cubicBezTo>
                  <a:pt x="627448" y="535684"/>
                  <a:pt x="631023" y="517069"/>
                  <a:pt x="631412" y="498252"/>
                </a:cubicBezTo>
                <a:cubicBezTo>
                  <a:pt x="632460" y="474059"/>
                  <a:pt x="632745" y="466344"/>
                  <a:pt x="632745" y="404812"/>
                </a:cubicBezTo>
                <a:cubicBezTo>
                  <a:pt x="632745" y="343281"/>
                  <a:pt x="632745" y="335565"/>
                  <a:pt x="631412" y="311372"/>
                </a:cubicBezTo>
                <a:cubicBezTo>
                  <a:pt x="631023" y="292555"/>
                  <a:pt x="627448" y="273940"/>
                  <a:pt x="620839" y="256317"/>
                </a:cubicBezTo>
                <a:cubicBezTo>
                  <a:pt x="609138" y="225602"/>
                  <a:pt x="584880" y="201343"/>
                  <a:pt x="554164" y="189642"/>
                </a:cubicBezTo>
                <a:cubicBezTo>
                  <a:pt x="536542" y="183033"/>
                  <a:pt x="517927" y="179458"/>
                  <a:pt x="499110" y="179069"/>
                </a:cubicBezTo>
                <a:cubicBezTo>
                  <a:pt x="474916" y="178022"/>
                  <a:pt x="467201" y="177736"/>
                  <a:pt x="405669" y="177736"/>
                </a:cubicBezTo>
                <a:close/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37645F6A-EDD9-42D2-A01C-F8414798D57C}"/>
              </a:ext>
            </a:extLst>
          </p:cNvPr>
          <p:cNvSpPr>
            <a:spLocks noChangeAspect="1"/>
          </p:cNvSpPr>
          <p:nvPr/>
        </p:nvSpPr>
        <p:spPr>
          <a:xfrm>
            <a:off x="9446029" y="4591756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207835 w 809625"/>
              <a:gd name="connsiteY5" fmla="*/ 183451 h 809625"/>
              <a:gd name="connsiteX6" fmla="*/ 183451 w 809625"/>
              <a:gd name="connsiteY6" fmla="*/ 207835 h 809625"/>
              <a:gd name="connsiteX7" fmla="*/ 183451 w 809625"/>
              <a:gd name="connsiteY7" fmla="*/ 601789 h 809625"/>
              <a:gd name="connsiteX8" fmla="*/ 207835 w 809625"/>
              <a:gd name="connsiteY8" fmla="*/ 626173 h 809625"/>
              <a:gd name="connsiteX9" fmla="*/ 419957 w 809625"/>
              <a:gd name="connsiteY9" fmla="*/ 626173 h 809625"/>
              <a:gd name="connsiteX10" fmla="*/ 419957 w 809625"/>
              <a:gd name="connsiteY10" fmla="*/ 454723 h 809625"/>
              <a:gd name="connsiteX11" fmla="*/ 361950 w 809625"/>
              <a:gd name="connsiteY11" fmla="*/ 454723 h 809625"/>
              <a:gd name="connsiteX12" fmla="*/ 361950 w 809625"/>
              <a:gd name="connsiteY12" fmla="*/ 388048 h 809625"/>
              <a:gd name="connsiteX13" fmla="*/ 419671 w 809625"/>
              <a:gd name="connsiteY13" fmla="*/ 388048 h 809625"/>
              <a:gd name="connsiteX14" fmla="*/ 419671 w 809625"/>
              <a:gd name="connsiteY14" fmla="*/ 338613 h 809625"/>
              <a:gd name="connsiteX15" fmla="*/ 505396 w 809625"/>
              <a:gd name="connsiteY15" fmla="*/ 250317 h 809625"/>
              <a:gd name="connsiteX16" fmla="*/ 556926 w 809625"/>
              <a:gd name="connsiteY16" fmla="*/ 252984 h 809625"/>
              <a:gd name="connsiteX17" fmla="*/ 556926 w 809625"/>
              <a:gd name="connsiteY17" fmla="*/ 312705 h 809625"/>
              <a:gd name="connsiteX18" fmla="*/ 522065 w 809625"/>
              <a:gd name="connsiteY18" fmla="*/ 312705 h 809625"/>
              <a:gd name="connsiteX19" fmla="*/ 488918 w 809625"/>
              <a:gd name="connsiteY19" fmla="*/ 345281 h 809625"/>
              <a:gd name="connsiteX20" fmla="*/ 488918 w 809625"/>
              <a:gd name="connsiteY20" fmla="*/ 387953 h 809625"/>
              <a:gd name="connsiteX21" fmla="*/ 555593 w 809625"/>
              <a:gd name="connsiteY21" fmla="*/ 387953 h 809625"/>
              <a:gd name="connsiteX22" fmla="*/ 546925 w 809625"/>
              <a:gd name="connsiteY22" fmla="*/ 454628 h 809625"/>
              <a:gd name="connsiteX23" fmla="*/ 489775 w 809625"/>
              <a:gd name="connsiteY23" fmla="*/ 454628 h 809625"/>
              <a:gd name="connsiteX24" fmla="*/ 489775 w 809625"/>
              <a:gd name="connsiteY24" fmla="*/ 626078 h 809625"/>
              <a:gd name="connsiteX25" fmla="*/ 601789 w 809625"/>
              <a:gd name="connsiteY25" fmla="*/ 626078 h 809625"/>
              <a:gd name="connsiteX26" fmla="*/ 626173 w 809625"/>
              <a:gd name="connsiteY26" fmla="*/ 601694 h 809625"/>
              <a:gd name="connsiteX27" fmla="*/ 626173 w 809625"/>
              <a:gd name="connsiteY27" fmla="*/ 207835 h 809625"/>
              <a:gd name="connsiteX28" fmla="*/ 601789 w 809625"/>
              <a:gd name="connsiteY28" fmla="*/ 183451 h 809625"/>
              <a:gd name="connsiteX29" fmla="*/ 207835 w 809625"/>
              <a:gd name="connsiteY29" fmla="*/ 183451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207835" y="183451"/>
                </a:moveTo>
                <a:cubicBezTo>
                  <a:pt x="194368" y="183451"/>
                  <a:pt x="183451" y="194368"/>
                  <a:pt x="183451" y="207835"/>
                </a:cubicBezTo>
                <a:lnTo>
                  <a:pt x="183451" y="601789"/>
                </a:lnTo>
                <a:cubicBezTo>
                  <a:pt x="183451" y="615256"/>
                  <a:pt x="194368" y="626173"/>
                  <a:pt x="207835" y="626173"/>
                </a:cubicBezTo>
                <a:lnTo>
                  <a:pt x="419957" y="626173"/>
                </a:lnTo>
                <a:lnTo>
                  <a:pt x="419957" y="454723"/>
                </a:lnTo>
                <a:lnTo>
                  <a:pt x="361950" y="454723"/>
                </a:lnTo>
                <a:lnTo>
                  <a:pt x="361950" y="388048"/>
                </a:lnTo>
                <a:lnTo>
                  <a:pt x="419671" y="388048"/>
                </a:lnTo>
                <a:lnTo>
                  <a:pt x="419671" y="338613"/>
                </a:lnTo>
                <a:cubicBezTo>
                  <a:pt x="419671" y="281463"/>
                  <a:pt x="454533" y="250317"/>
                  <a:pt x="505396" y="250317"/>
                </a:cubicBezTo>
                <a:cubicBezTo>
                  <a:pt x="522609" y="250238"/>
                  <a:pt x="539813" y="251128"/>
                  <a:pt x="556926" y="252984"/>
                </a:cubicBezTo>
                <a:lnTo>
                  <a:pt x="556926" y="312705"/>
                </a:lnTo>
                <a:lnTo>
                  <a:pt x="522065" y="312705"/>
                </a:lnTo>
                <a:cubicBezTo>
                  <a:pt x="494252" y="312705"/>
                  <a:pt x="488918" y="325945"/>
                  <a:pt x="488918" y="345281"/>
                </a:cubicBezTo>
                <a:lnTo>
                  <a:pt x="488918" y="387953"/>
                </a:lnTo>
                <a:lnTo>
                  <a:pt x="555593" y="387953"/>
                </a:lnTo>
                <a:lnTo>
                  <a:pt x="546925" y="454628"/>
                </a:lnTo>
                <a:lnTo>
                  <a:pt x="489775" y="454628"/>
                </a:lnTo>
                <a:lnTo>
                  <a:pt x="489775" y="626078"/>
                </a:lnTo>
                <a:lnTo>
                  <a:pt x="601789" y="626078"/>
                </a:lnTo>
                <a:cubicBezTo>
                  <a:pt x="615256" y="626078"/>
                  <a:pt x="626173" y="615161"/>
                  <a:pt x="626173" y="601694"/>
                </a:cubicBezTo>
                <a:lnTo>
                  <a:pt x="626173" y="207835"/>
                </a:lnTo>
                <a:cubicBezTo>
                  <a:pt x="626173" y="194368"/>
                  <a:pt x="615256" y="183451"/>
                  <a:pt x="601789" y="183451"/>
                </a:cubicBezTo>
                <a:lnTo>
                  <a:pt x="207835" y="183451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49106F87-54D7-E8EE-C6CA-26ECF7B74B2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4484" y="2549185"/>
            <a:ext cx="1976093" cy="879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911884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76849F14-4971-4208-82A8-1F0513897926}"/>
              </a:ext>
            </a:extLst>
          </p:cNvPr>
          <p:cNvSpPr/>
          <p:nvPr userDrawn="1"/>
        </p:nvSpPr>
        <p:spPr>
          <a:xfrm>
            <a:off x="719400" y="-2"/>
            <a:ext cx="107532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096AA35B-6D3E-4809-9D78-9CF31081E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9400" y="-2"/>
            <a:ext cx="4680000" cy="4068000"/>
          </a:xfrm>
          <a:solidFill>
            <a:schemeClr val="tx2"/>
          </a:solidFill>
        </p:spPr>
        <p:txBody>
          <a:bodyPr lIns="342000" tIns="342000" rIns="0" bIns="504000" anchor="b" anchorCtr="0"/>
          <a:lstStyle>
            <a:lvl1pPr>
              <a:defRPr sz="4500">
                <a:solidFill>
                  <a:schemeClr val="accent1"/>
                </a:solidFill>
              </a:defRPr>
            </a:lvl1pPr>
          </a:lstStyle>
          <a:p>
            <a:r>
              <a:rPr lang="en-US"/>
              <a:t>Thank you</a:t>
            </a:r>
            <a:endParaRPr lang="en-AU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FD95F930-CD55-469B-9FD0-1150DA73B39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-2"/>
            <a:ext cx="12192000" cy="6876000"/>
          </a:xfrm>
          <a:custGeom>
            <a:avLst/>
            <a:gdLst>
              <a:gd name="connsiteX0" fmla="*/ 114726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472600 w 12192000"/>
              <a:gd name="connsiteY3" fmla="*/ 6858000 h 6858000"/>
              <a:gd name="connsiteX4" fmla="*/ 0 w 12192000"/>
              <a:gd name="connsiteY4" fmla="*/ 0 h 6858000"/>
              <a:gd name="connsiteX5" fmla="*/ 719400 w 12192000"/>
              <a:gd name="connsiteY5" fmla="*/ 0 h 6858000"/>
              <a:gd name="connsiteX6" fmla="*/ 7194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14726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472600" y="6858000"/>
                </a:lnTo>
                <a:close/>
                <a:moveTo>
                  <a:pt x="0" y="0"/>
                </a:moveTo>
                <a:lnTo>
                  <a:pt x="719400" y="0"/>
                </a:lnTo>
                <a:lnTo>
                  <a:pt x="7194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08000" tIns="108000" rIns="115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4417D20-4CB7-471C-A5C4-50706D404792}"/>
              </a:ext>
            </a:extLst>
          </p:cNvPr>
          <p:cNvSpPr txBox="1"/>
          <p:nvPr userDrawn="1"/>
        </p:nvSpPr>
        <p:spPr>
          <a:xfrm>
            <a:off x="7877158" y="3841087"/>
            <a:ext cx="3321238" cy="25564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 cap="none" baseline="0">
                <a:solidFill>
                  <a:schemeClr val="bg1"/>
                </a:solidFill>
              </a:defRPr>
            </a:lvl1pPr>
            <a:lvl2pPr marL="0" lvl="1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b="1" cap="all" baseline="0">
                <a:solidFill>
                  <a:schemeClr val="bg1"/>
                </a:solidFill>
              </a:defRPr>
            </a:lvl2pPr>
            <a:lvl3pPr marL="0" lvl="2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3pPr>
            <a:lvl4pPr marL="0" lvl="3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4pPr>
            <a:lvl5pPr marL="0" lvl="4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5pPr>
            <a:lvl6pPr marL="0" lvl="5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6pPr>
            <a:lvl7pPr marL="0" lvl="6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7pPr>
            <a:lvl8pPr marL="0" lvl="7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8pPr>
            <a:lvl9pPr marL="0" lvl="8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9pPr>
          </a:lstStyle>
          <a:p>
            <a:pPr lvl="0">
              <a:spcBef>
                <a:spcPts val="400"/>
              </a:spcBef>
            </a:pPr>
            <a:r>
              <a:rPr lang="en-US" altLang="en-US" sz="1600" b="0">
                <a:solidFill>
                  <a:schemeClr val="bg2"/>
                </a:solidFill>
                <a:latin typeface="+mj-lt"/>
              </a:rPr>
              <a:t>Forest Stewardship Council®</a:t>
            </a:r>
          </a:p>
          <a:p>
            <a:pPr lvl="0">
              <a:spcBef>
                <a:spcPts val="400"/>
              </a:spcBef>
              <a:spcAft>
                <a:spcPts val="1200"/>
              </a:spcAft>
            </a:pPr>
            <a:r>
              <a:rPr lang="en-US" altLang="en-US" sz="1500" b="1">
                <a:solidFill>
                  <a:schemeClr val="bg2"/>
                </a:solidFill>
              </a:rPr>
              <a:t>FSC® Asociación Civil </a:t>
            </a:r>
          </a:p>
          <a:p>
            <a:pPr lvl="0"/>
            <a:endParaRPr lang="en-US" altLang="en-US" sz="1600" b="0"/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Calle Margarita </a:t>
            </a:r>
            <a:r>
              <a:rPr lang="en-US" altLang="en-US" sz="1200" b="0" err="1">
                <a:solidFill>
                  <a:schemeClr val="bg2"/>
                </a:solidFill>
              </a:rPr>
              <a:t>Maza</a:t>
            </a:r>
            <a:r>
              <a:rPr lang="en-US" altLang="en-US" sz="1200" b="0">
                <a:solidFill>
                  <a:schemeClr val="bg2"/>
                </a:solidFill>
              </a:rPr>
              <a:t> de Juárez 422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Colonia Centro,  Oaxaca, México, CP. 68000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Phone: +52 951 502 6533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Fax: +52 951 502 6594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FSC Asociación Civil © All rights reserved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 err="1">
                <a:solidFill>
                  <a:schemeClr val="bg2"/>
                </a:solidFill>
              </a:rPr>
              <a:t>FSC</a:t>
            </a:r>
            <a:r>
              <a:rPr lang="en-US" altLang="en-US" sz="1200" b="0">
                <a:solidFill>
                  <a:schemeClr val="bg2"/>
                </a:solidFill>
              </a:rPr>
              <a:t>® </a:t>
            </a:r>
            <a:r>
              <a:rPr lang="en-US" altLang="en-US" sz="1200" b="0" err="1">
                <a:solidFill>
                  <a:schemeClr val="bg2"/>
                </a:solidFill>
              </a:rPr>
              <a:t>F000100</a:t>
            </a:r>
            <a:r>
              <a:rPr lang="en-US" altLang="en-US" sz="1200" b="0">
                <a:solidFill>
                  <a:schemeClr val="bg2"/>
                </a:solidFill>
              </a:rPr>
              <a:t> </a:t>
            </a:r>
          </a:p>
          <a:p>
            <a:pPr lvl="0"/>
            <a:r>
              <a:rPr lang="en-US" altLang="en-US" sz="1400" b="0" err="1">
                <a:solidFill>
                  <a:schemeClr val="bg2"/>
                </a:solidFill>
                <a:latin typeface="+mj-lt"/>
              </a:rPr>
              <a:t>www.fsc.org</a:t>
            </a:r>
            <a:endParaRPr lang="en-US" altLang="en-US" sz="1400" b="0">
              <a:solidFill>
                <a:schemeClr val="bg2"/>
              </a:solidFill>
              <a:latin typeface="+mj-lt"/>
            </a:endParaRPr>
          </a:p>
          <a:p>
            <a:pPr lvl="0"/>
            <a:endParaRPr lang="en-US" altLang="en-US" sz="1600" b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F8BC909C-567D-4F9C-A0DF-D05DE8F82075}"/>
              </a:ext>
            </a:extLst>
          </p:cNvPr>
          <p:cNvSpPr>
            <a:spLocks noChangeAspect="1"/>
          </p:cNvSpPr>
          <p:nvPr/>
        </p:nvSpPr>
        <p:spPr>
          <a:xfrm>
            <a:off x="7916652" y="4501548"/>
            <a:ext cx="242382" cy="242382"/>
          </a:xfrm>
          <a:custGeom>
            <a:avLst/>
            <a:gdLst>
              <a:gd name="connsiteX0" fmla="*/ 357950 w 809625"/>
              <a:gd name="connsiteY0" fmla="*/ 333375 h 809625"/>
              <a:gd name="connsiteX1" fmla="*/ 480537 w 809625"/>
              <a:gd name="connsiteY1" fmla="*/ 397002 h 809625"/>
              <a:gd name="connsiteX2" fmla="*/ 357950 w 809625"/>
              <a:gd name="connsiteY2" fmla="*/ 460439 h 809625"/>
              <a:gd name="connsiteX3" fmla="*/ 242887 w 809625"/>
              <a:gd name="connsiteY3" fmla="*/ 249555 h 809625"/>
              <a:gd name="connsiteX4" fmla="*/ 178117 w 809625"/>
              <a:gd name="connsiteY4" fmla="*/ 314325 h 809625"/>
              <a:gd name="connsiteX5" fmla="*/ 178117 w 809625"/>
              <a:gd name="connsiteY5" fmla="*/ 495300 h 809625"/>
              <a:gd name="connsiteX6" fmla="*/ 242887 w 809625"/>
              <a:gd name="connsiteY6" fmla="*/ 560070 h 809625"/>
              <a:gd name="connsiteX7" fmla="*/ 566737 w 809625"/>
              <a:gd name="connsiteY7" fmla="*/ 560070 h 809625"/>
              <a:gd name="connsiteX8" fmla="*/ 631507 w 809625"/>
              <a:gd name="connsiteY8" fmla="*/ 495300 h 809625"/>
              <a:gd name="connsiteX9" fmla="*/ 631507 w 809625"/>
              <a:gd name="connsiteY9" fmla="*/ 314325 h 809625"/>
              <a:gd name="connsiteX10" fmla="*/ 566737 w 809625"/>
              <a:gd name="connsiteY10" fmla="*/ 249555 h 809625"/>
              <a:gd name="connsiteX11" fmla="*/ 404813 w 809625"/>
              <a:gd name="connsiteY11" fmla="*/ 0 h 809625"/>
              <a:gd name="connsiteX12" fmla="*/ 809625 w 809625"/>
              <a:gd name="connsiteY12" fmla="*/ 404813 h 809625"/>
              <a:gd name="connsiteX13" fmla="*/ 404813 w 809625"/>
              <a:gd name="connsiteY13" fmla="*/ 809625 h 809625"/>
              <a:gd name="connsiteX14" fmla="*/ 0 w 809625"/>
              <a:gd name="connsiteY14" fmla="*/ 404813 h 809625"/>
              <a:gd name="connsiteX15" fmla="*/ 404813 w 809625"/>
              <a:gd name="connsiteY15" fmla="*/ 0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809625" h="809625">
                <a:moveTo>
                  <a:pt x="357950" y="333375"/>
                </a:moveTo>
                <a:lnTo>
                  <a:pt x="480537" y="397002"/>
                </a:lnTo>
                <a:lnTo>
                  <a:pt x="357950" y="460439"/>
                </a:lnTo>
                <a:close/>
                <a:moveTo>
                  <a:pt x="242887" y="249555"/>
                </a:moveTo>
                <a:cubicBezTo>
                  <a:pt x="207159" y="249660"/>
                  <a:pt x="178222" y="278597"/>
                  <a:pt x="178117" y="314325"/>
                </a:cubicBezTo>
                <a:lnTo>
                  <a:pt x="178117" y="495300"/>
                </a:lnTo>
                <a:cubicBezTo>
                  <a:pt x="178222" y="531028"/>
                  <a:pt x="207159" y="559965"/>
                  <a:pt x="242887" y="560070"/>
                </a:cubicBezTo>
                <a:lnTo>
                  <a:pt x="566737" y="560070"/>
                </a:lnTo>
                <a:cubicBezTo>
                  <a:pt x="602465" y="559965"/>
                  <a:pt x="631402" y="531028"/>
                  <a:pt x="631507" y="495300"/>
                </a:cubicBezTo>
                <a:lnTo>
                  <a:pt x="631507" y="314325"/>
                </a:lnTo>
                <a:cubicBezTo>
                  <a:pt x="631402" y="278597"/>
                  <a:pt x="602465" y="249660"/>
                  <a:pt x="566737" y="249555"/>
                </a:cubicBezTo>
                <a:close/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2487C176-18A9-4BB0-BD80-DEC34233A800}"/>
              </a:ext>
            </a:extLst>
          </p:cNvPr>
          <p:cNvSpPr>
            <a:spLocks noChangeAspect="1"/>
          </p:cNvSpPr>
          <p:nvPr/>
        </p:nvSpPr>
        <p:spPr>
          <a:xfrm>
            <a:off x="8298996" y="4501548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495146 w 809625"/>
              <a:gd name="connsiteY5" fmla="*/ 220645 h 809625"/>
              <a:gd name="connsiteX6" fmla="*/ 428527 w 809625"/>
              <a:gd name="connsiteY6" fmla="*/ 245841 h 809625"/>
              <a:gd name="connsiteX7" fmla="*/ 399192 w 809625"/>
              <a:gd name="connsiteY7" fmla="*/ 313563 h 809625"/>
              <a:gd name="connsiteX8" fmla="*/ 401573 w 809625"/>
              <a:gd name="connsiteY8" fmla="*/ 334803 h 809625"/>
              <a:gd name="connsiteX9" fmla="*/ 209549 w 809625"/>
              <a:gd name="connsiteY9" fmla="*/ 238125 h 809625"/>
              <a:gd name="connsiteX10" fmla="*/ 238124 w 809625"/>
              <a:gd name="connsiteY10" fmla="*/ 361950 h 809625"/>
              <a:gd name="connsiteX11" fmla="*/ 195928 w 809625"/>
              <a:gd name="connsiteY11" fmla="*/ 350329 h 809625"/>
              <a:gd name="connsiteX12" fmla="*/ 195929 w 809625"/>
              <a:gd name="connsiteY12" fmla="*/ 351567 h 809625"/>
              <a:gd name="connsiteX13" fmla="*/ 270605 w 809625"/>
              <a:gd name="connsiteY13" fmla="*/ 442722 h 809625"/>
              <a:gd name="connsiteX14" fmla="*/ 228599 w 809625"/>
              <a:gd name="connsiteY14" fmla="*/ 444341 h 809625"/>
              <a:gd name="connsiteX15" fmla="*/ 315467 w 809625"/>
              <a:gd name="connsiteY15" fmla="*/ 508920 h 809625"/>
              <a:gd name="connsiteX16" fmla="*/ 200024 w 809625"/>
              <a:gd name="connsiteY16" fmla="*/ 548544 h 809625"/>
              <a:gd name="connsiteX17" fmla="*/ 177831 w 809625"/>
              <a:gd name="connsiteY17" fmla="*/ 547211 h 809625"/>
              <a:gd name="connsiteX18" fmla="*/ 320706 w 809625"/>
              <a:gd name="connsiteY18" fmla="*/ 589026 h 809625"/>
              <a:gd name="connsiteX19" fmla="*/ 585406 w 809625"/>
              <a:gd name="connsiteY19" fmla="*/ 324421 h 809625"/>
              <a:gd name="connsiteX20" fmla="*/ 585406 w 809625"/>
              <a:gd name="connsiteY20" fmla="*/ 312324 h 809625"/>
              <a:gd name="connsiteX21" fmla="*/ 631507 w 809625"/>
              <a:gd name="connsiteY21" fmla="*/ 264223 h 809625"/>
              <a:gd name="connsiteX22" fmla="*/ 578072 w 809625"/>
              <a:gd name="connsiteY22" fmla="*/ 278892 h 809625"/>
              <a:gd name="connsiteX23" fmla="*/ 619124 w 809625"/>
              <a:gd name="connsiteY23" fmla="*/ 227361 h 809625"/>
              <a:gd name="connsiteX24" fmla="*/ 560069 w 809625"/>
              <a:gd name="connsiteY24" fmla="*/ 249936 h 809625"/>
              <a:gd name="connsiteX25" fmla="*/ 495146 w 809625"/>
              <a:gd name="connsiteY25" fmla="*/ 220645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495146" y="220645"/>
                </a:moveTo>
                <a:cubicBezTo>
                  <a:pt x="471342" y="219904"/>
                  <a:pt x="447255" y="228245"/>
                  <a:pt x="428527" y="245841"/>
                </a:cubicBezTo>
                <a:cubicBezTo>
                  <a:pt x="409833" y="263407"/>
                  <a:pt x="399219" y="287911"/>
                  <a:pt x="399192" y="313563"/>
                </a:cubicBezTo>
                <a:cubicBezTo>
                  <a:pt x="399204" y="320709"/>
                  <a:pt x="400003" y="327832"/>
                  <a:pt x="401573" y="334803"/>
                </a:cubicBezTo>
                <a:cubicBezTo>
                  <a:pt x="326768" y="331204"/>
                  <a:pt x="256991" y="296073"/>
                  <a:pt x="209549" y="238125"/>
                </a:cubicBezTo>
                <a:cubicBezTo>
                  <a:pt x="185023" y="280491"/>
                  <a:pt x="197513" y="334615"/>
                  <a:pt x="238124" y="361950"/>
                </a:cubicBezTo>
                <a:cubicBezTo>
                  <a:pt x="223336" y="361482"/>
                  <a:pt x="208871" y="357499"/>
                  <a:pt x="195928" y="350329"/>
                </a:cubicBezTo>
                <a:lnTo>
                  <a:pt x="195929" y="351567"/>
                </a:lnTo>
                <a:cubicBezTo>
                  <a:pt x="195962" y="395849"/>
                  <a:pt x="227195" y="433974"/>
                  <a:pt x="270605" y="442722"/>
                </a:cubicBezTo>
                <a:cubicBezTo>
                  <a:pt x="256901" y="446399"/>
                  <a:pt x="242546" y="446952"/>
                  <a:pt x="228599" y="444341"/>
                </a:cubicBezTo>
                <a:cubicBezTo>
                  <a:pt x="240745" y="482243"/>
                  <a:pt x="275672" y="508209"/>
                  <a:pt x="315467" y="508920"/>
                </a:cubicBezTo>
                <a:cubicBezTo>
                  <a:pt x="282513" y="534690"/>
                  <a:pt x="241858" y="548644"/>
                  <a:pt x="200024" y="548544"/>
                </a:cubicBezTo>
                <a:cubicBezTo>
                  <a:pt x="192607" y="548536"/>
                  <a:pt x="185196" y="548091"/>
                  <a:pt x="177831" y="547211"/>
                </a:cubicBezTo>
                <a:cubicBezTo>
                  <a:pt x="220421" y="574649"/>
                  <a:pt x="270043" y="589172"/>
                  <a:pt x="320706" y="589026"/>
                </a:cubicBezTo>
                <a:cubicBezTo>
                  <a:pt x="492156" y="589026"/>
                  <a:pt x="585406" y="447294"/>
                  <a:pt x="585406" y="324421"/>
                </a:cubicBezTo>
                <a:cubicBezTo>
                  <a:pt x="585406" y="320325"/>
                  <a:pt x="585406" y="316325"/>
                  <a:pt x="585406" y="312324"/>
                </a:cubicBezTo>
                <a:cubicBezTo>
                  <a:pt x="603503" y="299151"/>
                  <a:pt x="619113" y="282863"/>
                  <a:pt x="631507" y="264223"/>
                </a:cubicBezTo>
                <a:cubicBezTo>
                  <a:pt x="614513" y="271713"/>
                  <a:pt x="596508" y="276656"/>
                  <a:pt x="578072" y="278892"/>
                </a:cubicBezTo>
                <a:cubicBezTo>
                  <a:pt x="597588" y="267302"/>
                  <a:pt x="612190" y="248974"/>
                  <a:pt x="619124" y="227361"/>
                </a:cubicBezTo>
                <a:cubicBezTo>
                  <a:pt x="600877" y="238213"/>
                  <a:pt x="580902" y="245848"/>
                  <a:pt x="560069" y="249936"/>
                </a:cubicBezTo>
                <a:cubicBezTo>
                  <a:pt x="542473" y="231209"/>
                  <a:pt x="518951" y="221387"/>
                  <a:pt x="495146" y="22064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41393088-2A2D-4F19-A536-4C5B46718A69}"/>
              </a:ext>
            </a:extLst>
          </p:cNvPr>
          <p:cNvSpPr>
            <a:spLocks noChangeAspect="1"/>
          </p:cNvSpPr>
          <p:nvPr/>
        </p:nvSpPr>
        <p:spPr>
          <a:xfrm>
            <a:off x="8681340" y="4501548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230981 w 809625"/>
              <a:gd name="connsiteY5" fmla="*/ 177069 h 809625"/>
              <a:gd name="connsiteX6" fmla="*/ 176498 w 809625"/>
              <a:gd name="connsiteY6" fmla="*/ 231552 h 809625"/>
              <a:gd name="connsiteX7" fmla="*/ 230981 w 809625"/>
              <a:gd name="connsiteY7" fmla="*/ 286035 h 809625"/>
              <a:gd name="connsiteX8" fmla="*/ 285464 w 809625"/>
              <a:gd name="connsiteY8" fmla="*/ 231552 h 809625"/>
              <a:gd name="connsiteX9" fmla="*/ 230981 w 809625"/>
              <a:gd name="connsiteY9" fmla="*/ 177069 h 809625"/>
              <a:gd name="connsiteX10" fmla="*/ 517493 w 809625"/>
              <a:gd name="connsiteY10" fmla="*/ 319849 h 809625"/>
              <a:gd name="connsiteX11" fmla="*/ 428625 w 809625"/>
              <a:gd name="connsiteY11" fmla="*/ 368617 h 809625"/>
              <a:gd name="connsiteX12" fmla="*/ 426910 w 809625"/>
              <a:gd name="connsiteY12" fmla="*/ 368617 h 809625"/>
              <a:gd name="connsiteX13" fmla="*/ 426910 w 809625"/>
              <a:gd name="connsiteY13" fmla="*/ 327278 h 809625"/>
              <a:gd name="connsiteX14" fmla="*/ 336899 w 809625"/>
              <a:gd name="connsiteY14" fmla="*/ 327278 h 809625"/>
              <a:gd name="connsiteX15" fmla="*/ 336899 w 809625"/>
              <a:gd name="connsiteY15" fmla="*/ 629602 h 809625"/>
              <a:gd name="connsiteX16" fmla="*/ 430720 w 809625"/>
              <a:gd name="connsiteY16" fmla="*/ 629602 h 809625"/>
              <a:gd name="connsiteX17" fmla="*/ 430720 w 809625"/>
              <a:gd name="connsiteY17" fmla="*/ 480059 h 809625"/>
              <a:gd name="connsiteX18" fmla="*/ 487108 w 809625"/>
              <a:gd name="connsiteY18" fmla="*/ 402430 h 809625"/>
              <a:gd name="connsiteX19" fmla="*/ 535876 w 809625"/>
              <a:gd name="connsiteY19" fmla="*/ 482631 h 809625"/>
              <a:gd name="connsiteX20" fmla="*/ 535876 w 809625"/>
              <a:gd name="connsiteY20" fmla="*/ 629602 h 809625"/>
              <a:gd name="connsiteX21" fmla="*/ 630174 w 809625"/>
              <a:gd name="connsiteY21" fmla="*/ 629602 h 809625"/>
              <a:gd name="connsiteX22" fmla="*/ 630174 w 809625"/>
              <a:gd name="connsiteY22" fmla="*/ 463771 h 809625"/>
              <a:gd name="connsiteX23" fmla="*/ 517493 w 809625"/>
              <a:gd name="connsiteY23" fmla="*/ 319849 h 809625"/>
              <a:gd name="connsiteX24" fmla="*/ 183927 w 809625"/>
              <a:gd name="connsiteY24" fmla="*/ 327278 h 809625"/>
              <a:gd name="connsiteX25" fmla="*/ 183927 w 809625"/>
              <a:gd name="connsiteY25" fmla="*/ 629602 h 809625"/>
              <a:gd name="connsiteX26" fmla="*/ 277939 w 809625"/>
              <a:gd name="connsiteY26" fmla="*/ 629602 h 809625"/>
              <a:gd name="connsiteX27" fmla="*/ 277939 w 809625"/>
              <a:gd name="connsiteY27" fmla="*/ 327278 h 809625"/>
              <a:gd name="connsiteX28" fmla="*/ 183927 w 809625"/>
              <a:gd name="connsiteY28" fmla="*/ 327278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230981" y="177069"/>
                </a:moveTo>
                <a:cubicBezTo>
                  <a:pt x="200891" y="177069"/>
                  <a:pt x="176498" y="201462"/>
                  <a:pt x="176498" y="231552"/>
                </a:cubicBezTo>
                <a:cubicBezTo>
                  <a:pt x="176498" y="261642"/>
                  <a:pt x="200891" y="286035"/>
                  <a:pt x="230981" y="286035"/>
                </a:cubicBezTo>
                <a:cubicBezTo>
                  <a:pt x="261071" y="286035"/>
                  <a:pt x="285464" y="261642"/>
                  <a:pt x="285464" y="231552"/>
                </a:cubicBezTo>
                <a:cubicBezTo>
                  <a:pt x="285464" y="201462"/>
                  <a:pt x="261071" y="177069"/>
                  <a:pt x="230981" y="177069"/>
                </a:cubicBezTo>
                <a:close/>
                <a:moveTo>
                  <a:pt x="517493" y="319849"/>
                </a:moveTo>
                <a:cubicBezTo>
                  <a:pt x="481146" y="318484"/>
                  <a:pt x="446996" y="337225"/>
                  <a:pt x="428625" y="368617"/>
                </a:cubicBezTo>
                <a:lnTo>
                  <a:pt x="426910" y="368617"/>
                </a:lnTo>
                <a:lnTo>
                  <a:pt x="426910" y="327278"/>
                </a:lnTo>
                <a:lnTo>
                  <a:pt x="336899" y="327278"/>
                </a:lnTo>
                <a:lnTo>
                  <a:pt x="336899" y="629602"/>
                </a:lnTo>
                <a:lnTo>
                  <a:pt x="430720" y="629602"/>
                </a:lnTo>
                <a:lnTo>
                  <a:pt x="430720" y="480059"/>
                </a:lnTo>
                <a:cubicBezTo>
                  <a:pt x="430720" y="440530"/>
                  <a:pt x="438912" y="402430"/>
                  <a:pt x="487108" y="402430"/>
                </a:cubicBezTo>
                <a:cubicBezTo>
                  <a:pt x="535305" y="402430"/>
                  <a:pt x="535876" y="447579"/>
                  <a:pt x="535876" y="482631"/>
                </a:cubicBezTo>
                <a:lnTo>
                  <a:pt x="535876" y="629602"/>
                </a:lnTo>
                <a:lnTo>
                  <a:pt x="630174" y="629602"/>
                </a:lnTo>
                <a:lnTo>
                  <a:pt x="630174" y="463771"/>
                </a:lnTo>
                <a:cubicBezTo>
                  <a:pt x="630174" y="382428"/>
                  <a:pt x="612743" y="319849"/>
                  <a:pt x="517493" y="319849"/>
                </a:cubicBezTo>
                <a:close/>
                <a:moveTo>
                  <a:pt x="183927" y="327278"/>
                </a:moveTo>
                <a:lnTo>
                  <a:pt x="183927" y="629602"/>
                </a:lnTo>
                <a:lnTo>
                  <a:pt x="277939" y="629602"/>
                </a:lnTo>
                <a:lnTo>
                  <a:pt x="277939" y="327278"/>
                </a:lnTo>
                <a:lnTo>
                  <a:pt x="183927" y="32727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F1F78FC3-536A-4C34-B2A3-95085DF38A8D}"/>
              </a:ext>
            </a:extLst>
          </p:cNvPr>
          <p:cNvSpPr>
            <a:spLocks noChangeAspect="1"/>
          </p:cNvSpPr>
          <p:nvPr/>
        </p:nvSpPr>
        <p:spPr>
          <a:xfrm>
            <a:off x="9063685" y="4501548"/>
            <a:ext cx="242382" cy="242382"/>
          </a:xfrm>
          <a:custGeom>
            <a:avLst/>
            <a:gdLst>
              <a:gd name="connsiteX0" fmla="*/ 404812 w 809625"/>
              <a:gd name="connsiteY0" fmla="*/ 288417 h 809625"/>
              <a:gd name="connsiteX1" fmla="*/ 288417 w 809625"/>
              <a:gd name="connsiteY1" fmla="*/ 404812 h 809625"/>
              <a:gd name="connsiteX2" fmla="*/ 404812 w 809625"/>
              <a:gd name="connsiteY2" fmla="*/ 521208 h 809625"/>
              <a:gd name="connsiteX3" fmla="*/ 521208 w 809625"/>
              <a:gd name="connsiteY3" fmla="*/ 404812 h 809625"/>
              <a:gd name="connsiteX4" fmla="*/ 404812 w 809625"/>
              <a:gd name="connsiteY4" fmla="*/ 288417 h 809625"/>
              <a:gd name="connsiteX5" fmla="*/ 525780 w 809625"/>
              <a:gd name="connsiteY5" fmla="*/ 256603 h 809625"/>
              <a:gd name="connsiteX6" fmla="*/ 498538 w 809625"/>
              <a:gd name="connsiteY6" fmla="*/ 283844 h 809625"/>
              <a:gd name="connsiteX7" fmla="*/ 525780 w 809625"/>
              <a:gd name="connsiteY7" fmla="*/ 311086 h 809625"/>
              <a:gd name="connsiteX8" fmla="*/ 553021 w 809625"/>
              <a:gd name="connsiteY8" fmla="*/ 283844 h 809625"/>
              <a:gd name="connsiteX9" fmla="*/ 525780 w 809625"/>
              <a:gd name="connsiteY9" fmla="*/ 256603 h 809625"/>
              <a:gd name="connsiteX10" fmla="*/ 404812 w 809625"/>
              <a:gd name="connsiteY10" fmla="*/ 219075 h 809625"/>
              <a:gd name="connsiteX11" fmla="*/ 496443 w 809625"/>
              <a:gd name="connsiteY11" fmla="*/ 220408 h 809625"/>
              <a:gd name="connsiteX12" fmla="*/ 538543 w 809625"/>
              <a:gd name="connsiteY12" fmla="*/ 228218 h 809625"/>
              <a:gd name="connsiteX13" fmla="*/ 581501 w 809625"/>
              <a:gd name="connsiteY13" fmla="*/ 271176 h 809625"/>
              <a:gd name="connsiteX14" fmla="*/ 589311 w 809625"/>
              <a:gd name="connsiteY14" fmla="*/ 313277 h 809625"/>
              <a:gd name="connsiteX15" fmla="*/ 590645 w 809625"/>
              <a:gd name="connsiteY15" fmla="*/ 404907 h 809625"/>
              <a:gd name="connsiteX16" fmla="*/ 589311 w 809625"/>
              <a:gd name="connsiteY16" fmla="*/ 496538 h 809625"/>
              <a:gd name="connsiteX17" fmla="*/ 581501 w 809625"/>
              <a:gd name="connsiteY17" fmla="*/ 538638 h 809625"/>
              <a:gd name="connsiteX18" fmla="*/ 538543 w 809625"/>
              <a:gd name="connsiteY18" fmla="*/ 581596 h 809625"/>
              <a:gd name="connsiteX19" fmla="*/ 496443 w 809625"/>
              <a:gd name="connsiteY19" fmla="*/ 589406 h 809625"/>
              <a:gd name="connsiteX20" fmla="*/ 404812 w 809625"/>
              <a:gd name="connsiteY20" fmla="*/ 590740 h 809625"/>
              <a:gd name="connsiteX21" fmla="*/ 313182 w 809625"/>
              <a:gd name="connsiteY21" fmla="*/ 589407 h 809625"/>
              <a:gd name="connsiteX22" fmla="*/ 271081 w 809625"/>
              <a:gd name="connsiteY22" fmla="*/ 581596 h 809625"/>
              <a:gd name="connsiteX23" fmla="*/ 228600 w 809625"/>
              <a:gd name="connsiteY23" fmla="*/ 538543 h 809625"/>
              <a:gd name="connsiteX24" fmla="*/ 220789 w 809625"/>
              <a:gd name="connsiteY24" fmla="*/ 496443 h 809625"/>
              <a:gd name="connsiteX25" fmla="*/ 219075 w 809625"/>
              <a:gd name="connsiteY25" fmla="*/ 404812 h 809625"/>
              <a:gd name="connsiteX26" fmla="*/ 220408 w 809625"/>
              <a:gd name="connsiteY26" fmla="*/ 313182 h 809625"/>
              <a:gd name="connsiteX27" fmla="*/ 228600 w 809625"/>
              <a:gd name="connsiteY27" fmla="*/ 271081 h 809625"/>
              <a:gd name="connsiteX28" fmla="*/ 271081 w 809625"/>
              <a:gd name="connsiteY28" fmla="*/ 228600 h 809625"/>
              <a:gd name="connsiteX29" fmla="*/ 313181 w 809625"/>
              <a:gd name="connsiteY29" fmla="*/ 220789 h 809625"/>
              <a:gd name="connsiteX30" fmla="*/ 404812 w 809625"/>
              <a:gd name="connsiteY30" fmla="*/ 219075 h 809625"/>
              <a:gd name="connsiteX31" fmla="*/ 405669 w 809625"/>
              <a:gd name="connsiteY31" fmla="*/ 177736 h 809625"/>
              <a:gd name="connsiteX32" fmla="*/ 404812 w 809625"/>
              <a:gd name="connsiteY32" fmla="*/ 178212 h 809625"/>
              <a:gd name="connsiteX33" fmla="*/ 311372 w 809625"/>
              <a:gd name="connsiteY33" fmla="*/ 179546 h 809625"/>
              <a:gd name="connsiteX34" fmla="*/ 256317 w 809625"/>
              <a:gd name="connsiteY34" fmla="*/ 190500 h 809625"/>
              <a:gd name="connsiteX35" fmla="*/ 189642 w 809625"/>
              <a:gd name="connsiteY35" fmla="*/ 257175 h 809625"/>
              <a:gd name="connsiteX36" fmla="*/ 179069 w 809625"/>
              <a:gd name="connsiteY36" fmla="*/ 312229 h 809625"/>
              <a:gd name="connsiteX37" fmla="*/ 177736 w 809625"/>
              <a:gd name="connsiteY37" fmla="*/ 405669 h 809625"/>
              <a:gd name="connsiteX38" fmla="*/ 179069 w 809625"/>
              <a:gd name="connsiteY38" fmla="*/ 499110 h 809625"/>
              <a:gd name="connsiteX39" fmla="*/ 190500 w 809625"/>
              <a:gd name="connsiteY39" fmla="*/ 553307 h 809625"/>
              <a:gd name="connsiteX40" fmla="*/ 257175 w 809625"/>
              <a:gd name="connsiteY40" fmla="*/ 619982 h 809625"/>
              <a:gd name="connsiteX41" fmla="*/ 312229 w 809625"/>
              <a:gd name="connsiteY41" fmla="*/ 630554 h 809625"/>
              <a:gd name="connsiteX42" fmla="*/ 405669 w 809625"/>
              <a:gd name="connsiteY42" fmla="*/ 631888 h 809625"/>
              <a:gd name="connsiteX43" fmla="*/ 499110 w 809625"/>
              <a:gd name="connsiteY43" fmla="*/ 630554 h 809625"/>
              <a:gd name="connsiteX44" fmla="*/ 554164 w 809625"/>
              <a:gd name="connsiteY44" fmla="*/ 619982 h 809625"/>
              <a:gd name="connsiteX45" fmla="*/ 620839 w 809625"/>
              <a:gd name="connsiteY45" fmla="*/ 553307 h 809625"/>
              <a:gd name="connsiteX46" fmla="*/ 631412 w 809625"/>
              <a:gd name="connsiteY46" fmla="*/ 498252 h 809625"/>
              <a:gd name="connsiteX47" fmla="*/ 632745 w 809625"/>
              <a:gd name="connsiteY47" fmla="*/ 404812 h 809625"/>
              <a:gd name="connsiteX48" fmla="*/ 631412 w 809625"/>
              <a:gd name="connsiteY48" fmla="*/ 311372 h 809625"/>
              <a:gd name="connsiteX49" fmla="*/ 620839 w 809625"/>
              <a:gd name="connsiteY49" fmla="*/ 256317 h 809625"/>
              <a:gd name="connsiteX50" fmla="*/ 554164 w 809625"/>
              <a:gd name="connsiteY50" fmla="*/ 189642 h 809625"/>
              <a:gd name="connsiteX51" fmla="*/ 499110 w 809625"/>
              <a:gd name="connsiteY51" fmla="*/ 179069 h 809625"/>
              <a:gd name="connsiteX52" fmla="*/ 405669 w 809625"/>
              <a:gd name="connsiteY52" fmla="*/ 177736 h 809625"/>
              <a:gd name="connsiteX53" fmla="*/ 404813 w 809625"/>
              <a:gd name="connsiteY53" fmla="*/ 0 h 809625"/>
              <a:gd name="connsiteX54" fmla="*/ 809625 w 809625"/>
              <a:gd name="connsiteY54" fmla="*/ 404813 h 809625"/>
              <a:gd name="connsiteX55" fmla="*/ 404813 w 809625"/>
              <a:gd name="connsiteY55" fmla="*/ 809625 h 809625"/>
              <a:gd name="connsiteX56" fmla="*/ 0 w 809625"/>
              <a:gd name="connsiteY56" fmla="*/ 404813 h 809625"/>
              <a:gd name="connsiteX57" fmla="*/ 404813 w 809625"/>
              <a:gd name="connsiteY57" fmla="*/ 0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809625" h="809625">
                <a:moveTo>
                  <a:pt x="404812" y="288417"/>
                </a:moveTo>
                <a:cubicBezTo>
                  <a:pt x="340529" y="288417"/>
                  <a:pt x="288417" y="340529"/>
                  <a:pt x="288417" y="404812"/>
                </a:cubicBezTo>
                <a:cubicBezTo>
                  <a:pt x="288417" y="469096"/>
                  <a:pt x="340529" y="521208"/>
                  <a:pt x="404812" y="521208"/>
                </a:cubicBezTo>
                <a:cubicBezTo>
                  <a:pt x="469096" y="521208"/>
                  <a:pt x="521208" y="469096"/>
                  <a:pt x="521208" y="404812"/>
                </a:cubicBezTo>
                <a:cubicBezTo>
                  <a:pt x="521208" y="340529"/>
                  <a:pt x="469096" y="288417"/>
                  <a:pt x="404812" y="288417"/>
                </a:cubicBezTo>
                <a:close/>
                <a:moveTo>
                  <a:pt x="525780" y="256603"/>
                </a:moveTo>
                <a:cubicBezTo>
                  <a:pt x="510734" y="256603"/>
                  <a:pt x="498538" y="268799"/>
                  <a:pt x="498538" y="283844"/>
                </a:cubicBezTo>
                <a:cubicBezTo>
                  <a:pt x="498538" y="298890"/>
                  <a:pt x="510734" y="311086"/>
                  <a:pt x="525780" y="311086"/>
                </a:cubicBezTo>
                <a:cubicBezTo>
                  <a:pt x="540825" y="311086"/>
                  <a:pt x="553021" y="298890"/>
                  <a:pt x="553021" y="283844"/>
                </a:cubicBezTo>
                <a:cubicBezTo>
                  <a:pt x="553021" y="268799"/>
                  <a:pt x="540825" y="256603"/>
                  <a:pt x="525780" y="256603"/>
                </a:cubicBezTo>
                <a:close/>
                <a:moveTo>
                  <a:pt x="404812" y="219075"/>
                </a:moveTo>
                <a:cubicBezTo>
                  <a:pt x="465296" y="219075"/>
                  <a:pt x="472535" y="219075"/>
                  <a:pt x="496443" y="220408"/>
                </a:cubicBezTo>
                <a:cubicBezTo>
                  <a:pt x="510824" y="220533"/>
                  <a:pt x="525073" y="223177"/>
                  <a:pt x="538543" y="228218"/>
                </a:cubicBezTo>
                <a:cubicBezTo>
                  <a:pt x="558257" y="235874"/>
                  <a:pt x="573845" y="251463"/>
                  <a:pt x="581501" y="271176"/>
                </a:cubicBezTo>
                <a:cubicBezTo>
                  <a:pt x="586542" y="284646"/>
                  <a:pt x="589186" y="298895"/>
                  <a:pt x="589311" y="313277"/>
                </a:cubicBezTo>
                <a:cubicBezTo>
                  <a:pt x="590454" y="337185"/>
                  <a:pt x="590645" y="344424"/>
                  <a:pt x="590645" y="404907"/>
                </a:cubicBezTo>
                <a:cubicBezTo>
                  <a:pt x="590645" y="465391"/>
                  <a:pt x="590645" y="472630"/>
                  <a:pt x="589311" y="496538"/>
                </a:cubicBezTo>
                <a:cubicBezTo>
                  <a:pt x="589186" y="510920"/>
                  <a:pt x="586543" y="525168"/>
                  <a:pt x="581501" y="538638"/>
                </a:cubicBezTo>
                <a:cubicBezTo>
                  <a:pt x="573845" y="558352"/>
                  <a:pt x="558257" y="573940"/>
                  <a:pt x="538543" y="581596"/>
                </a:cubicBezTo>
                <a:cubicBezTo>
                  <a:pt x="525073" y="586638"/>
                  <a:pt x="510824" y="589281"/>
                  <a:pt x="496443" y="589406"/>
                </a:cubicBezTo>
                <a:cubicBezTo>
                  <a:pt x="472535" y="590550"/>
                  <a:pt x="465391" y="590740"/>
                  <a:pt x="404812" y="590740"/>
                </a:cubicBezTo>
                <a:cubicBezTo>
                  <a:pt x="344233" y="590740"/>
                  <a:pt x="337089" y="590740"/>
                  <a:pt x="313182" y="589407"/>
                </a:cubicBezTo>
                <a:cubicBezTo>
                  <a:pt x="298800" y="589281"/>
                  <a:pt x="284551" y="586638"/>
                  <a:pt x="271081" y="581596"/>
                </a:cubicBezTo>
                <a:cubicBezTo>
                  <a:pt x="251529" y="573808"/>
                  <a:pt x="236125" y="558197"/>
                  <a:pt x="228600" y="538543"/>
                </a:cubicBezTo>
                <a:cubicBezTo>
                  <a:pt x="223558" y="525073"/>
                  <a:pt x="220914" y="510824"/>
                  <a:pt x="220789" y="496443"/>
                </a:cubicBezTo>
                <a:cubicBezTo>
                  <a:pt x="219075" y="472535"/>
                  <a:pt x="219075" y="465296"/>
                  <a:pt x="219075" y="404812"/>
                </a:cubicBezTo>
                <a:cubicBezTo>
                  <a:pt x="219075" y="344328"/>
                  <a:pt x="219075" y="337089"/>
                  <a:pt x="220408" y="313182"/>
                </a:cubicBezTo>
                <a:cubicBezTo>
                  <a:pt x="220655" y="298777"/>
                  <a:pt x="223428" y="284527"/>
                  <a:pt x="228600" y="271081"/>
                </a:cubicBezTo>
                <a:cubicBezTo>
                  <a:pt x="236258" y="251643"/>
                  <a:pt x="251643" y="236258"/>
                  <a:pt x="271081" y="228600"/>
                </a:cubicBezTo>
                <a:cubicBezTo>
                  <a:pt x="284551" y="223558"/>
                  <a:pt x="298800" y="220914"/>
                  <a:pt x="313181" y="220789"/>
                </a:cubicBezTo>
                <a:cubicBezTo>
                  <a:pt x="337089" y="219075"/>
                  <a:pt x="344328" y="219075"/>
                  <a:pt x="404812" y="219075"/>
                </a:cubicBezTo>
                <a:close/>
                <a:moveTo>
                  <a:pt x="405669" y="177736"/>
                </a:moveTo>
                <a:lnTo>
                  <a:pt x="404812" y="178212"/>
                </a:lnTo>
                <a:cubicBezTo>
                  <a:pt x="343281" y="178212"/>
                  <a:pt x="335565" y="178212"/>
                  <a:pt x="311372" y="179546"/>
                </a:cubicBezTo>
                <a:cubicBezTo>
                  <a:pt x="292533" y="180057"/>
                  <a:pt x="273917" y="183760"/>
                  <a:pt x="256317" y="190500"/>
                </a:cubicBezTo>
                <a:cubicBezTo>
                  <a:pt x="225602" y="202200"/>
                  <a:pt x="201343" y="226459"/>
                  <a:pt x="189642" y="257175"/>
                </a:cubicBezTo>
                <a:cubicBezTo>
                  <a:pt x="183033" y="274797"/>
                  <a:pt x="179458" y="293412"/>
                  <a:pt x="179069" y="312229"/>
                </a:cubicBezTo>
                <a:cubicBezTo>
                  <a:pt x="178022" y="336423"/>
                  <a:pt x="177736" y="344138"/>
                  <a:pt x="177736" y="405669"/>
                </a:cubicBezTo>
                <a:cubicBezTo>
                  <a:pt x="177736" y="467201"/>
                  <a:pt x="177736" y="474916"/>
                  <a:pt x="179069" y="499110"/>
                </a:cubicBezTo>
                <a:cubicBezTo>
                  <a:pt x="179828" y="517687"/>
                  <a:pt x="183692" y="536005"/>
                  <a:pt x="190500" y="553307"/>
                </a:cubicBezTo>
                <a:cubicBezTo>
                  <a:pt x="202200" y="584022"/>
                  <a:pt x="226459" y="608281"/>
                  <a:pt x="257175" y="619982"/>
                </a:cubicBezTo>
                <a:cubicBezTo>
                  <a:pt x="274797" y="626591"/>
                  <a:pt x="293412" y="630165"/>
                  <a:pt x="312229" y="630554"/>
                </a:cubicBezTo>
                <a:cubicBezTo>
                  <a:pt x="336423" y="631602"/>
                  <a:pt x="344138" y="631888"/>
                  <a:pt x="405669" y="631888"/>
                </a:cubicBezTo>
                <a:cubicBezTo>
                  <a:pt x="467201" y="631888"/>
                  <a:pt x="474916" y="631888"/>
                  <a:pt x="499110" y="630554"/>
                </a:cubicBezTo>
                <a:cubicBezTo>
                  <a:pt x="517927" y="630165"/>
                  <a:pt x="536542" y="626591"/>
                  <a:pt x="554164" y="619982"/>
                </a:cubicBezTo>
                <a:cubicBezTo>
                  <a:pt x="584880" y="608281"/>
                  <a:pt x="609138" y="584022"/>
                  <a:pt x="620839" y="553307"/>
                </a:cubicBezTo>
                <a:cubicBezTo>
                  <a:pt x="627448" y="535684"/>
                  <a:pt x="631023" y="517069"/>
                  <a:pt x="631412" y="498252"/>
                </a:cubicBezTo>
                <a:cubicBezTo>
                  <a:pt x="632460" y="474059"/>
                  <a:pt x="632745" y="466344"/>
                  <a:pt x="632745" y="404812"/>
                </a:cubicBezTo>
                <a:cubicBezTo>
                  <a:pt x="632745" y="343281"/>
                  <a:pt x="632745" y="335565"/>
                  <a:pt x="631412" y="311372"/>
                </a:cubicBezTo>
                <a:cubicBezTo>
                  <a:pt x="631023" y="292555"/>
                  <a:pt x="627448" y="273940"/>
                  <a:pt x="620839" y="256317"/>
                </a:cubicBezTo>
                <a:cubicBezTo>
                  <a:pt x="609138" y="225602"/>
                  <a:pt x="584880" y="201343"/>
                  <a:pt x="554164" y="189642"/>
                </a:cubicBezTo>
                <a:cubicBezTo>
                  <a:pt x="536542" y="183033"/>
                  <a:pt x="517927" y="179458"/>
                  <a:pt x="499110" y="179069"/>
                </a:cubicBezTo>
                <a:cubicBezTo>
                  <a:pt x="474916" y="178022"/>
                  <a:pt x="467201" y="177736"/>
                  <a:pt x="405669" y="177736"/>
                </a:cubicBezTo>
                <a:close/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37645F6A-EDD9-42D2-A01C-F8414798D57C}"/>
              </a:ext>
            </a:extLst>
          </p:cNvPr>
          <p:cNvSpPr>
            <a:spLocks noChangeAspect="1"/>
          </p:cNvSpPr>
          <p:nvPr/>
        </p:nvSpPr>
        <p:spPr>
          <a:xfrm>
            <a:off x="9446029" y="4501548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207835 w 809625"/>
              <a:gd name="connsiteY5" fmla="*/ 183451 h 809625"/>
              <a:gd name="connsiteX6" fmla="*/ 183451 w 809625"/>
              <a:gd name="connsiteY6" fmla="*/ 207835 h 809625"/>
              <a:gd name="connsiteX7" fmla="*/ 183451 w 809625"/>
              <a:gd name="connsiteY7" fmla="*/ 601789 h 809625"/>
              <a:gd name="connsiteX8" fmla="*/ 207835 w 809625"/>
              <a:gd name="connsiteY8" fmla="*/ 626173 h 809625"/>
              <a:gd name="connsiteX9" fmla="*/ 419957 w 809625"/>
              <a:gd name="connsiteY9" fmla="*/ 626173 h 809625"/>
              <a:gd name="connsiteX10" fmla="*/ 419957 w 809625"/>
              <a:gd name="connsiteY10" fmla="*/ 454723 h 809625"/>
              <a:gd name="connsiteX11" fmla="*/ 361950 w 809625"/>
              <a:gd name="connsiteY11" fmla="*/ 454723 h 809625"/>
              <a:gd name="connsiteX12" fmla="*/ 361950 w 809625"/>
              <a:gd name="connsiteY12" fmla="*/ 388048 h 809625"/>
              <a:gd name="connsiteX13" fmla="*/ 419671 w 809625"/>
              <a:gd name="connsiteY13" fmla="*/ 388048 h 809625"/>
              <a:gd name="connsiteX14" fmla="*/ 419671 w 809625"/>
              <a:gd name="connsiteY14" fmla="*/ 338613 h 809625"/>
              <a:gd name="connsiteX15" fmla="*/ 505396 w 809625"/>
              <a:gd name="connsiteY15" fmla="*/ 250317 h 809625"/>
              <a:gd name="connsiteX16" fmla="*/ 556926 w 809625"/>
              <a:gd name="connsiteY16" fmla="*/ 252984 h 809625"/>
              <a:gd name="connsiteX17" fmla="*/ 556926 w 809625"/>
              <a:gd name="connsiteY17" fmla="*/ 312705 h 809625"/>
              <a:gd name="connsiteX18" fmla="*/ 522065 w 809625"/>
              <a:gd name="connsiteY18" fmla="*/ 312705 h 809625"/>
              <a:gd name="connsiteX19" fmla="*/ 488918 w 809625"/>
              <a:gd name="connsiteY19" fmla="*/ 345281 h 809625"/>
              <a:gd name="connsiteX20" fmla="*/ 488918 w 809625"/>
              <a:gd name="connsiteY20" fmla="*/ 387953 h 809625"/>
              <a:gd name="connsiteX21" fmla="*/ 555593 w 809625"/>
              <a:gd name="connsiteY21" fmla="*/ 387953 h 809625"/>
              <a:gd name="connsiteX22" fmla="*/ 546925 w 809625"/>
              <a:gd name="connsiteY22" fmla="*/ 454628 h 809625"/>
              <a:gd name="connsiteX23" fmla="*/ 489775 w 809625"/>
              <a:gd name="connsiteY23" fmla="*/ 454628 h 809625"/>
              <a:gd name="connsiteX24" fmla="*/ 489775 w 809625"/>
              <a:gd name="connsiteY24" fmla="*/ 626078 h 809625"/>
              <a:gd name="connsiteX25" fmla="*/ 601789 w 809625"/>
              <a:gd name="connsiteY25" fmla="*/ 626078 h 809625"/>
              <a:gd name="connsiteX26" fmla="*/ 626173 w 809625"/>
              <a:gd name="connsiteY26" fmla="*/ 601694 h 809625"/>
              <a:gd name="connsiteX27" fmla="*/ 626173 w 809625"/>
              <a:gd name="connsiteY27" fmla="*/ 207835 h 809625"/>
              <a:gd name="connsiteX28" fmla="*/ 601789 w 809625"/>
              <a:gd name="connsiteY28" fmla="*/ 183451 h 809625"/>
              <a:gd name="connsiteX29" fmla="*/ 207835 w 809625"/>
              <a:gd name="connsiteY29" fmla="*/ 183451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207835" y="183451"/>
                </a:moveTo>
                <a:cubicBezTo>
                  <a:pt x="194368" y="183451"/>
                  <a:pt x="183451" y="194368"/>
                  <a:pt x="183451" y="207835"/>
                </a:cubicBezTo>
                <a:lnTo>
                  <a:pt x="183451" y="601789"/>
                </a:lnTo>
                <a:cubicBezTo>
                  <a:pt x="183451" y="615256"/>
                  <a:pt x="194368" y="626173"/>
                  <a:pt x="207835" y="626173"/>
                </a:cubicBezTo>
                <a:lnTo>
                  <a:pt x="419957" y="626173"/>
                </a:lnTo>
                <a:lnTo>
                  <a:pt x="419957" y="454723"/>
                </a:lnTo>
                <a:lnTo>
                  <a:pt x="361950" y="454723"/>
                </a:lnTo>
                <a:lnTo>
                  <a:pt x="361950" y="388048"/>
                </a:lnTo>
                <a:lnTo>
                  <a:pt x="419671" y="388048"/>
                </a:lnTo>
                <a:lnTo>
                  <a:pt x="419671" y="338613"/>
                </a:lnTo>
                <a:cubicBezTo>
                  <a:pt x="419671" y="281463"/>
                  <a:pt x="454533" y="250317"/>
                  <a:pt x="505396" y="250317"/>
                </a:cubicBezTo>
                <a:cubicBezTo>
                  <a:pt x="522609" y="250238"/>
                  <a:pt x="539813" y="251128"/>
                  <a:pt x="556926" y="252984"/>
                </a:cubicBezTo>
                <a:lnTo>
                  <a:pt x="556926" y="312705"/>
                </a:lnTo>
                <a:lnTo>
                  <a:pt x="522065" y="312705"/>
                </a:lnTo>
                <a:cubicBezTo>
                  <a:pt x="494252" y="312705"/>
                  <a:pt x="488918" y="325945"/>
                  <a:pt x="488918" y="345281"/>
                </a:cubicBezTo>
                <a:lnTo>
                  <a:pt x="488918" y="387953"/>
                </a:lnTo>
                <a:lnTo>
                  <a:pt x="555593" y="387953"/>
                </a:lnTo>
                <a:lnTo>
                  <a:pt x="546925" y="454628"/>
                </a:lnTo>
                <a:lnTo>
                  <a:pt x="489775" y="454628"/>
                </a:lnTo>
                <a:lnTo>
                  <a:pt x="489775" y="626078"/>
                </a:lnTo>
                <a:lnTo>
                  <a:pt x="601789" y="626078"/>
                </a:lnTo>
                <a:cubicBezTo>
                  <a:pt x="615256" y="626078"/>
                  <a:pt x="626173" y="615161"/>
                  <a:pt x="626173" y="601694"/>
                </a:cubicBezTo>
                <a:lnTo>
                  <a:pt x="626173" y="207835"/>
                </a:lnTo>
                <a:cubicBezTo>
                  <a:pt x="626173" y="194368"/>
                  <a:pt x="615256" y="183451"/>
                  <a:pt x="601789" y="183451"/>
                </a:cubicBezTo>
                <a:lnTo>
                  <a:pt x="207835" y="183451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35DA1C13-417D-70D7-BC88-4FD67A39D2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4484" y="2549185"/>
            <a:ext cx="1976093" cy="879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9258725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76849F14-4971-4208-82A8-1F0513897926}"/>
              </a:ext>
            </a:extLst>
          </p:cNvPr>
          <p:cNvSpPr/>
          <p:nvPr userDrawn="1"/>
        </p:nvSpPr>
        <p:spPr>
          <a:xfrm>
            <a:off x="719400" y="-2"/>
            <a:ext cx="107532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096AA35B-6D3E-4809-9D78-9CF31081E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9400" y="-2"/>
            <a:ext cx="4680000" cy="4068000"/>
          </a:xfrm>
          <a:solidFill>
            <a:schemeClr val="tx2"/>
          </a:solidFill>
        </p:spPr>
        <p:txBody>
          <a:bodyPr lIns="342000" tIns="342000" rIns="0" bIns="504000" anchor="b" anchorCtr="0"/>
          <a:lstStyle>
            <a:lvl1pPr>
              <a:defRPr sz="4500">
                <a:solidFill>
                  <a:schemeClr val="accent1"/>
                </a:solidFill>
              </a:defRPr>
            </a:lvl1pPr>
          </a:lstStyle>
          <a:p>
            <a:r>
              <a:rPr lang="en-US"/>
              <a:t>Thank you</a:t>
            </a:r>
            <a:endParaRPr lang="en-AU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FD95F930-CD55-469B-9FD0-1150DA73B39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-2"/>
            <a:ext cx="12192000" cy="6876000"/>
          </a:xfrm>
          <a:custGeom>
            <a:avLst/>
            <a:gdLst>
              <a:gd name="connsiteX0" fmla="*/ 114726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472600 w 12192000"/>
              <a:gd name="connsiteY3" fmla="*/ 6858000 h 6858000"/>
              <a:gd name="connsiteX4" fmla="*/ 0 w 12192000"/>
              <a:gd name="connsiteY4" fmla="*/ 0 h 6858000"/>
              <a:gd name="connsiteX5" fmla="*/ 719400 w 12192000"/>
              <a:gd name="connsiteY5" fmla="*/ 0 h 6858000"/>
              <a:gd name="connsiteX6" fmla="*/ 7194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14726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472600" y="6858000"/>
                </a:lnTo>
                <a:close/>
                <a:moveTo>
                  <a:pt x="0" y="0"/>
                </a:moveTo>
                <a:lnTo>
                  <a:pt x="719400" y="0"/>
                </a:lnTo>
                <a:lnTo>
                  <a:pt x="7194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08000" tIns="108000" rIns="115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4417D20-4CB7-471C-A5C4-50706D404792}"/>
              </a:ext>
            </a:extLst>
          </p:cNvPr>
          <p:cNvSpPr txBox="1"/>
          <p:nvPr userDrawn="1"/>
        </p:nvSpPr>
        <p:spPr>
          <a:xfrm>
            <a:off x="7877158" y="3841087"/>
            <a:ext cx="3321238" cy="25564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 cap="none" baseline="0">
                <a:solidFill>
                  <a:schemeClr val="bg1"/>
                </a:solidFill>
              </a:defRPr>
            </a:lvl1pPr>
            <a:lvl2pPr marL="0" lvl="1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b="1" cap="all" baseline="0">
                <a:solidFill>
                  <a:schemeClr val="bg1"/>
                </a:solidFill>
              </a:defRPr>
            </a:lvl2pPr>
            <a:lvl3pPr marL="0" lvl="2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3pPr>
            <a:lvl4pPr marL="0" lvl="3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4pPr>
            <a:lvl5pPr marL="0" lvl="4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5pPr>
            <a:lvl6pPr marL="0" lvl="5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6pPr>
            <a:lvl7pPr marL="0" lvl="6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7pPr>
            <a:lvl8pPr marL="0" lvl="7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8pPr>
            <a:lvl9pPr marL="0" lvl="8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9pPr>
          </a:lstStyle>
          <a:p>
            <a:pPr lvl="0">
              <a:spcBef>
                <a:spcPts val="400"/>
              </a:spcBef>
            </a:pPr>
            <a:r>
              <a:rPr lang="en-US" altLang="en-US" sz="1600" b="0">
                <a:solidFill>
                  <a:schemeClr val="bg2"/>
                </a:solidFill>
                <a:latin typeface="+mj-lt"/>
              </a:rPr>
              <a:t>Forest Stewardship Council®</a:t>
            </a:r>
          </a:p>
          <a:p>
            <a:pPr lvl="0">
              <a:spcBef>
                <a:spcPts val="400"/>
              </a:spcBef>
              <a:spcAft>
                <a:spcPts val="1200"/>
              </a:spcAft>
            </a:pPr>
            <a:r>
              <a:rPr lang="en-US" altLang="en-US" sz="1500" b="1">
                <a:solidFill>
                  <a:schemeClr val="bg2"/>
                </a:solidFill>
              </a:rPr>
              <a:t>FSC® Asociación Civil </a:t>
            </a:r>
          </a:p>
          <a:p>
            <a:pPr lvl="0"/>
            <a:endParaRPr lang="en-US" altLang="en-US" sz="1600" b="0"/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Calle Margarita </a:t>
            </a:r>
            <a:r>
              <a:rPr lang="en-US" altLang="en-US" sz="1200" b="0" err="1">
                <a:solidFill>
                  <a:schemeClr val="bg2"/>
                </a:solidFill>
              </a:rPr>
              <a:t>Maza</a:t>
            </a:r>
            <a:r>
              <a:rPr lang="en-US" altLang="en-US" sz="1200" b="0">
                <a:solidFill>
                  <a:schemeClr val="bg2"/>
                </a:solidFill>
              </a:rPr>
              <a:t> de Juárez 422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Colonia Centro,  Oaxaca, México, CP. 68000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Phone: +52 951 502 6533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Fax: +52 951 502 6594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FSC Asociación Civil © All rights reserved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 err="1">
                <a:solidFill>
                  <a:schemeClr val="bg2"/>
                </a:solidFill>
              </a:rPr>
              <a:t>FSC</a:t>
            </a:r>
            <a:r>
              <a:rPr lang="en-US" altLang="en-US" sz="1200" b="0">
                <a:solidFill>
                  <a:schemeClr val="bg2"/>
                </a:solidFill>
              </a:rPr>
              <a:t>® </a:t>
            </a:r>
            <a:r>
              <a:rPr lang="en-US" altLang="en-US" sz="1200" b="0" err="1">
                <a:solidFill>
                  <a:schemeClr val="bg2"/>
                </a:solidFill>
              </a:rPr>
              <a:t>F000100</a:t>
            </a:r>
            <a:r>
              <a:rPr lang="en-US" altLang="en-US" sz="1200" b="0">
                <a:solidFill>
                  <a:schemeClr val="bg2"/>
                </a:solidFill>
              </a:rPr>
              <a:t> </a:t>
            </a:r>
          </a:p>
          <a:p>
            <a:pPr lvl="0"/>
            <a:r>
              <a:rPr lang="en-US" altLang="en-US" sz="1400" b="0" err="1">
                <a:solidFill>
                  <a:schemeClr val="bg2"/>
                </a:solidFill>
                <a:latin typeface="+mj-lt"/>
              </a:rPr>
              <a:t>www.fsc.org</a:t>
            </a:r>
            <a:endParaRPr lang="en-US" altLang="en-US" sz="1400" b="0">
              <a:solidFill>
                <a:schemeClr val="bg2"/>
              </a:solidFill>
              <a:latin typeface="+mj-lt"/>
            </a:endParaRPr>
          </a:p>
          <a:p>
            <a:pPr lvl="0"/>
            <a:endParaRPr lang="en-US" altLang="en-US" sz="1600" b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F8BC909C-567D-4F9C-A0DF-D05DE8F82075}"/>
              </a:ext>
            </a:extLst>
          </p:cNvPr>
          <p:cNvSpPr>
            <a:spLocks noChangeAspect="1"/>
          </p:cNvSpPr>
          <p:nvPr/>
        </p:nvSpPr>
        <p:spPr>
          <a:xfrm>
            <a:off x="7916652" y="4501548"/>
            <a:ext cx="242382" cy="242382"/>
          </a:xfrm>
          <a:custGeom>
            <a:avLst/>
            <a:gdLst>
              <a:gd name="connsiteX0" fmla="*/ 357950 w 809625"/>
              <a:gd name="connsiteY0" fmla="*/ 333375 h 809625"/>
              <a:gd name="connsiteX1" fmla="*/ 480537 w 809625"/>
              <a:gd name="connsiteY1" fmla="*/ 397002 h 809625"/>
              <a:gd name="connsiteX2" fmla="*/ 357950 w 809625"/>
              <a:gd name="connsiteY2" fmla="*/ 460439 h 809625"/>
              <a:gd name="connsiteX3" fmla="*/ 242887 w 809625"/>
              <a:gd name="connsiteY3" fmla="*/ 249555 h 809625"/>
              <a:gd name="connsiteX4" fmla="*/ 178117 w 809625"/>
              <a:gd name="connsiteY4" fmla="*/ 314325 h 809625"/>
              <a:gd name="connsiteX5" fmla="*/ 178117 w 809625"/>
              <a:gd name="connsiteY5" fmla="*/ 495300 h 809625"/>
              <a:gd name="connsiteX6" fmla="*/ 242887 w 809625"/>
              <a:gd name="connsiteY6" fmla="*/ 560070 h 809625"/>
              <a:gd name="connsiteX7" fmla="*/ 566737 w 809625"/>
              <a:gd name="connsiteY7" fmla="*/ 560070 h 809625"/>
              <a:gd name="connsiteX8" fmla="*/ 631507 w 809625"/>
              <a:gd name="connsiteY8" fmla="*/ 495300 h 809625"/>
              <a:gd name="connsiteX9" fmla="*/ 631507 w 809625"/>
              <a:gd name="connsiteY9" fmla="*/ 314325 h 809625"/>
              <a:gd name="connsiteX10" fmla="*/ 566737 w 809625"/>
              <a:gd name="connsiteY10" fmla="*/ 249555 h 809625"/>
              <a:gd name="connsiteX11" fmla="*/ 404813 w 809625"/>
              <a:gd name="connsiteY11" fmla="*/ 0 h 809625"/>
              <a:gd name="connsiteX12" fmla="*/ 809625 w 809625"/>
              <a:gd name="connsiteY12" fmla="*/ 404813 h 809625"/>
              <a:gd name="connsiteX13" fmla="*/ 404813 w 809625"/>
              <a:gd name="connsiteY13" fmla="*/ 809625 h 809625"/>
              <a:gd name="connsiteX14" fmla="*/ 0 w 809625"/>
              <a:gd name="connsiteY14" fmla="*/ 404813 h 809625"/>
              <a:gd name="connsiteX15" fmla="*/ 404813 w 809625"/>
              <a:gd name="connsiteY15" fmla="*/ 0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809625" h="809625">
                <a:moveTo>
                  <a:pt x="357950" y="333375"/>
                </a:moveTo>
                <a:lnTo>
                  <a:pt x="480537" y="397002"/>
                </a:lnTo>
                <a:lnTo>
                  <a:pt x="357950" y="460439"/>
                </a:lnTo>
                <a:close/>
                <a:moveTo>
                  <a:pt x="242887" y="249555"/>
                </a:moveTo>
                <a:cubicBezTo>
                  <a:pt x="207159" y="249660"/>
                  <a:pt x="178222" y="278597"/>
                  <a:pt x="178117" y="314325"/>
                </a:cubicBezTo>
                <a:lnTo>
                  <a:pt x="178117" y="495300"/>
                </a:lnTo>
                <a:cubicBezTo>
                  <a:pt x="178222" y="531028"/>
                  <a:pt x="207159" y="559965"/>
                  <a:pt x="242887" y="560070"/>
                </a:cubicBezTo>
                <a:lnTo>
                  <a:pt x="566737" y="560070"/>
                </a:lnTo>
                <a:cubicBezTo>
                  <a:pt x="602465" y="559965"/>
                  <a:pt x="631402" y="531028"/>
                  <a:pt x="631507" y="495300"/>
                </a:cubicBezTo>
                <a:lnTo>
                  <a:pt x="631507" y="314325"/>
                </a:lnTo>
                <a:cubicBezTo>
                  <a:pt x="631402" y="278597"/>
                  <a:pt x="602465" y="249660"/>
                  <a:pt x="566737" y="249555"/>
                </a:cubicBezTo>
                <a:close/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2487C176-18A9-4BB0-BD80-DEC34233A800}"/>
              </a:ext>
            </a:extLst>
          </p:cNvPr>
          <p:cNvSpPr>
            <a:spLocks noChangeAspect="1"/>
          </p:cNvSpPr>
          <p:nvPr/>
        </p:nvSpPr>
        <p:spPr>
          <a:xfrm>
            <a:off x="8298996" y="4501548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495146 w 809625"/>
              <a:gd name="connsiteY5" fmla="*/ 220645 h 809625"/>
              <a:gd name="connsiteX6" fmla="*/ 428527 w 809625"/>
              <a:gd name="connsiteY6" fmla="*/ 245841 h 809625"/>
              <a:gd name="connsiteX7" fmla="*/ 399192 w 809625"/>
              <a:gd name="connsiteY7" fmla="*/ 313563 h 809625"/>
              <a:gd name="connsiteX8" fmla="*/ 401573 w 809625"/>
              <a:gd name="connsiteY8" fmla="*/ 334803 h 809625"/>
              <a:gd name="connsiteX9" fmla="*/ 209549 w 809625"/>
              <a:gd name="connsiteY9" fmla="*/ 238125 h 809625"/>
              <a:gd name="connsiteX10" fmla="*/ 238124 w 809625"/>
              <a:gd name="connsiteY10" fmla="*/ 361950 h 809625"/>
              <a:gd name="connsiteX11" fmla="*/ 195928 w 809625"/>
              <a:gd name="connsiteY11" fmla="*/ 350329 h 809625"/>
              <a:gd name="connsiteX12" fmla="*/ 195929 w 809625"/>
              <a:gd name="connsiteY12" fmla="*/ 351567 h 809625"/>
              <a:gd name="connsiteX13" fmla="*/ 270605 w 809625"/>
              <a:gd name="connsiteY13" fmla="*/ 442722 h 809625"/>
              <a:gd name="connsiteX14" fmla="*/ 228599 w 809625"/>
              <a:gd name="connsiteY14" fmla="*/ 444341 h 809625"/>
              <a:gd name="connsiteX15" fmla="*/ 315467 w 809625"/>
              <a:gd name="connsiteY15" fmla="*/ 508920 h 809625"/>
              <a:gd name="connsiteX16" fmla="*/ 200024 w 809625"/>
              <a:gd name="connsiteY16" fmla="*/ 548544 h 809625"/>
              <a:gd name="connsiteX17" fmla="*/ 177831 w 809625"/>
              <a:gd name="connsiteY17" fmla="*/ 547211 h 809625"/>
              <a:gd name="connsiteX18" fmla="*/ 320706 w 809625"/>
              <a:gd name="connsiteY18" fmla="*/ 589026 h 809625"/>
              <a:gd name="connsiteX19" fmla="*/ 585406 w 809625"/>
              <a:gd name="connsiteY19" fmla="*/ 324421 h 809625"/>
              <a:gd name="connsiteX20" fmla="*/ 585406 w 809625"/>
              <a:gd name="connsiteY20" fmla="*/ 312324 h 809625"/>
              <a:gd name="connsiteX21" fmla="*/ 631507 w 809625"/>
              <a:gd name="connsiteY21" fmla="*/ 264223 h 809625"/>
              <a:gd name="connsiteX22" fmla="*/ 578072 w 809625"/>
              <a:gd name="connsiteY22" fmla="*/ 278892 h 809625"/>
              <a:gd name="connsiteX23" fmla="*/ 619124 w 809625"/>
              <a:gd name="connsiteY23" fmla="*/ 227361 h 809625"/>
              <a:gd name="connsiteX24" fmla="*/ 560069 w 809625"/>
              <a:gd name="connsiteY24" fmla="*/ 249936 h 809625"/>
              <a:gd name="connsiteX25" fmla="*/ 495146 w 809625"/>
              <a:gd name="connsiteY25" fmla="*/ 220645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495146" y="220645"/>
                </a:moveTo>
                <a:cubicBezTo>
                  <a:pt x="471342" y="219904"/>
                  <a:pt x="447255" y="228245"/>
                  <a:pt x="428527" y="245841"/>
                </a:cubicBezTo>
                <a:cubicBezTo>
                  <a:pt x="409833" y="263407"/>
                  <a:pt x="399219" y="287911"/>
                  <a:pt x="399192" y="313563"/>
                </a:cubicBezTo>
                <a:cubicBezTo>
                  <a:pt x="399204" y="320709"/>
                  <a:pt x="400003" y="327832"/>
                  <a:pt x="401573" y="334803"/>
                </a:cubicBezTo>
                <a:cubicBezTo>
                  <a:pt x="326768" y="331204"/>
                  <a:pt x="256991" y="296073"/>
                  <a:pt x="209549" y="238125"/>
                </a:cubicBezTo>
                <a:cubicBezTo>
                  <a:pt x="185023" y="280491"/>
                  <a:pt x="197513" y="334615"/>
                  <a:pt x="238124" y="361950"/>
                </a:cubicBezTo>
                <a:cubicBezTo>
                  <a:pt x="223336" y="361482"/>
                  <a:pt x="208871" y="357499"/>
                  <a:pt x="195928" y="350329"/>
                </a:cubicBezTo>
                <a:lnTo>
                  <a:pt x="195929" y="351567"/>
                </a:lnTo>
                <a:cubicBezTo>
                  <a:pt x="195962" y="395849"/>
                  <a:pt x="227195" y="433974"/>
                  <a:pt x="270605" y="442722"/>
                </a:cubicBezTo>
                <a:cubicBezTo>
                  <a:pt x="256901" y="446399"/>
                  <a:pt x="242546" y="446952"/>
                  <a:pt x="228599" y="444341"/>
                </a:cubicBezTo>
                <a:cubicBezTo>
                  <a:pt x="240745" y="482243"/>
                  <a:pt x="275672" y="508209"/>
                  <a:pt x="315467" y="508920"/>
                </a:cubicBezTo>
                <a:cubicBezTo>
                  <a:pt x="282513" y="534690"/>
                  <a:pt x="241858" y="548644"/>
                  <a:pt x="200024" y="548544"/>
                </a:cubicBezTo>
                <a:cubicBezTo>
                  <a:pt x="192607" y="548536"/>
                  <a:pt x="185196" y="548091"/>
                  <a:pt x="177831" y="547211"/>
                </a:cubicBezTo>
                <a:cubicBezTo>
                  <a:pt x="220421" y="574649"/>
                  <a:pt x="270043" y="589172"/>
                  <a:pt x="320706" y="589026"/>
                </a:cubicBezTo>
                <a:cubicBezTo>
                  <a:pt x="492156" y="589026"/>
                  <a:pt x="585406" y="447294"/>
                  <a:pt x="585406" y="324421"/>
                </a:cubicBezTo>
                <a:cubicBezTo>
                  <a:pt x="585406" y="320325"/>
                  <a:pt x="585406" y="316325"/>
                  <a:pt x="585406" y="312324"/>
                </a:cubicBezTo>
                <a:cubicBezTo>
                  <a:pt x="603503" y="299151"/>
                  <a:pt x="619113" y="282863"/>
                  <a:pt x="631507" y="264223"/>
                </a:cubicBezTo>
                <a:cubicBezTo>
                  <a:pt x="614513" y="271713"/>
                  <a:pt x="596508" y="276656"/>
                  <a:pt x="578072" y="278892"/>
                </a:cubicBezTo>
                <a:cubicBezTo>
                  <a:pt x="597588" y="267302"/>
                  <a:pt x="612190" y="248974"/>
                  <a:pt x="619124" y="227361"/>
                </a:cubicBezTo>
                <a:cubicBezTo>
                  <a:pt x="600877" y="238213"/>
                  <a:pt x="580902" y="245848"/>
                  <a:pt x="560069" y="249936"/>
                </a:cubicBezTo>
                <a:cubicBezTo>
                  <a:pt x="542473" y="231209"/>
                  <a:pt x="518951" y="221387"/>
                  <a:pt x="495146" y="22064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41393088-2A2D-4F19-A536-4C5B46718A69}"/>
              </a:ext>
            </a:extLst>
          </p:cNvPr>
          <p:cNvSpPr>
            <a:spLocks noChangeAspect="1"/>
          </p:cNvSpPr>
          <p:nvPr userDrawn="1"/>
        </p:nvSpPr>
        <p:spPr>
          <a:xfrm>
            <a:off x="8681340" y="4501548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230981 w 809625"/>
              <a:gd name="connsiteY5" fmla="*/ 177069 h 809625"/>
              <a:gd name="connsiteX6" fmla="*/ 176498 w 809625"/>
              <a:gd name="connsiteY6" fmla="*/ 231552 h 809625"/>
              <a:gd name="connsiteX7" fmla="*/ 230981 w 809625"/>
              <a:gd name="connsiteY7" fmla="*/ 286035 h 809625"/>
              <a:gd name="connsiteX8" fmla="*/ 285464 w 809625"/>
              <a:gd name="connsiteY8" fmla="*/ 231552 h 809625"/>
              <a:gd name="connsiteX9" fmla="*/ 230981 w 809625"/>
              <a:gd name="connsiteY9" fmla="*/ 177069 h 809625"/>
              <a:gd name="connsiteX10" fmla="*/ 517493 w 809625"/>
              <a:gd name="connsiteY10" fmla="*/ 319849 h 809625"/>
              <a:gd name="connsiteX11" fmla="*/ 428625 w 809625"/>
              <a:gd name="connsiteY11" fmla="*/ 368617 h 809625"/>
              <a:gd name="connsiteX12" fmla="*/ 426910 w 809625"/>
              <a:gd name="connsiteY12" fmla="*/ 368617 h 809625"/>
              <a:gd name="connsiteX13" fmla="*/ 426910 w 809625"/>
              <a:gd name="connsiteY13" fmla="*/ 327278 h 809625"/>
              <a:gd name="connsiteX14" fmla="*/ 336899 w 809625"/>
              <a:gd name="connsiteY14" fmla="*/ 327278 h 809625"/>
              <a:gd name="connsiteX15" fmla="*/ 336899 w 809625"/>
              <a:gd name="connsiteY15" fmla="*/ 629602 h 809625"/>
              <a:gd name="connsiteX16" fmla="*/ 430720 w 809625"/>
              <a:gd name="connsiteY16" fmla="*/ 629602 h 809625"/>
              <a:gd name="connsiteX17" fmla="*/ 430720 w 809625"/>
              <a:gd name="connsiteY17" fmla="*/ 480059 h 809625"/>
              <a:gd name="connsiteX18" fmla="*/ 487108 w 809625"/>
              <a:gd name="connsiteY18" fmla="*/ 402430 h 809625"/>
              <a:gd name="connsiteX19" fmla="*/ 535876 w 809625"/>
              <a:gd name="connsiteY19" fmla="*/ 482631 h 809625"/>
              <a:gd name="connsiteX20" fmla="*/ 535876 w 809625"/>
              <a:gd name="connsiteY20" fmla="*/ 629602 h 809625"/>
              <a:gd name="connsiteX21" fmla="*/ 630174 w 809625"/>
              <a:gd name="connsiteY21" fmla="*/ 629602 h 809625"/>
              <a:gd name="connsiteX22" fmla="*/ 630174 w 809625"/>
              <a:gd name="connsiteY22" fmla="*/ 463771 h 809625"/>
              <a:gd name="connsiteX23" fmla="*/ 517493 w 809625"/>
              <a:gd name="connsiteY23" fmla="*/ 319849 h 809625"/>
              <a:gd name="connsiteX24" fmla="*/ 183927 w 809625"/>
              <a:gd name="connsiteY24" fmla="*/ 327278 h 809625"/>
              <a:gd name="connsiteX25" fmla="*/ 183927 w 809625"/>
              <a:gd name="connsiteY25" fmla="*/ 629602 h 809625"/>
              <a:gd name="connsiteX26" fmla="*/ 277939 w 809625"/>
              <a:gd name="connsiteY26" fmla="*/ 629602 h 809625"/>
              <a:gd name="connsiteX27" fmla="*/ 277939 w 809625"/>
              <a:gd name="connsiteY27" fmla="*/ 327278 h 809625"/>
              <a:gd name="connsiteX28" fmla="*/ 183927 w 809625"/>
              <a:gd name="connsiteY28" fmla="*/ 327278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230981" y="177069"/>
                </a:moveTo>
                <a:cubicBezTo>
                  <a:pt x="200891" y="177069"/>
                  <a:pt x="176498" y="201462"/>
                  <a:pt x="176498" y="231552"/>
                </a:cubicBezTo>
                <a:cubicBezTo>
                  <a:pt x="176498" y="261642"/>
                  <a:pt x="200891" y="286035"/>
                  <a:pt x="230981" y="286035"/>
                </a:cubicBezTo>
                <a:cubicBezTo>
                  <a:pt x="261071" y="286035"/>
                  <a:pt x="285464" y="261642"/>
                  <a:pt x="285464" y="231552"/>
                </a:cubicBezTo>
                <a:cubicBezTo>
                  <a:pt x="285464" y="201462"/>
                  <a:pt x="261071" y="177069"/>
                  <a:pt x="230981" y="177069"/>
                </a:cubicBezTo>
                <a:close/>
                <a:moveTo>
                  <a:pt x="517493" y="319849"/>
                </a:moveTo>
                <a:cubicBezTo>
                  <a:pt x="481146" y="318484"/>
                  <a:pt x="446996" y="337225"/>
                  <a:pt x="428625" y="368617"/>
                </a:cubicBezTo>
                <a:lnTo>
                  <a:pt x="426910" y="368617"/>
                </a:lnTo>
                <a:lnTo>
                  <a:pt x="426910" y="327278"/>
                </a:lnTo>
                <a:lnTo>
                  <a:pt x="336899" y="327278"/>
                </a:lnTo>
                <a:lnTo>
                  <a:pt x="336899" y="629602"/>
                </a:lnTo>
                <a:lnTo>
                  <a:pt x="430720" y="629602"/>
                </a:lnTo>
                <a:lnTo>
                  <a:pt x="430720" y="480059"/>
                </a:lnTo>
                <a:cubicBezTo>
                  <a:pt x="430720" y="440530"/>
                  <a:pt x="438912" y="402430"/>
                  <a:pt x="487108" y="402430"/>
                </a:cubicBezTo>
                <a:cubicBezTo>
                  <a:pt x="535305" y="402430"/>
                  <a:pt x="535876" y="447579"/>
                  <a:pt x="535876" y="482631"/>
                </a:cubicBezTo>
                <a:lnTo>
                  <a:pt x="535876" y="629602"/>
                </a:lnTo>
                <a:lnTo>
                  <a:pt x="630174" y="629602"/>
                </a:lnTo>
                <a:lnTo>
                  <a:pt x="630174" y="463771"/>
                </a:lnTo>
                <a:cubicBezTo>
                  <a:pt x="630174" y="382428"/>
                  <a:pt x="612743" y="319849"/>
                  <a:pt x="517493" y="319849"/>
                </a:cubicBezTo>
                <a:close/>
                <a:moveTo>
                  <a:pt x="183927" y="327278"/>
                </a:moveTo>
                <a:lnTo>
                  <a:pt x="183927" y="629602"/>
                </a:lnTo>
                <a:lnTo>
                  <a:pt x="277939" y="629602"/>
                </a:lnTo>
                <a:lnTo>
                  <a:pt x="277939" y="327278"/>
                </a:lnTo>
                <a:lnTo>
                  <a:pt x="183927" y="32727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F1F78FC3-536A-4C34-B2A3-95085DF38A8D}"/>
              </a:ext>
            </a:extLst>
          </p:cNvPr>
          <p:cNvSpPr>
            <a:spLocks noChangeAspect="1"/>
          </p:cNvSpPr>
          <p:nvPr userDrawn="1"/>
        </p:nvSpPr>
        <p:spPr>
          <a:xfrm>
            <a:off x="9063685" y="4501548"/>
            <a:ext cx="242382" cy="242382"/>
          </a:xfrm>
          <a:custGeom>
            <a:avLst/>
            <a:gdLst>
              <a:gd name="connsiteX0" fmla="*/ 404812 w 809625"/>
              <a:gd name="connsiteY0" fmla="*/ 288417 h 809625"/>
              <a:gd name="connsiteX1" fmla="*/ 288417 w 809625"/>
              <a:gd name="connsiteY1" fmla="*/ 404812 h 809625"/>
              <a:gd name="connsiteX2" fmla="*/ 404812 w 809625"/>
              <a:gd name="connsiteY2" fmla="*/ 521208 h 809625"/>
              <a:gd name="connsiteX3" fmla="*/ 521208 w 809625"/>
              <a:gd name="connsiteY3" fmla="*/ 404812 h 809625"/>
              <a:gd name="connsiteX4" fmla="*/ 404812 w 809625"/>
              <a:gd name="connsiteY4" fmla="*/ 288417 h 809625"/>
              <a:gd name="connsiteX5" fmla="*/ 525780 w 809625"/>
              <a:gd name="connsiteY5" fmla="*/ 256603 h 809625"/>
              <a:gd name="connsiteX6" fmla="*/ 498538 w 809625"/>
              <a:gd name="connsiteY6" fmla="*/ 283844 h 809625"/>
              <a:gd name="connsiteX7" fmla="*/ 525780 w 809625"/>
              <a:gd name="connsiteY7" fmla="*/ 311086 h 809625"/>
              <a:gd name="connsiteX8" fmla="*/ 553021 w 809625"/>
              <a:gd name="connsiteY8" fmla="*/ 283844 h 809625"/>
              <a:gd name="connsiteX9" fmla="*/ 525780 w 809625"/>
              <a:gd name="connsiteY9" fmla="*/ 256603 h 809625"/>
              <a:gd name="connsiteX10" fmla="*/ 404812 w 809625"/>
              <a:gd name="connsiteY10" fmla="*/ 219075 h 809625"/>
              <a:gd name="connsiteX11" fmla="*/ 496443 w 809625"/>
              <a:gd name="connsiteY11" fmla="*/ 220408 h 809625"/>
              <a:gd name="connsiteX12" fmla="*/ 538543 w 809625"/>
              <a:gd name="connsiteY12" fmla="*/ 228218 h 809625"/>
              <a:gd name="connsiteX13" fmla="*/ 581501 w 809625"/>
              <a:gd name="connsiteY13" fmla="*/ 271176 h 809625"/>
              <a:gd name="connsiteX14" fmla="*/ 589311 w 809625"/>
              <a:gd name="connsiteY14" fmla="*/ 313277 h 809625"/>
              <a:gd name="connsiteX15" fmla="*/ 590645 w 809625"/>
              <a:gd name="connsiteY15" fmla="*/ 404907 h 809625"/>
              <a:gd name="connsiteX16" fmla="*/ 589311 w 809625"/>
              <a:gd name="connsiteY16" fmla="*/ 496538 h 809625"/>
              <a:gd name="connsiteX17" fmla="*/ 581501 w 809625"/>
              <a:gd name="connsiteY17" fmla="*/ 538638 h 809625"/>
              <a:gd name="connsiteX18" fmla="*/ 538543 w 809625"/>
              <a:gd name="connsiteY18" fmla="*/ 581596 h 809625"/>
              <a:gd name="connsiteX19" fmla="*/ 496443 w 809625"/>
              <a:gd name="connsiteY19" fmla="*/ 589406 h 809625"/>
              <a:gd name="connsiteX20" fmla="*/ 404812 w 809625"/>
              <a:gd name="connsiteY20" fmla="*/ 590740 h 809625"/>
              <a:gd name="connsiteX21" fmla="*/ 313182 w 809625"/>
              <a:gd name="connsiteY21" fmla="*/ 589407 h 809625"/>
              <a:gd name="connsiteX22" fmla="*/ 271081 w 809625"/>
              <a:gd name="connsiteY22" fmla="*/ 581596 h 809625"/>
              <a:gd name="connsiteX23" fmla="*/ 228600 w 809625"/>
              <a:gd name="connsiteY23" fmla="*/ 538543 h 809625"/>
              <a:gd name="connsiteX24" fmla="*/ 220789 w 809625"/>
              <a:gd name="connsiteY24" fmla="*/ 496443 h 809625"/>
              <a:gd name="connsiteX25" fmla="*/ 219075 w 809625"/>
              <a:gd name="connsiteY25" fmla="*/ 404812 h 809625"/>
              <a:gd name="connsiteX26" fmla="*/ 220408 w 809625"/>
              <a:gd name="connsiteY26" fmla="*/ 313182 h 809625"/>
              <a:gd name="connsiteX27" fmla="*/ 228600 w 809625"/>
              <a:gd name="connsiteY27" fmla="*/ 271081 h 809625"/>
              <a:gd name="connsiteX28" fmla="*/ 271081 w 809625"/>
              <a:gd name="connsiteY28" fmla="*/ 228600 h 809625"/>
              <a:gd name="connsiteX29" fmla="*/ 313181 w 809625"/>
              <a:gd name="connsiteY29" fmla="*/ 220789 h 809625"/>
              <a:gd name="connsiteX30" fmla="*/ 404812 w 809625"/>
              <a:gd name="connsiteY30" fmla="*/ 219075 h 809625"/>
              <a:gd name="connsiteX31" fmla="*/ 405669 w 809625"/>
              <a:gd name="connsiteY31" fmla="*/ 177736 h 809625"/>
              <a:gd name="connsiteX32" fmla="*/ 404812 w 809625"/>
              <a:gd name="connsiteY32" fmla="*/ 178212 h 809625"/>
              <a:gd name="connsiteX33" fmla="*/ 311372 w 809625"/>
              <a:gd name="connsiteY33" fmla="*/ 179546 h 809625"/>
              <a:gd name="connsiteX34" fmla="*/ 256317 w 809625"/>
              <a:gd name="connsiteY34" fmla="*/ 190500 h 809625"/>
              <a:gd name="connsiteX35" fmla="*/ 189642 w 809625"/>
              <a:gd name="connsiteY35" fmla="*/ 257175 h 809625"/>
              <a:gd name="connsiteX36" fmla="*/ 179069 w 809625"/>
              <a:gd name="connsiteY36" fmla="*/ 312229 h 809625"/>
              <a:gd name="connsiteX37" fmla="*/ 177736 w 809625"/>
              <a:gd name="connsiteY37" fmla="*/ 405669 h 809625"/>
              <a:gd name="connsiteX38" fmla="*/ 179069 w 809625"/>
              <a:gd name="connsiteY38" fmla="*/ 499110 h 809625"/>
              <a:gd name="connsiteX39" fmla="*/ 190500 w 809625"/>
              <a:gd name="connsiteY39" fmla="*/ 553307 h 809625"/>
              <a:gd name="connsiteX40" fmla="*/ 257175 w 809625"/>
              <a:gd name="connsiteY40" fmla="*/ 619982 h 809625"/>
              <a:gd name="connsiteX41" fmla="*/ 312229 w 809625"/>
              <a:gd name="connsiteY41" fmla="*/ 630554 h 809625"/>
              <a:gd name="connsiteX42" fmla="*/ 405669 w 809625"/>
              <a:gd name="connsiteY42" fmla="*/ 631888 h 809625"/>
              <a:gd name="connsiteX43" fmla="*/ 499110 w 809625"/>
              <a:gd name="connsiteY43" fmla="*/ 630554 h 809625"/>
              <a:gd name="connsiteX44" fmla="*/ 554164 w 809625"/>
              <a:gd name="connsiteY44" fmla="*/ 619982 h 809625"/>
              <a:gd name="connsiteX45" fmla="*/ 620839 w 809625"/>
              <a:gd name="connsiteY45" fmla="*/ 553307 h 809625"/>
              <a:gd name="connsiteX46" fmla="*/ 631412 w 809625"/>
              <a:gd name="connsiteY46" fmla="*/ 498252 h 809625"/>
              <a:gd name="connsiteX47" fmla="*/ 632745 w 809625"/>
              <a:gd name="connsiteY47" fmla="*/ 404812 h 809625"/>
              <a:gd name="connsiteX48" fmla="*/ 631412 w 809625"/>
              <a:gd name="connsiteY48" fmla="*/ 311372 h 809625"/>
              <a:gd name="connsiteX49" fmla="*/ 620839 w 809625"/>
              <a:gd name="connsiteY49" fmla="*/ 256317 h 809625"/>
              <a:gd name="connsiteX50" fmla="*/ 554164 w 809625"/>
              <a:gd name="connsiteY50" fmla="*/ 189642 h 809625"/>
              <a:gd name="connsiteX51" fmla="*/ 499110 w 809625"/>
              <a:gd name="connsiteY51" fmla="*/ 179069 h 809625"/>
              <a:gd name="connsiteX52" fmla="*/ 405669 w 809625"/>
              <a:gd name="connsiteY52" fmla="*/ 177736 h 809625"/>
              <a:gd name="connsiteX53" fmla="*/ 404813 w 809625"/>
              <a:gd name="connsiteY53" fmla="*/ 0 h 809625"/>
              <a:gd name="connsiteX54" fmla="*/ 809625 w 809625"/>
              <a:gd name="connsiteY54" fmla="*/ 404813 h 809625"/>
              <a:gd name="connsiteX55" fmla="*/ 404813 w 809625"/>
              <a:gd name="connsiteY55" fmla="*/ 809625 h 809625"/>
              <a:gd name="connsiteX56" fmla="*/ 0 w 809625"/>
              <a:gd name="connsiteY56" fmla="*/ 404813 h 809625"/>
              <a:gd name="connsiteX57" fmla="*/ 404813 w 809625"/>
              <a:gd name="connsiteY57" fmla="*/ 0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809625" h="809625">
                <a:moveTo>
                  <a:pt x="404812" y="288417"/>
                </a:moveTo>
                <a:cubicBezTo>
                  <a:pt x="340529" y="288417"/>
                  <a:pt x="288417" y="340529"/>
                  <a:pt x="288417" y="404812"/>
                </a:cubicBezTo>
                <a:cubicBezTo>
                  <a:pt x="288417" y="469096"/>
                  <a:pt x="340529" y="521208"/>
                  <a:pt x="404812" y="521208"/>
                </a:cubicBezTo>
                <a:cubicBezTo>
                  <a:pt x="469096" y="521208"/>
                  <a:pt x="521208" y="469096"/>
                  <a:pt x="521208" y="404812"/>
                </a:cubicBezTo>
                <a:cubicBezTo>
                  <a:pt x="521208" y="340529"/>
                  <a:pt x="469096" y="288417"/>
                  <a:pt x="404812" y="288417"/>
                </a:cubicBezTo>
                <a:close/>
                <a:moveTo>
                  <a:pt x="525780" y="256603"/>
                </a:moveTo>
                <a:cubicBezTo>
                  <a:pt x="510734" y="256603"/>
                  <a:pt x="498538" y="268799"/>
                  <a:pt x="498538" y="283844"/>
                </a:cubicBezTo>
                <a:cubicBezTo>
                  <a:pt x="498538" y="298890"/>
                  <a:pt x="510734" y="311086"/>
                  <a:pt x="525780" y="311086"/>
                </a:cubicBezTo>
                <a:cubicBezTo>
                  <a:pt x="540825" y="311086"/>
                  <a:pt x="553021" y="298890"/>
                  <a:pt x="553021" y="283844"/>
                </a:cubicBezTo>
                <a:cubicBezTo>
                  <a:pt x="553021" y="268799"/>
                  <a:pt x="540825" y="256603"/>
                  <a:pt x="525780" y="256603"/>
                </a:cubicBezTo>
                <a:close/>
                <a:moveTo>
                  <a:pt x="404812" y="219075"/>
                </a:moveTo>
                <a:cubicBezTo>
                  <a:pt x="465296" y="219075"/>
                  <a:pt x="472535" y="219075"/>
                  <a:pt x="496443" y="220408"/>
                </a:cubicBezTo>
                <a:cubicBezTo>
                  <a:pt x="510824" y="220533"/>
                  <a:pt x="525073" y="223177"/>
                  <a:pt x="538543" y="228218"/>
                </a:cubicBezTo>
                <a:cubicBezTo>
                  <a:pt x="558257" y="235874"/>
                  <a:pt x="573845" y="251463"/>
                  <a:pt x="581501" y="271176"/>
                </a:cubicBezTo>
                <a:cubicBezTo>
                  <a:pt x="586542" y="284646"/>
                  <a:pt x="589186" y="298895"/>
                  <a:pt x="589311" y="313277"/>
                </a:cubicBezTo>
                <a:cubicBezTo>
                  <a:pt x="590454" y="337185"/>
                  <a:pt x="590645" y="344424"/>
                  <a:pt x="590645" y="404907"/>
                </a:cubicBezTo>
                <a:cubicBezTo>
                  <a:pt x="590645" y="465391"/>
                  <a:pt x="590645" y="472630"/>
                  <a:pt x="589311" y="496538"/>
                </a:cubicBezTo>
                <a:cubicBezTo>
                  <a:pt x="589186" y="510920"/>
                  <a:pt x="586543" y="525168"/>
                  <a:pt x="581501" y="538638"/>
                </a:cubicBezTo>
                <a:cubicBezTo>
                  <a:pt x="573845" y="558352"/>
                  <a:pt x="558257" y="573940"/>
                  <a:pt x="538543" y="581596"/>
                </a:cubicBezTo>
                <a:cubicBezTo>
                  <a:pt x="525073" y="586638"/>
                  <a:pt x="510824" y="589281"/>
                  <a:pt x="496443" y="589406"/>
                </a:cubicBezTo>
                <a:cubicBezTo>
                  <a:pt x="472535" y="590550"/>
                  <a:pt x="465391" y="590740"/>
                  <a:pt x="404812" y="590740"/>
                </a:cubicBezTo>
                <a:cubicBezTo>
                  <a:pt x="344233" y="590740"/>
                  <a:pt x="337089" y="590740"/>
                  <a:pt x="313182" y="589407"/>
                </a:cubicBezTo>
                <a:cubicBezTo>
                  <a:pt x="298800" y="589281"/>
                  <a:pt x="284551" y="586638"/>
                  <a:pt x="271081" y="581596"/>
                </a:cubicBezTo>
                <a:cubicBezTo>
                  <a:pt x="251529" y="573808"/>
                  <a:pt x="236125" y="558197"/>
                  <a:pt x="228600" y="538543"/>
                </a:cubicBezTo>
                <a:cubicBezTo>
                  <a:pt x="223558" y="525073"/>
                  <a:pt x="220914" y="510824"/>
                  <a:pt x="220789" y="496443"/>
                </a:cubicBezTo>
                <a:cubicBezTo>
                  <a:pt x="219075" y="472535"/>
                  <a:pt x="219075" y="465296"/>
                  <a:pt x="219075" y="404812"/>
                </a:cubicBezTo>
                <a:cubicBezTo>
                  <a:pt x="219075" y="344328"/>
                  <a:pt x="219075" y="337089"/>
                  <a:pt x="220408" y="313182"/>
                </a:cubicBezTo>
                <a:cubicBezTo>
                  <a:pt x="220655" y="298777"/>
                  <a:pt x="223428" y="284527"/>
                  <a:pt x="228600" y="271081"/>
                </a:cubicBezTo>
                <a:cubicBezTo>
                  <a:pt x="236258" y="251643"/>
                  <a:pt x="251643" y="236258"/>
                  <a:pt x="271081" y="228600"/>
                </a:cubicBezTo>
                <a:cubicBezTo>
                  <a:pt x="284551" y="223558"/>
                  <a:pt x="298800" y="220914"/>
                  <a:pt x="313181" y="220789"/>
                </a:cubicBezTo>
                <a:cubicBezTo>
                  <a:pt x="337089" y="219075"/>
                  <a:pt x="344328" y="219075"/>
                  <a:pt x="404812" y="219075"/>
                </a:cubicBezTo>
                <a:close/>
                <a:moveTo>
                  <a:pt x="405669" y="177736"/>
                </a:moveTo>
                <a:lnTo>
                  <a:pt x="404812" y="178212"/>
                </a:lnTo>
                <a:cubicBezTo>
                  <a:pt x="343281" y="178212"/>
                  <a:pt x="335565" y="178212"/>
                  <a:pt x="311372" y="179546"/>
                </a:cubicBezTo>
                <a:cubicBezTo>
                  <a:pt x="292533" y="180057"/>
                  <a:pt x="273917" y="183760"/>
                  <a:pt x="256317" y="190500"/>
                </a:cubicBezTo>
                <a:cubicBezTo>
                  <a:pt x="225602" y="202200"/>
                  <a:pt x="201343" y="226459"/>
                  <a:pt x="189642" y="257175"/>
                </a:cubicBezTo>
                <a:cubicBezTo>
                  <a:pt x="183033" y="274797"/>
                  <a:pt x="179458" y="293412"/>
                  <a:pt x="179069" y="312229"/>
                </a:cubicBezTo>
                <a:cubicBezTo>
                  <a:pt x="178022" y="336423"/>
                  <a:pt x="177736" y="344138"/>
                  <a:pt x="177736" y="405669"/>
                </a:cubicBezTo>
                <a:cubicBezTo>
                  <a:pt x="177736" y="467201"/>
                  <a:pt x="177736" y="474916"/>
                  <a:pt x="179069" y="499110"/>
                </a:cubicBezTo>
                <a:cubicBezTo>
                  <a:pt x="179828" y="517687"/>
                  <a:pt x="183692" y="536005"/>
                  <a:pt x="190500" y="553307"/>
                </a:cubicBezTo>
                <a:cubicBezTo>
                  <a:pt x="202200" y="584022"/>
                  <a:pt x="226459" y="608281"/>
                  <a:pt x="257175" y="619982"/>
                </a:cubicBezTo>
                <a:cubicBezTo>
                  <a:pt x="274797" y="626591"/>
                  <a:pt x="293412" y="630165"/>
                  <a:pt x="312229" y="630554"/>
                </a:cubicBezTo>
                <a:cubicBezTo>
                  <a:pt x="336423" y="631602"/>
                  <a:pt x="344138" y="631888"/>
                  <a:pt x="405669" y="631888"/>
                </a:cubicBezTo>
                <a:cubicBezTo>
                  <a:pt x="467201" y="631888"/>
                  <a:pt x="474916" y="631888"/>
                  <a:pt x="499110" y="630554"/>
                </a:cubicBezTo>
                <a:cubicBezTo>
                  <a:pt x="517927" y="630165"/>
                  <a:pt x="536542" y="626591"/>
                  <a:pt x="554164" y="619982"/>
                </a:cubicBezTo>
                <a:cubicBezTo>
                  <a:pt x="584880" y="608281"/>
                  <a:pt x="609138" y="584022"/>
                  <a:pt x="620839" y="553307"/>
                </a:cubicBezTo>
                <a:cubicBezTo>
                  <a:pt x="627448" y="535684"/>
                  <a:pt x="631023" y="517069"/>
                  <a:pt x="631412" y="498252"/>
                </a:cubicBezTo>
                <a:cubicBezTo>
                  <a:pt x="632460" y="474059"/>
                  <a:pt x="632745" y="466344"/>
                  <a:pt x="632745" y="404812"/>
                </a:cubicBezTo>
                <a:cubicBezTo>
                  <a:pt x="632745" y="343281"/>
                  <a:pt x="632745" y="335565"/>
                  <a:pt x="631412" y="311372"/>
                </a:cubicBezTo>
                <a:cubicBezTo>
                  <a:pt x="631023" y="292555"/>
                  <a:pt x="627448" y="273940"/>
                  <a:pt x="620839" y="256317"/>
                </a:cubicBezTo>
                <a:cubicBezTo>
                  <a:pt x="609138" y="225602"/>
                  <a:pt x="584880" y="201343"/>
                  <a:pt x="554164" y="189642"/>
                </a:cubicBezTo>
                <a:cubicBezTo>
                  <a:pt x="536542" y="183033"/>
                  <a:pt x="517927" y="179458"/>
                  <a:pt x="499110" y="179069"/>
                </a:cubicBezTo>
                <a:cubicBezTo>
                  <a:pt x="474916" y="178022"/>
                  <a:pt x="467201" y="177736"/>
                  <a:pt x="405669" y="177736"/>
                </a:cubicBezTo>
                <a:close/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37645F6A-EDD9-42D2-A01C-F8414798D57C}"/>
              </a:ext>
            </a:extLst>
          </p:cNvPr>
          <p:cNvSpPr>
            <a:spLocks noChangeAspect="1"/>
          </p:cNvSpPr>
          <p:nvPr/>
        </p:nvSpPr>
        <p:spPr>
          <a:xfrm>
            <a:off x="9446029" y="4501548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207835 w 809625"/>
              <a:gd name="connsiteY5" fmla="*/ 183451 h 809625"/>
              <a:gd name="connsiteX6" fmla="*/ 183451 w 809625"/>
              <a:gd name="connsiteY6" fmla="*/ 207835 h 809625"/>
              <a:gd name="connsiteX7" fmla="*/ 183451 w 809625"/>
              <a:gd name="connsiteY7" fmla="*/ 601789 h 809625"/>
              <a:gd name="connsiteX8" fmla="*/ 207835 w 809625"/>
              <a:gd name="connsiteY8" fmla="*/ 626173 h 809625"/>
              <a:gd name="connsiteX9" fmla="*/ 419957 w 809625"/>
              <a:gd name="connsiteY9" fmla="*/ 626173 h 809625"/>
              <a:gd name="connsiteX10" fmla="*/ 419957 w 809625"/>
              <a:gd name="connsiteY10" fmla="*/ 454723 h 809625"/>
              <a:gd name="connsiteX11" fmla="*/ 361950 w 809625"/>
              <a:gd name="connsiteY11" fmla="*/ 454723 h 809625"/>
              <a:gd name="connsiteX12" fmla="*/ 361950 w 809625"/>
              <a:gd name="connsiteY12" fmla="*/ 388048 h 809625"/>
              <a:gd name="connsiteX13" fmla="*/ 419671 w 809625"/>
              <a:gd name="connsiteY13" fmla="*/ 388048 h 809625"/>
              <a:gd name="connsiteX14" fmla="*/ 419671 w 809625"/>
              <a:gd name="connsiteY14" fmla="*/ 338613 h 809625"/>
              <a:gd name="connsiteX15" fmla="*/ 505396 w 809625"/>
              <a:gd name="connsiteY15" fmla="*/ 250317 h 809625"/>
              <a:gd name="connsiteX16" fmla="*/ 556926 w 809625"/>
              <a:gd name="connsiteY16" fmla="*/ 252984 h 809625"/>
              <a:gd name="connsiteX17" fmla="*/ 556926 w 809625"/>
              <a:gd name="connsiteY17" fmla="*/ 312705 h 809625"/>
              <a:gd name="connsiteX18" fmla="*/ 522065 w 809625"/>
              <a:gd name="connsiteY18" fmla="*/ 312705 h 809625"/>
              <a:gd name="connsiteX19" fmla="*/ 488918 w 809625"/>
              <a:gd name="connsiteY19" fmla="*/ 345281 h 809625"/>
              <a:gd name="connsiteX20" fmla="*/ 488918 w 809625"/>
              <a:gd name="connsiteY20" fmla="*/ 387953 h 809625"/>
              <a:gd name="connsiteX21" fmla="*/ 555593 w 809625"/>
              <a:gd name="connsiteY21" fmla="*/ 387953 h 809625"/>
              <a:gd name="connsiteX22" fmla="*/ 546925 w 809625"/>
              <a:gd name="connsiteY22" fmla="*/ 454628 h 809625"/>
              <a:gd name="connsiteX23" fmla="*/ 489775 w 809625"/>
              <a:gd name="connsiteY23" fmla="*/ 454628 h 809625"/>
              <a:gd name="connsiteX24" fmla="*/ 489775 w 809625"/>
              <a:gd name="connsiteY24" fmla="*/ 626078 h 809625"/>
              <a:gd name="connsiteX25" fmla="*/ 601789 w 809625"/>
              <a:gd name="connsiteY25" fmla="*/ 626078 h 809625"/>
              <a:gd name="connsiteX26" fmla="*/ 626173 w 809625"/>
              <a:gd name="connsiteY26" fmla="*/ 601694 h 809625"/>
              <a:gd name="connsiteX27" fmla="*/ 626173 w 809625"/>
              <a:gd name="connsiteY27" fmla="*/ 207835 h 809625"/>
              <a:gd name="connsiteX28" fmla="*/ 601789 w 809625"/>
              <a:gd name="connsiteY28" fmla="*/ 183451 h 809625"/>
              <a:gd name="connsiteX29" fmla="*/ 207835 w 809625"/>
              <a:gd name="connsiteY29" fmla="*/ 183451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207835" y="183451"/>
                </a:moveTo>
                <a:cubicBezTo>
                  <a:pt x="194368" y="183451"/>
                  <a:pt x="183451" y="194368"/>
                  <a:pt x="183451" y="207835"/>
                </a:cubicBezTo>
                <a:lnTo>
                  <a:pt x="183451" y="601789"/>
                </a:lnTo>
                <a:cubicBezTo>
                  <a:pt x="183451" y="615256"/>
                  <a:pt x="194368" y="626173"/>
                  <a:pt x="207835" y="626173"/>
                </a:cubicBezTo>
                <a:lnTo>
                  <a:pt x="419957" y="626173"/>
                </a:lnTo>
                <a:lnTo>
                  <a:pt x="419957" y="454723"/>
                </a:lnTo>
                <a:lnTo>
                  <a:pt x="361950" y="454723"/>
                </a:lnTo>
                <a:lnTo>
                  <a:pt x="361950" y="388048"/>
                </a:lnTo>
                <a:lnTo>
                  <a:pt x="419671" y="388048"/>
                </a:lnTo>
                <a:lnTo>
                  <a:pt x="419671" y="338613"/>
                </a:lnTo>
                <a:cubicBezTo>
                  <a:pt x="419671" y="281463"/>
                  <a:pt x="454533" y="250317"/>
                  <a:pt x="505396" y="250317"/>
                </a:cubicBezTo>
                <a:cubicBezTo>
                  <a:pt x="522609" y="250238"/>
                  <a:pt x="539813" y="251128"/>
                  <a:pt x="556926" y="252984"/>
                </a:cubicBezTo>
                <a:lnTo>
                  <a:pt x="556926" y="312705"/>
                </a:lnTo>
                <a:lnTo>
                  <a:pt x="522065" y="312705"/>
                </a:lnTo>
                <a:cubicBezTo>
                  <a:pt x="494252" y="312705"/>
                  <a:pt x="488918" y="325945"/>
                  <a:pt x="488918" y="345281"/>
                </a:cubicBezTo>
                <a:lnTo>
                  <a:pt x="488918" y="387953"/>
                </a:lnTo>
                <a:lnTo>
                  <a:pt x="555593" y="387953"/>
                </a:lnTo>
                <a:lnTo>
                  <a:pt x="546925" y="454628"/>
                </a:lnTo>
                <a:lnTo>
                  <a:pt x="489775" y="454628"/>
                </a:lnTo>
                <a:lnTo>
                  <a:pt x="489775" y="626078"/>
                </a:lnTo>
                <a:lnTo>
                  <a:pt x="601789" y="626078"/>
                </a:lnTo>
                <a:cubicBezTo>
                  <a:pt x="615256" y="626078"/>
                  <a:pt x="626173" y="615161"/>
                  <a:pt x="626173" y="601694"/>
                </a:cubicBezTo>
                <a:lnTo>
                  <a:pt x="626173" y="207835"/>
                </a:lnTo>
                <a:cubicBezTo>
                  <a:pt x="626173" y="194368"/>
                  <a:pt x="615256" y="183451"/>
                  <a:pt x="601789" y="183451"/>
                </a:cubicBezTo>
                <a:lnTo>
                  <a:pt x="207835" y="183451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2C0FD023-579A-62CD-4A09-817C603D34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4484" y="2549185"/>
            <a:ext cx="1976093" cy="879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5339415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76849F14-4971-4208-82A8-1F0513897926}"/>
              </a:ext>
            </a:extLst>
          </p:cNvPr>
          <p:cNvSpPr/>
          <p:nvPr userDrawn="1"/>
        </p:nvSpPr>
        <p:spPr>
          <a:xfrm>
            <a:off x="719400" y="-2"/>
            <a:ext cx="107532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096AA35B-6D3E-4809-9D78-9CF31081E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9400" y="-2"/>
            <a:ext cx="4680000" cy="4068000"/>
          </a:xfrm>
          <a:solidFill>
            <a:schemeClr val="tx2"/>
          </a:solidFill>
        </p:spPr>
        <p:txBody>
          <a:bodyPr lIns="342000" tIns="342000" rIns="0" bIns="504000" anchor="b" anchorCtr="0"/>
          <a:lstStyle>
            <a:lvl1pPr>
              <a:defRPr sz="4500">
                <a:solidFill>
                  <a:schemeClr val="accent1"/>
                </a:solidFill>
              </a:defRPr>
            </a:lvl1pPr>
          </a:lstStyle>
          <a:p>
            <a:r>
              <a:rPr lang="en-US"/>
              <a:t>Thank you</a:t>
            </a:r>
            <a:endParaRPr lang="en-AU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FD95F930-CD55-469B-9FD0-1150DA73B39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-2"/>
            <a:ext cx="12192000" cy="6876000"/>
          </a:xfrm>
          <a:custGeom>
            <a:avLst/>
            <a:gdLst>
              <a:gd name="connsiteX0" fmla="*/ 114726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472600 w 12192000"/>
              <a:gd name="connsiteY3" fmla="*/ 6858000 h 6858000"/>
              <a:gd name="connsiteX4" fmla="*/ 0 w 12192000"/>
              <a:gd name="connsiteY4" fmla="*/ 0 h 6858000"/>
              <a:gd name="connsiteX5" fmla="*/ 719400 w 12192000"/>
              <a:gd name="connsiteY5" fmla="*/ 0 h 6858000"/>
              <a:gd name="connsiteX6" fmla="*/ 7194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14726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472600" y="6858000"/>
                </a:lnTo>
                <a:close/>
                <a:moveTo>
                  <a:pt x="0" y="0"/>
                </a:moveTo>
                <a:lnTo>
                  <a:pt x="719400" y="0"/>
                </a:lnTo>
                <a:lnTo>
                  <a:pt x="7194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08000" tIns="108000" rIns="115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F8BC909C-567D-4F9C-A0DF-D05DE8F82075}"/>
              </a:ext>
            </a:extLst>
          </p:cNvPr>
          <p:cNvSpPr>
            <a:spLocks noChangeAspect="1"/>
          </p:cNvSpPr>
          <p:nvPr/>
        </p:nvSpPr>
        <p:spPr>
          <a:xfrm>
            <a:off x="7916652" y="4501548"/>
            <a:ext cx="242382" cy="242382"/>
          </a:xfrm>
          <a:custGeom>
            <a:avLst/>
            <a:gdLst>
              <a:gd name="connsiteX0" fmla="*/ 357950 w 809625"/>
              <a:gd name="connsiteY0" fmla="*/ 333375 h 809625"/>
              <a:gd name="connsiteX1" fmla="*/ 480537 w 809625"/>
              <a:gd name="connsiteY1" fmla="*/ 397002 h 809625"/>
              <a:gd name="connsiteX2" fmla="*/ 357950 w 809625"/>
              <a:gd name="connsiteY2" fmla="*/ 460439 h 809625"/>
              <a:gd name="connsiteX3" fmla="*/ 242887 w 809625"/>
              <a:gd name="connsiteY3" fmla="*/ 249555 h 809625"/>
              <a:gd name="connsiteX4" fmla="*/ 178117 w 809625"/>
              <a:gd name="connsiteY4" fmla="*/ 314325 h 809625"/>
              <a:gd name="connsiteX5" fmla="*/ 178117 w 809625"/>
              <a:gd name="connsiteY5" fmla="*/ 495300 h 809625"/>
              <a:gd name="connsiteX6" fmla="*/ 242887 w 809625"/>
              <a:gd name="connsiteY6" fmla="*/ 560070 h 809625"/>
              <a:gd name="connsiteX7" fmla="*/ 566737 w 809625"/>
              <a:gd name="connsiteY7" fmla="*/ 560070 h 809625"/>
              <a:gd name="connsiteX8" fmla="*/ 631507 w 809625"/>
              <a:gd name="connsiteY8" fmla="*/ 495300 h 809625"/>
              <a:gd name="connsiteX9" fmla="*/ 631507 w 809625"/>
              <a:gd name="connsiteY9" fmla="*/ 314325 h 809625"/>
              <a:gd name="connsiteX10" fmla="*/ 566737 w 809625"/>
              <a:gd name="connsiteY10" fmla="*/ 249555 h 809625"/>
              <a:gd name="connsiteX11" fmla="*/ 404813 w 809625"/>
              <a:gd name="connsiteY11" fmla="*/ 0 h 809625"/>
              <a:gd name="connsiteX12" fmla="*/ 809625 w 809625"/>
              <a:gd name="connsiteY12" fmla="*/ 404813 h 809625"/>
              <a:gd name="connsiteX13" fmla="*/ 404813 w 809625"/>
              <a:gd name="connsiteY13" fmla="*/ 809625 h 809625"/>
              <a:gd name="connsiteX14" fmla="*/ 0 w 809625"/>
              <a:gd name="connsiteY14" fmla="*/ 404813 h 809625"/>
              <a:gd name="connsiteX15" fmla="*/ 404813 w 809625"/>
              <a:gd name="connsiteY15" fmla="*/ 0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809625" h="809625">
                <a:moveTo>
                  <a:pt x="357950" y="333375"/>
                </a:moveTo>
                <a:lnTo>
                  <a:pt x="480537" y="397002"/>
                </a:lnTo>
                <a:lnTo>
                  <a:pt x="357950" y="460439"/>
                </a:lnTo>
                <a:close/>
                <a:moveTo>
                  <a:pt x="242887" y="249555"/>
                </a:moveTo>
                <a:cubicBezTo>
                  <a:pt x="207159" y="249660"/>
                  <a:pt x="178222" y="278597"/>
                  <a:pt x="178117" y="314325"/>
                </a:cubicBezTo>
                <a:lnTo>
                  <a:pt x="178117" y="495300"/>
                </a:lnTo>
                <a:cubicBezTo>
                  <a:pt x="178222" y="531028"/>
                  <a:pt x="207159" y="559965"/>
                  <a:pt x="242887" y="560070"/>
                </a:cubicBezTo>
                <a:lnTo>
                  <a:pt x="566737" y="560070"/>
                </a:lnTo>
                <a:cubicBezTo>
                  <a:pt x="602465" y="559965"/>
                  <a:pt x="631402" y="531028"/>
                  <a:pt x="631507" y="495300"/>
                </a:cubicBezTo>
                <a:lnTo>
                  <a:pt x="631507" y="314325"/>
                </a:lnTo>
                <a:cubicBezTo>
                  <a:pt x="631402" y="278597"/>
                  <a:pt x="602465" y="249660"/>
                  <a:pt x="566737" y="249555"/>
                </a:cubicBezTo>
                <a:close/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2487C176-18A9-4BB0-BD80-DEC34233A800}"/>
              </a:ext>
            </a:extLst>
          </p:cNvPr>
          <p:cNvSpPr>
            <a:spLocks noChangeAspect="1"/>
          </p:cNvSpPr>
          <p:nvPr/>
        </p:nvSpPr>
        <p:spPr>
          <a:xfrm>
            <a:off x="8298996" y="4501548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495146 w 809625"/>
              <a:gd name="connsiteY5" fmla="*/ 220645 h 809625"/>
              <a:gd name="connsiteX6" fmla="*/ 428527 w 809625"/>
              <a:gd name="connsiteY6" fmla="*/ 245841 h 809625"/>
              <a:gd name="connsiteX7" fmla="*/ 399192 w 809625"/>
              <a:gd name="connsiteY7" fmla="*/ 313563 h 809625"/>
              <a:gd name="connsiteX8" fmla="*/ 401573 w 809625"/>
              <a:gd name="connsiteY8" fmla="*/ 334803 h 809625"/>
              <a:gd name="connsiteX9" fmla="*/ 209549 w 809625"/>
              <a:gd name="connsiteY9" fmla="*/ 238125 h 809625"/>
              <a:gd name="connsiteX10" fmla="*/ 238124 w 809625"/>
              <a:gd name="connsiteY10" fmla="*/ 361950 h 809625"/>
              <a:gd name="connsiteX11" fmla="*/ 195928 w 809625"/>
              <a:gd name="connsiteY11" fmla="*/ 350329 h 809625"/>
              <a:gd name="connsiteX12" fmla="*/ 195929 w 809625"/>
              <a:gd name="connsiteY12" fmla="*/ 351567 h 809625"/>
              <a:gd name="connsiteX13" fmla="*/ 270605 w 809625"/>
              <a:gd name="connsiteY13" fmla="*/ 442722 h 809625"/>
              <a:gd name="connsiteX14" fmla="*/ 228599 w 809625"/>
              <a:gd name="connsiteY14" fmla="*/ 444341 h 809625"/>
              <a:gd name="connsiteX15" fmla="*/ 315467 w 809625"/>
              <a:gd name="connsiteY15" fmla="*/ 508920 h 809625"/>
              <a:gd name="connsiteX16" fmla="*/ 200024 w 809625"/>
              <a:gd name="connsiteY16" fmla="*/ 548544 h 809625"/>
              <a:gd name="connsiteX17" fmla="*/ 177831 w 809625"/>
              <a:gd name="connsiteY17" fmla="*/ 547211 h 809625"/>
              <a:gd name="connsiteX18" fmla="*/ 320706 w 809625"/>
              <a:gd name="connsiteY18" fmla="*/ 589026 h 809625"/>
              <a:gd name="connsiteX19" fmla="*/ 585406 w 809625"/>
              <a:gd name="connsiteY19" fmla="*/ 324421 h 809625"/>
              <a:gd name="connsiteX20" fmla="*/ 585406 w 809625"/>
              <a:gd name="connsiteY20" fmla="*/ 312324 h 809625"/>
              <a:gd name="connsiteX21" fmla="*/ 631507 w 809625"/>
              <a:gd name="connsiteY21" fmla="*/ 264223 h 809625"/>
              <a:gd name="connsiteX22" fmla="*/ 578072 w 809625"/>
              <a:gd name="connsiteY22" fmla="*/ 278892 h 809625"/>
              <a:gd name="connsiteX23" fmla="*/ 619124 w 809625"/>
              <a:gd name="connsiteY23" fmla="*/ 227361 h 809625"/>
              <a:gd name="connsiteX24" fmla="*/ 560069 w 809625"/>
              <a:gd name="connsiteY24" fmla="*/ 249936 h 809625"/>
              <a:gd name="connsiteX25" fmla="*/ 495146 w 809625"/>
              <a:gd name="connsiteY25" fmla="*/ 220645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495146" y="220645"/>
                </a:moveTo>
                <a:cubicBezTo>
                  <a:pt x="471342" y="219904"/>
                  <a:pt x="447255" y="228245"/>
                  <a:pt x="428527" y="245841"/>
                </a:cubicBezTo>
                <a:cubicBezTo>
                  <a:pt x="409833" y="263407"/>
                  <a:pt x="399219" y="287911"/>
                  <a:pt x="399192" y="313563"/>
                </a:cubicBezTo>
                <a:cubicBezTo>
                  <a:pt x="399204" y="320709"/>
                  <a:pt x="400003" y="327832"/>
                  <a:pt x="401573" y="334803"/>
                </a:cubicBezTo>
                <a:cubicBezTo>
                  <a:pt x="326768" y="331204"/>
                  <a:pt x="256991" y="296073"/>
                  <a:pt x="209549" y="238125"/>
                </a:cubicBezTo>
                <a:cubicBezTo>
                  <a:pt x="185023" y="280491"/>
                  <a:pt x="197513" y="334615"/>
                  <a:pt x="238124" y="361950"/>
                </a:cubicBezTo>
                <a:cubicBezTo>
                  <a:pt x="223336" y="361482"/>
                  <a:pt x="208871" y="357499"/>
                  <a:pt x="195928" y="350329"/>
                </a:cubicBezTo>
                <a:lnTo>
                  <a:pt x="195929" y="351567"/>
                </a:lnTo>
                <a:cubicBezTo>
                  <a:pt x="195962" y="395849"/>
                  <a:pt x="227195" y="433974"/>
                  <a:pt x="270605" y="442722"/>
                </a:cubicBezTo>
                <a:cubicBezTo>
                  <a:pt x="256901" y="446399"/>
                  <a:pt x="242546" y="446952"/>
                  <a:pt x="228599" y="444341"/>
                </a:cubicBezTo>
                <a:cubicBezTo>
                  <a:pt x="240745" y="482243"/>
                  <a:pt x="275672" y="508209"/>
                  <a:pt x="315467" y="508920"/>
                </a:cubicBezTo>
                <a:cubicBezTo>
                  <a:pt x="282513" y="534690"/>
                  <a:pt x="241858" y="548644"/>
                  <a:pt x="200024" y="548544"/>
                </a:cubicBezTo>
                <a:cubicBezTo>
                  <a:pt x="192607" y="548536"/>
                  <a:pt x="185196" y="548091"/>
                  <a:pt x="177831" y="547211"/>
                </a:cubicBezTo>
                <a:cubicBezTo>
                  <a:pt x="220421" y="574649"/>
                  <a:pt x="270043" y="589172"/>
                  <a:pt x="320706" y="589026"/>
                </a:cubicBezTo>
                <a:cubicBezTo>
                  <a:pt x="492156" y="589026"/>
                  <a:pt x="585406" y="447294"/>
                  <a:pt x="585406" y="324421"/>
                </a:cubicBezTo>
                <a:cubicBezTo>
                  <a:pt x="585406" y="320325"/>
                  <a:pt x="585406" y="316325"/>
                  <a:pt x="585406" y="312324"/>
                </a:cubicBezTo>
                <a:cubicBezTo>
                  <a:pt x="603503" y="299151"/>
                  <a:pt x="619113" y="282863"/>
                  <a:pt x="631507" y="264223"/>
                </a:cubicBezTo>
                <a:cubicBezTo>
                  <a:pt x="614513" y="271713"/>
                  <a:pt x="596508" y="276656"/>
                  <a:pt x="578072" y="278892"/>
                </a:cubicBezTo>
                <a:cubicBezTo>
                  <a:pt x="597588" y="267302"/>
                  <a:pt x="612190" y="248974"/>
                  <a:pt x="619124" y="227361"/>
                </a:cubicBezTo>
                <a:cubicBezTo>
                  <a:pt x="600877" y="238213"/>
                  <a:pt x="580902" y="245848"/>
                  <a:pt x="560069" y="249936"/>
                </a:cubicBezTo>
                <a:cubicBezTo>
                  <a:pt x="542473" y="231209"/>
                  <a:pt x="518951" y="221387"/>
                  <a:pt x="495146" y="22064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41393088-2A2D-4F19-A536-4C5B46718A69}"/>
              </a:ext>
            </a:extLst>
          </p:cNvPr>
          <p:cNvSpPr>
            <a:spLocks noChangeAspect="1"/>
          </p:cNvSpPr>
          <p:nvPr userDrawn="1"/>
        </p:nvSpPr>
        <p:spPr>
          <a:xfrm>
            <a:off x="8681340" y="4501548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230981 w 809625"/>
              <a:gd name="connsiteY5" fmla="*/ 177069 h 809625"/>
              <a:gd name="connsiteX6" fmla="*/ 176498 w 809625"/>
              <a:gd name="connsiteY6" fmla="*/ 231552 h 809625"/>
              <a:gd name="connsiteX7" fmla="*/ 230981 w 809625"/>
              <a:gd name="connsiteY7" fmla="*/ 286035 h 809625"/>
              <a:gd name="connsiteX8" fmla="*/ 285464 w 809625"/>
              <a:gd name="connsiteY8" fmla="*/ 231552 h 809625"/>
              <a:gd name="connsiteX9" fmla="*/ 230981 w 809625"/>
              <a:gd name="connsiteY9" fmla="*/ 177069 h 809625"/>
              <a:gd name="connsiteX10" fmla="*/ 517493 w 809625"/>
              <a:gd name="connsiteY10" fmla="*/ 319849 h 809625"/>
              <a:gd name="connsiteX11" fmla="*/ 428625 w 809625"/>
              <a:gd name="connsiteY11" fmla="*/ 368617 h 809625"/>
              <a:gd name="connsiteX12" fmla="*/ 426910 w 809625"/>
              <a:gd name="connsiteY12" fmla="*/ 368617 h 809625"/>
              <a:gd name="connsiteX13" fmla="*/ 426910 w 809625"/>
              <a:gd name="connsiteY13" fmla="*/ 327278 h 809625"/>
              <a:gd name="connsiteX14" fmla="*/ 336899 w 809625"/>
              <a:gd name="connsiteY14" fmla="*/ 327278 h 809625"/>
              <a:gd name="connsiteX15" fmla="*/ 336899 w 809625"/>
              <a:gd name="connsiteY15" fmla="*/ 629602 h 809625"/>
              <a:gd name="connsiteX16" fmla="*/ 430720 w 809625"/>
              <a:gd name="connsiteY16" fmla="*/ 629602 h 809625"/>
              <a:gd name="connsiteX17" fmla="*/ 430720 w 809625"/>
              <a:gd name="connsiteY17" fmla="*/ 480059 h 809625"/>
              <a:gd name="connsiteX18" fmla="*/ 487108 w 809625"/>
              <a:gd name="connsiteY18" fmla="*/ 402430 h 809625"/>
              <a:gd name="connsiteX19" fmla="*/ 535876 w 809625"/>
              <a:gd name="connsiteY19" fmla="*/ 482631 h 809625"/>
              <a:gd name="connsiteX20" fmla="*/ 535876 w 809625"/>
              <a:gd name="connsiteY20" fmla="*/ 629602 h 809625"/>
              <a:gd name="connsiteX21" fmla="*/ 630174 w 809625"/>
              <a:gd name="connsiteY21" fmla="*/ 629602 h 809625"/>
              <a:gd name="connsiteX22" fmla="*/ 630174 w 809625"/>
              <a:gd name="connsiteY22" fmla="*/ 463771 h 809625"/>
              <a:gd name="connsiteX23" fmla="*/ 517493 w 809625"/>
              <a:gd name="connsiteY23" fmla="*/ 319849 h 809625"/>
              <a:gd name="connsiteX24" fmla="*/ 183927 w 809625"/>
              <a:gd name="connsiteY24" fmla="*/ 327278 h 809625"/>
              <a:gd name="connsiteX25" fmla="*/ 183927 w 809625"/>
              <a:gd name="connsiteY25" fmla="*/ 629602 h 809625"/>
              <a:gd name="connsiteX26" fmla="*/ 277939 w 809625"/>
              <a:gd name="connsiteY26" fmla="*/ 629602 h 809625"/>
              <a:gd name="connsiteX27" fmla="*/ 277939 w 809625"/>
              <a:gd name="connsiteY27" fmla="*/ 327278 h 809625"/>
              <a:gd name="connsiteX28" fmla="*/ 183927 w 809625"/>
              <a:gd name="connsiteY28" fmla="*/ 327278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230981" y="177069"/>
                </a:moveTo>
                <a:cubicBezTo>
                  <a:pt x="200891" y="177069"/>
                  <a:pt x="176498" y="201462"/>
                  <a:pt x="176498" y="231552"/>
                </a:cubicBezTo>
                <a:cubicBezTo>
                  <a:pt x="176498" y="261642"/>
                  <a:pt x="200891" y="286035"/>
                  <a:pt x="230981" y="286035"/>
                </a:cubicBezTo>
                <a:cubicBezTo>
                  <a:pt x="261071" y="286035"/>
                  <a:pt x="285464" y="261642"/>
                  <a:pt x="285464" y="231552"/>
                </a:cubicBezTo>
                <a:cubicBezTo>
                  <a:pt x="285464" y="201462"/>
                  <a:pt x="261071" y="177069"/>
                  <a:pt x="230981" y="177069"/>
                </a:cubicBezTo>
                <a:close/>
                <a:moveTo>
                  <a:pt x="517493" y="319849"/>
                </a:moveTo>
                <a:cubicBezTo>
                  <a:pt x="481146" y="318484"/>
                  <a:pt x="446996" y="337225"/>
                  <a:pt x="428625" y="368617"/>
                </a:cubicBezTo>
                <a:lnTo>
                  <a:pt x="426910" y="368617"/>
                </a:lnTo>
                <a:lnTo>
                  <a:pt x="426910" y="327278"/>
                </a:lnTo>
                <a:lnTo>
                  <a:pt x="336899" y="327278"/>
                </a:lnTo>
                <a:lnTo>
                  <a:pt x="336899" y="629602"/>
                </a:lnTo>
                <a:lnTo>
                  <a:pt x="430720" y="629602"/>
                </a:lnTo>
                <a:lnTo>
                  <a:pt x="430720" y="480059"/>
                </a:lnTo>
                <a:cubicBezTo>
                  <a:pt x="430720" y="440530"/>
                  <a:pt x="438912" y="402430"/>
                  <a:pt x="487108" y="402430"/>
                </a:cubicBezTo>
                <a:cubicBezTo>
                  <a:pt x="535305" y="402430"/>
                  <a:pt x="535876" y="447579"/>
                  <a:pt x="535876" y="482631"/>
                </a:cubicBezTo>
                <a:lnTo>
                  <a:pt x="535876" y="629602"/>
                </a:lnTo>
                <a:lnTo>
                  <a:pt x="630174" y="629602"/>
                </a:lnTo>
                <a:lnTo>
                  <a:pt x="630174" y="463771"/>
                </a:lnTo>
                <a:cubicBezTo>
                  <a:pt x="630174" y="382428"/>
                  <a:pt x="612743" y="319849"/>
                  <a:pt x="517493" y="319849"/>
                </a:cubicBezTo>
                <a:close/>
                <a:moveTo>
                  <a:pt x="183927" y="327278"/>
                </a:moveTo>
                <a:lnTo>
                  <a:pt x="183927" y="629602"/>
                </a:lnTo>
                <a:lnTo>
                  <a:pt x="277939" y="629602"/>
                </a:lnTo>
                <a:lnTo>
                  <a:pt x="277939" y="327278"/>
                </a:lnTo>
                <a:lnTo>
                  <a:pt x="183927" y="32727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F1F78FC3-536A-4C34-B2A3-95085DF38A8D}"/>
              </a:ext>
            </a:extLst>
          </p:cNvPr>
          <p:cNvSpPr>
            <a:spLocks noChangeAspect="1"/>
          </p:cNvSpPr>
          <p:nvPr userDrawn="1"/>
        </p:nvSpPr>
        <p:spPr>
          <a:xfrm>
            <a:off x="9063685" y="4501548"/>
            <a:ext cx="242382" cy="242382"/>
          </a:xfrm>
          <a:custGeom>
            <a:avLst/>
            <a:gdLst>
              <a:gd name="connsiteX0" fmla="*/ 404812 w 809625"/>
              <a:gd name="connsiteY0" fmla="*/ 288417 h 809625"/>
              <a:gd name="connsiteX1" fmla="*/ 288417 w 809625"/>
              <a:gd name="connsiteY1" fmla="*/ 404812 h 809625"/>
              <a:gd name="connsiteX2" fmla="*/ 404812 w 809625"/>
              <a:gd name="connsiteY2" fmla="*/ 521208 h 809625"/>
              <a:gd name="connsiteX3" fmla="*/ 521208 w 809625"/>
              <a:gd name="connsiteY3" fmla="*/ 404812 h 809625"/>
              <a:gd name="connsiteX4" fmla="*/ 404812 w 809625"/>
              <a:gd name="connsiteY4" fmla="*/ 288417 h 809625"/>
              <a:gd name="connsiteX5" fmla="*/ 525780 w 809625"/>
              <a:gd name="connsiteY5" fmla="*/ 256603 h 809625"/>
              <a:gd name="connsiteX6" fmla="*/ 498538 w 809625"/>
              <a:gd name="connsiteY6" fmla="*/ 283844 h 809625"/>
              <a:gd name="connsiteX7" fmla="*/ 525780 w 809625"/>
              <a:gd name="connsiteY7" fmla="*/ 311086 h 809625"/>
              <a:gd name="connsiteX8" fmla="*/ 553021 w 809625"/>
              <a:gd name="connsiteY8" fmla="*/ 283844 h 809625"/>
              <a:gd name="connsiteX9" fmla="*/ 525780 w 809625"/>
              <a:gd name="connsiteY9" fmla="*/ 256603 h 809625"/>
              <a:gd name="connsiteX10" fmla="*/ 404812 w 809625"/>
              <a:gd name="connsiteY10" fmla="*/ 219075 h 809625"/>
              <a:gd name="connsiteX11" fmla="*/ 496443 w 809625"/>
              <a:gd name="connsiteY11" fmla="*/ 220408 h 809625"/>
              <a:gd name="connsiteX12" fmla="*/ 538543 w 809625"/>
              <a:gd name="connsiteY12" fmla="*/ 228218 h 809625"/>
              <a:gd name="connsiteX13" fmla="*/ 581501 w 809625"/>
              <a:gd name="connsiteY13" fmla="*/ 271176 h 809625"/>
              <a:gd name="connsiteX14" fmla="*/ 589311 w 809625"/>
              <a:gd name="connsiteY14" fmla="*/ 313277 h 809625"/>
              <a:gd name="connsiteX15" fmla="*/ 590645 w 809625"/>
              <a:gd name="connsiteY15" fmla="*/ 404907 h 809625"/>
              <a:gd name="connsiteX16" fmla="*/ 589311 w 809625"/>
              <a:gd name="connsiteY16" fmla="*/ 496538 h 809625"/>
              <a:gd name="connsiteX17" fmla="*/ 581501 w 809625"/>
              <a:gd name="connsiteY17" fmla="*/ 538638 h 809625"/>
              <a:gd name="connsiteX18" fmla="*/ 538543 w 809625"/>
              <a:gd name="connsiteY18" fmla="*/ 581596 h 809625"/>
              <a:gd name="connsiteX19" fmla="*/ 496443 w 809625"/>
              <a:gd name="connsiteY19" fmla="*/ 589406 h 809625"/>
              <a:gd name="connsiteX20" fmla="*/ 404812 w 809625"/>
              <a:gd name="connsiteY20" fmla="*/ 590740 h 809625"/>
              <a:gd name="connsiteX21" fmla="*/ 313182 w 809625"/>
              <a:gd name="connsiteY21" fmla="*/ 589407 h 809625"/>
              <a:gd name="connsiteX22" fmla="*/ 271081 w 809625"/>
              <a:gd name="connsiteY22" fmla="*/ 581596 h 809625"/>
              <a:gd name="connsiteX23" fmla="*/ 228600 w 809625"/>
              <a:gd name="connsiteY23" fmla="*/ 538543 h 809625"/>
              <a:gd name="connsiteX24" fmla="*/ 220789 w 809625"/>
              <a:gd name="connsiteY24" fmla="*/ 496443 h 809625"/>
              <a:gd name="connsiteX25" fmla="*/ 219075 w 809625"/>
              <a:gd name="connsiteY25" fmla="*/ 404812 h 809625"/>
              <a:gd name="connsiteX26" fmla="*/ 220408 w 809625"/>
              <a:gd name="connsiteY26" fmla="*/ 313182 h 809625"/>
              <a:gd name="connsiteX27" fmla="*/ 228600 w 809625"/>
              <a:gd name="connsiteY27" fmla="*/ 271081 h 809625"/>
              <a:gd name="connsiteX28" fmla="*/ 271081 w 809625"/>
              <a:gd name="connsiteY28" fmla="*/ 228600 h 809625"/>
              <a:gd name="connsiteX29" fmla="*/ 313181 w 809625"/>
              <a:gd name="connsiteY29" fmla="*/ 220789 h 809625"/>
              <a:gd name="connsiteX30" fmla="*/ 404812 w 809625"/>
              <a:gd name="connsiteY30" fmla="*/ 219075 h 809625"/>
              <a:gd name="connsiteX31" fmla="*/ 405669 w 809625"/>
              <a:gd name="connsiteY31" fmla="*/ 177736 h 809625"/>
              <a:gd name="connsiteX32" fmla="*/ 404812 w 809625"/>
              <a:gd name="connsiteY32" fmla="*/ 178212 h 809625"/>
              <a:gd name="connsiteX33" fmla="*/ 311372 w 809625"/>
              <a:gd name="connsiteY33" fmla="*/ 179546 h 809625"/>
              <a:gd name="connsiteX34" fmla="*/ 256317 w 809625"/>
              <a:gd name="connsiteY34" fmla="*/ 190500 h 809625"/>
              <a:gd name="connsiteX35" fmla="*/ 189642 w 809625"/>
              <a:gd name="connsiteY35" fmla="*/ 257175 h 809625"/>
              <a:gd name="connsiteX36" fmla="*/ 179069 w 809625"/>
              <a:gd name="connsiteY36" fmla="*/ 312229 h 809625"/>
              <a:gd name="connsiteX37" fmla="*/ 177736 w 809625"/>
              <a:gd name="connsiteY37" fmla="*/ 405669 h 809625"/>
              <a:gd name="connsiteX38" fmla="*/ 179069 w 809625"/>
              <a:gd name="connsiteY38" fmla="*/ 499110 h 809625"/>
              <a:gd name="connsiteX39" fmla="*/ 190500 w 809625"/>
              <a:gd name="connsiteY39" fmla="*/ 553307 h 809625"/>
              <a:gd name="connsiteX40" fmla="*/ 257175 w 809625"/>
              <a:gd name="connsiteY40" fmla="*/ 619982 h 809625"/>
              <a:gd name="connsiteX41" fmla="*/ 312229 w 809625"/>
              <a:gd name="connsiteY41" fmla="*/ 630554 h 809625"/>
              <a:gd name="connsiteX42" fmla="*/ 405669 w 809625"/>
              <a:gd name="connsiteY42" fmla="*/ 631888 h 809625"/>
              <a:gd name="connsiteX43" fmla="*/ 499110 w 809625"/>
              <a:gd name="connsiteY43" fmla="*/ 630554 h 809625"/>
              <a:gd name="connsiteX44" fmla="*/ 554164 w 809625"/>
              <a:gd name="connsiteY44" fmla="*/ 619982 h 809625"/>
              <a:gd name="connsiteX45" fmla="*/ 620839 w 809625"/>
              <a:gd name="connsiteY45" fmla="*/ 553307 h 809625"/>
              <a:gd name="connsiteX46" fmla="*/ 631412 w 809625"/>
              <a:gd name="connsiteY46" fmla="*/ 498252 h 809625"/>
              <a:gd name="connsiteX47" fmla="*/ 632745 w 809625"/>
              <a:gd name="connsiteY47" fmla="*/ 404812 h 809625"/>
              <a:gd name="connsiteX48" fmla="*/ 631412 w 809625"/>
              <a:gd name="connsiteY48" fmla="*/ 311372 h 809625"/>
              <a:gd name="connsiteX49" fmla="*/ 620839 w 809625"/>
              <a:gd name="connsiteY49" fmla="*/ 256317 h 809625"/>
              <a:gd name="connsiteX50" fmla="*/ 554164 w 809625"/>
              <a:gd name="connsiteY50" fmla="*/ 189642 h 809625"/>
              <a:gd name="connsiteX51" fmla="*/ 499110 w 809625"/>
              <a:gd name="connsiteY51" fmla="*/ 179069 h 809625"/>
              <a:gd name="connsiteX52" fmla="*/ 405669 w 809625"/>
              <a:gd name="connsiteY52" fmla="*/ 177736 h 809625"/>
              <a:gd name="connsiteX53" fmla="*/ 404813 w 809625"/>
              <a:gd name="connsiteY53" fmla="*/ 0 h 809625"/>
              <a:gd name="connsiteX54" fmla="*/ 809625 w 809625"/>
              <a:gd name="connsiteY54" fmla="*/ 404813 h 809625"/>
              <a:gd name="connsiteX55" fmla="*/ 404813 w 809625"/>
              <a:gd name="connsiteY55" fmla="*/ 809625 h 809625"/>
              <a:gd name="connsiteX56" fmla="*/ 0 w 809625"/>
              <a:gd name="connsiteY56" fmla="*/ 404813 h 809625"/>
              <a:gd name="connsiteX57" fmla="*/ 404813 w 809625"/>
              <a:gd name="connsiteY57" fmla="*/ 0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809625" h="809625">
                <a:moveTo>
                  <a:pt x="404812" y="288417"/>
                </a:moveTo>
                <a:cubicBezTo>
                  <a:pt x="340529" y="288417"/>
                  <a:pt x="288417" y="340529"/>
                  <a:pt x="288417" y="404812"/>
                </a:cubicBezTo>
                <a:cubicBezTo>
                  <a:pt x="288417" y="469096"/>
                  <a:pt x="340529" y="521208"/>
                  <a:pt x="404812" y="521208"/>
                </a:cubicBezTo>
                <a:cubicBezTo>
                  <a:pt x="469096" y="521208"/>
                  <a:pt x="521208" y="469096"/>
                  <a:pt x="521208" y="404812"/>
                </a:cubicBezTo>
                <a:cubicBezTo>
                  <a:pt x="521208" y="340529"/>
                  <a:pt x="469096" y="288417"/>
                  <a:pt x="404812" y="288417"/>
                </a:cubicBezTo>
                <a:close/>
                <a:moveTo>
                  <a:pt x="525780" y="256603"/>
                </a:moveTo>
                <a:cubicBezTo>
                  <a:pt x="510734" y="256603"/>
                  <a:pt x="498538" y="268799"/>
                  <a:pt x="498538" y="283844"/>
                </a:cubicBezTo>
                <a:cubicBezTo>
                  <a:pt x="498538" y="298890"/>
                  <a:pt x="510734" y="311086"/>
                  <a:pt x="525780" y="311086"/>
                </a:cubicBezTo>
                <a:cubicBezTo>
                  <a:pt x="540825" y="311086"/>
                  <a:pt x="553021" y="298890"/>
                  <a:pt x="553021" y="283844"/>
                </a:cubicBezTo>
                <a:cubicBezTo>
                  <a:pt x="553021" y="268799"/>
                  <a:pt x="540825" y="256603"/>
                  <a:pt x="525780" y="256603"/>
                </a:cubicBezTo>
                <a:close/>
                <a:moveTo>
                  <a:pt x="404812" y="219075"/>
                </a:moveTo>
                <a:cubicBezTo>
                  <a:pt x="465296" y="219075"/>
                  <a:pt x="472535" y="219075"/>
                  <a:pt x="496443" y="220408"/>
                </a:cubicBezTo>
                <a:cubicBezTo>
                  <a:pt x="510824" y="220533"/>
                  <a:pt x="525073" y="223177"/>
                  <a:pt x="538543" y="228218"/>
                </a:cubicBezTo>
                <a:cubicBezTo>
                  <a:pt x="558257" y="235874"/>
                  <a:pt x="573845" y="251463"/>
                  <a:pt x="581501" y="271176"/>
                </a:cubicBezTo>
                <a:cubicBezTo>
                  <a:pt x="586542" y="284646"/>
                  <a:pt x="589186" y="298895"/>
                  <a:pt x="589311" y="313277"/>
                </a:cubicBezTo>
                <a:cubicBezTo>
                  <a:pt x="590454" y="337185"/>
                  <a:pt x="590645" y="344424"/>
                  <a:pt x="590645" y="404907"/>
                </a:cubicBezTo>
                <a:cubicBezTo>
                  <a:pt x="590645" y="465391"/>
                  <a:pt x="590645" y="472630"/>
                  <a:pt x="589311" y="496538"/>
                </a:cubicBezTo>
                <a:cubicBezTo>
                  <a:pt x="589186" y="510920"/>
                  <a:pt x="586543" y="525168"/>
                  <a:pt x="581501" y="538638"/>
                </a:cubicBezTo>
                <a:cubicBezTo>
                  <a:pt x="573845" y="558352"/>
                  <a:pt x="558257" y="573940"/>
                  <a:pt x="538543" y="581596"/>
                </a:cubicBezTo>
                <a:cubicBezTo>
                  <a:pt x="525073" y="586638"/>
                  <a:pt x="510824" y="589281"/>
                  <a:pt x="496443" y="589406"/>
                </a:cubicBezTo>
                <a:cubicBezTo>
                  <a:pt x="472535" y="590550"/>
                  <a:pt x="465391" y="590740"/>
                  <a:pt x="404812" y="590740"/>
                </a:cubicBezTo>
                <a:cubicBezTo>
                  <a:pt x="344233" y="590740"/>
                  <a:pt x="337089" y="590740"/>
                  <a:pt x="313182" y="589407"/>
                </a:cubicBezTo>
                <a:cubicBezTo>
                  <a:pt x="298800" y="589281"/>
                  <a:pt x="284551" y="586638"/>
                  <a:pt x="271081" y="581596"/>
                </a:cubicBezTo>
                <a:cubicBezTo>
                  <a:pt x="251529" y="573808"/>
                  <a:pt x="236125" y="558197"/>
                  <a:pt x="228600" y="538543"/>
                </a:cubicBezTo>
                <a:cubicBezTo>
                  <a:pt x="223558" y="525073"/>
                  <a:pt x="220914" y="510824"/>
                  <a:pt x="220789" y="496443"/>
                </a:cubicBezTo>
                <a:cubicBezTo>
                  <a:pt x="219075" y="472535"/>
                  <a:pt x="219075" y="465296"/>
                  <a:pt x="219075" y="404812"/>
                </a:cubicBezTo>
                <a:cubicBezTo>
                  <a:pt x="219075" y="344328"/>
                  <a:pt x="219075" y="337089"/>
                  <a:pt x="220408" y="313182"/>
                </a:cubicBezTo>
                <a:cubicBezTo>
                  <a:pt x="220655" y="298777"/>
                  <a:pt x="223428" y="284527"/>
                  <a:pt x="228600" y="271081"/>
                </a:cubicBezTo>
                <a:cubicBezTo>
                  <a:pt x="236258" y="251643"/>
                  <a:pt x="251643" y="236258"/>
                  <a:pt x="271081" y="228600"/>
                </a:cubicBezTo>
                <a:cubicBezTo>
                  <a:pt x="284551" y="223558"/>
                  <a:pt x="298800" y="220914"/>
                  <a:pt x="313181" y="220789"/>
                </a:cubicBezTo>
                <a:cubicBezTo>
                  <a:pt x="337089" y="219075"/>
                  <a:pt x="344328" y="219075"/>
                  <a:pt x="404812" y="219075"/>
                </a:cubicBezTo>
                <a:close/>
                <a:moveTo>
                  <a:pt x="405669" y="177736"/>
                </a:moveTo>
                <a:lnTo>
                  <a:pt x="404812" y="178212"/>
                </a:lnTo>
                <a:cubicBezTo>
                  <a:pt x="343281" y="178212"/>
                  <a:pt x="335565" y="178212"/>
                  <a:pt x="311372" y="179546"/>
                </a:cubicBezTo>
                <a:cubicBezTo>
                  <a:pt x="292533" y="180057"/>
                  <a:pt x="273917" y="183760"/>
                  <a:pt x="256317" y="190500"/>
                </a:cubicBezTo>
                <a:cubicBezTo>
                  <a:pt x="225602" y="202200"/>
                  <a:pt x="201343" y="226459"/>
                  <a:pt x="189642" y="257175"/>
                </a:cubicBezTo>
                <a:cubicBezTo>
                  <a:pt x="183033" y="274797"/>
                  <a:pt x="179458" y="293412"/>
                  <a:pt x="179069" y="312229"/>
                </a:cubicBezTo>
                <a:cubicBezTo>
                  <a:pt x="178022" y="336423"/>
                  <a:pt x="177736" y="344138"/>
                  <a:pt x="177736" y="405669"/>
                </a:cubicBezTo>
                <a:cubicBezTo>
                  <a:pt x="177736" y="467201"/>
                  <a:pt x="177736" y="474916"/>
                  <a:pt x="179069" y="499110"/>
                </a:cubicBezTo>
                <a:cubicBezTo>
                  <a:pt x="179828" y="517687"/>
                  <a:pt x="183692" y="536005"/>
                  <a:pt x="190500" y="553307"/>
                </a:cubicBezTo>
                <a:cubicBezTo>
                  <a:pt x="202200" y="584022"/>
                  <a:pt x="226459" y="608281"/>
                  <a:pt x="257175" y="619982"/>
                </a:cubicBezTo>
                <a:cubicBezTo>
                  <a:pt x="274797" y="626591"/>
                  <a:pt x="293412" y="630165"/>
                  <a:pt x="312229" y="630554"/>
                </a:cubicBezTo>
                <a:cubicBezTo>
                  <a:pt x="336423" y="631602"/>
                  <a:pt x="344138" y="631888"/>
                  <a:pt x="405669" y="631888"/>
                </a:cubicBezTo>
                <a:cubicBezTo>
                  <a:pt x="467201" y="631888"/>
                  <a:pt x="474916" y="631888"/>
                  <a:pt x="499110" y="630554"/>
                </a:cubicBezTo>
                <a:cubicBezTo>
                  <a:pt x="517927" y="630165"/>
                  <a:pt x="536542" y="626591"/>
                  <a:pt x="554164" y="619982"/>
                </a:cubicBezTo>
                <a:cubicBezTo>
                  <a:pt x="584880" y="608281"/>
                  <a:pt x="609138" y="584022"/>
                  <a:pt x="620839" y="553307"/>
                </a:cubicBezTo>
                <a:cubicBezTo>
                  <a:pt x="627448" y="535684"/>
                  <a:pt x="631023" y="517069"/>
                  <a:pt x="631412" y="498252"/>
                </a:cubicBezTo>
                <a:cubicBezTo>
                  <a:pt x="632460" y="474059"/>
                  <a:pt x="632745" y="466344"/>
                  <a:pt x="632745" y="404812"/>
                </a:cubicBezTo>
                <a:cubicBezTo>
                  <a:pt x="632745" y="343281"/>
                  <a:pt x="632745" y="335565"/>
                  <a:pt x="631412" y="311372"/>
                </a:cubicBezTo>
                <a:cubicBezTo>
                  <a:pt x="631023" y="292555"/>
                  <a:pt x="627448" y="273940"/>
                  <a:pt x="620839" y="256317"/>
                </a:cubicBezTo>
                <a:cubicBezTo>
                  <a:pt x="609138" y="225602"/>
                  <a:pt x="584880" y="201343"/>
                  <a:pt x="554164" y="189642"/>
                </a:cubicBezTo>
                <a:cubicBezTo>
                  <a:pt x="536542" y="183033"/>
                  <a:pt x="517927" y="179458"/>
                  <a:pt x="499110" y="179069"/>
                </a:cubicBezTo>
                <a:cubicBezTo>
                  <a:pt x="474916" y="178022"/>
                  <a:pt x="467201" y="177736"/>
                  <a:pt x="405669" y="177736"/>
                </a:cubicBezTo>
                <a:close/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37645F6A-EDD9-42D2-A01C-F8414798D57C}"/>
              </a:ext>
            </a:extLst>
          </p:cNvPr>
          <p:cNvSpPr>
            <a:spLocks noChangeAspect="1"/>
          </p:cNvSpPr>
          <p:nvPr/>
        </p:nvSpPr>
        <p:spPr>
          <a:xfrm>
            <a:off x="9446029" y="4501548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207835 w 809625"/>
              <a:gd name="connsiteY5" fmla="*/ 183451 h 809625"/>
              <a:gd name="connsiteX6" fmla="*/ 183451 w 809625"/>
              <a:gd name="connsiteY6" fmla="*/ 207835 h 809625"/>
              <a:gd name="connsiteX7" fmla="*/ 183451 w 809625"/>
              <a:gd name="connsiteY7" fmla="*/ 601789 h 809625"/>
              <a:gd name="connsiteX8" fmla="*/ 207835 w 809625"/>
              <a:gd name="connsiteY8" fmla="*/ 626173 h 809625"/>
              <a:gd name="connsiteX9" fmla="*/ 419957 w 809625"/>
              <a:gd name="connsiteY9" fmla="*/ 626173 h 809625"/>
              <a:gd name="connsiteX10" fmla="*/ 419957 w 809625"/>
              <a:gd name="connsiteY10" fmla="*/ 454723 h 809625"/>
              <a:gd name="connsiteX11" fmla="*/ 361950 w 809625"/>
              <a:gd name="connsiteY11" fmla="*/ 454723 h 809625"/>
              <a:gd name="connsiteX12" fmla="*/ 361950 w 809625"/>
              <a:gd name="connsiteY12" fmla="*/ 388048 h 809625"/>
              <a:gd name="connsiteX13" fmla="*/ 419671 w 809625"/>
              <a:gd name="connsiteY13" fmla="*/ 388048 h 809625"/>
              <a:gd name="connsiteX14" fmla="*/ 419671 w 809625"/>
              <a:gd name="connsiteY14" fmla="*/ 338613 h 809625"/>
              <a:gd name="connsiteX15" fmla="*/ 505396 w 809625"/>
              <a:gd name="connsiteY15" fmla="*/ 250317 h 809625"/>
              <a:gd name="connsiteX16" fmla="*/ 556926 w 809625"/>
              <a:gd name="connsiteY16" fmla="*/ 252984 h 809625"/>
              <a:gd name="connsiteX17" fmla="*/ 556926 w 809625"/>
              <a:gd name="connsiteY17" fmla="*/ 312705 h 809625"/>
              <a:gd name="connsiteX18" fmla="*/ 522065 w 809625"/>
              <a:gd name="connsiteY18" fmla="*/ 312705 h 809625"/>
              <a:gd name="connsiteX19" fmla="*/ 488918 w 809625"/>
              <a:gd name="connsiteY19" fmla="*/ 345281 h 809625"/>
              <a:gd name="connsiteX20" fmla="*/ 488918 w 809625"/>
              <a:gd name="connsiteY20" fmla="*/ 387953 h 809625"/>
              <a:gd name="connsiteX21" fmla="*/ 555593 w 809625"/>
              <a:gd name="connsiteY21" fmla="*/ 387953 h 809625"/>
              <a:gd name="connsiteX22" fmla="*/ 546925 w 809625"/>
              <a:gd name="connsiteY22" fmla="*/ 454628 h 809625"/>
              <a:gd name="connsiteX23" fmla="*/ 489775 w 809625"/>
              <a:gd name="connsiteY23" fmla="*/ 454628 h 809625"/>
              <a:gd name="connsiteX24" fmla="*/ 489775 w 809625"/>
              <a:gd name="connsiteY24" fmla="*/ 626078 h 809625"/>
              <a:gd name="connsiteX25" fmla="*/ 601789 w 809625"/>
              <a:gd name="connsiteY25" fmla="*/ 626078 h 809625"/>
              <a:gd name="connsiteX26" fmla="*/ 626173 w 809625"/>
              <a:gd name="connsiteY26" fmla="*/ 601694 h 809625"/>
              <a:gd name="connsiteX27" fmla="*/ 626173 w 809625"/>
              <a:gd name="connsiteY27" fmla="*/ 207835 h 809625"/>
              <a:gd name="connsiteX28" fmla="*/ 601789 w 809625"/>
              <a:gd name="connsiteY28" fmla="*/ 183451 h 809625"/>
              <a:gd name="connsiteX29" fmla="*/ 207835 w 809625"/>
              <a:gd name="connsiteY29" fmla="*/ 183451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207835" y="183451"/>
                </a:moveTo>
                <a:cubicBezTo>
                  <a:pt x="194368" y="183451"/>
                  <a:pt x="183451" y="194368"/>
                  <a:pt x="183451" y="207835"/>
                </a:cubicBezTo>
                <a:lnTo>
                  <a:pt x="183451" y="601789"/>
                </a:lnTo>
                <a:cubicBezTo>
                  <a:pt x="183451" y="615256"/>
                  <a:pt x="194368" y="626173"/>
                  <a:pt x="207835" y="626173"/>
                </a:cubicBezTo>
                <a:lnTo>
                  <a:pt x="419957" y="626173"/>
                </a:lnTo>
                <a:lnTo>
                  <a:pt x="419957" y="454723"/>
                </a:lnTo>
                <a:lnTo>
                  <a:pt x="361950" y="454723"/>
                </a:lnTo>
                <a:lnTo>
                  <a:pt x="361950" y="388048"/>
                </a:lnTo>
                <a:lnTo>
                  <a:pt x="419671" y="388048"/>
                </a:lnTo>
                <a:lnTo>
                  <a:pt x="419671" y="338613"/>
                </a:lnTo>
                <a:cubicBezTo>
                  <a:pt x="419671" y="281463"/>
                  <a:pt x="454533" y="250317"/>
                  <a:pt x="505396" y="250317"/>
                </a:cubicBezTo>
                <a:cubicBezTo>
                  <a:pt x="522609" y="250238"/>
                  <a:pt x="539813" y="251128"/>
                  <a:pt x="556926" y="252984"/>
                </a:cubicBezTo>
                <a:lnTo>
                  <a:pt x="556926" y="312705"/>
                </a:lnTo>
                <a:lnTo>
                  <a:pt x="522065" y="312705"/>
                </a:lnTo>
                <a:cubicBezTo>
                  <a:pt x="494252" y="312705"/>
                  <a:pt x="488918" y="325945"/>
                  <a:pt x="488918" y="345281"/>
                </a:cubicBezTo>
                <a:lnTo>
                  <a:pt x="488918" y="387953"/>
                </a:lnTo>
                <a:lnTo>
                  <a:pt x="555593" y="387953"/>
                </a:lnTo>
                <a:lnTo>
                  <a:pt x="546925" y="454628"/>
                </a:lnTo>
                <a:lnTo>
                  <a:pt x="489775" y="454628"/>
                </a:lnTo>
                <a:lnTo>
                  <a:pt x="489775" y="626078"/>
                </a:lnTo>
                <a:lnTo>
                  <a:pt x="601789" y="626078"/>
                </a:lnTo>
                <a:cubicBezTo>
                  <a:pt x="615256" y="626078"/>
                  <a:pt x="626173" y="615161"/>
                  <a:pt x="626173" y="601694"/>
                </a:cubicBezTo>
                <a:lnTo>
                  <a:pt x="626173" y="207835"/>
                </a:lnTo>
                <a:cubicBezTo>
                  <a:pt x="626173" y="194368"/>
                  <a:pt x="615256" y="183451"/>
                  <a:pt x="601789" y="183451"/>
                </a:cubicBezTo>
                <a:lnTo>
                  <a:pt x="207835" y="183451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3D3ABB1F-7F2A-4579-5538-F4815BCE51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4484" y="2549185"/>
            <a:ext cx="1976093" cy="879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543984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E9670259-4695-428B-A004-7FC80D7094B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1062000" tIns="3348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FCAC8505-DEDF-4C01-A608-94D176EC4352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7540580" y="1"/>
            <a:ext cx="4651420" cy="1673605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1740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5383366-B84A-4AF0-9ECA-0C40F072B9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7C2BF5B2-F39C-5692-1D90-615BA55F4F0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170" y="303442"/>
            <a:ext cx="979715" cy="43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5180771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D50AE23D-06D1-4F9E-B490-E50D424CE9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DFCCD94-C178-488E-A0A8-B9933C21C8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B6B25C7-EDE8-4C6A-A016-B0BC2F236A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3CEBA6-B1B6-4DE4-9914-AA9310C6B7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8951947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87CEE9C-A8AE-431B-A0E0-C79E2E22CC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0C04917-818A-4A3D-87A1-5D1A3CEF6E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14D6DCE-44D6-472C-8A31-1D8DC27A62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617593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E9670259-4695-428B-A004-7FC80D7094B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1062000" tIns="3348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FCAC8505-DEDF-4C01-A608-94D176EC4352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7540580" y="1"/>
            <a:ext cx="4651420" cy="1673605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1740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BCEEC50-8D3D-4D30-A7E4-EB437433847B}"/>
              </a:ext>
            </a:extLst>
          </p:cNvPr>
          <p:cNvSpPr>
            <a:spLocks noGrp="1" noChangeAspect="1"/>
          </p:cNvSpPr>
          <p:nvPr>
            <p:ph type="body" sz="quarter" idx="16"/>
          </p:nvPr>
        </p:nvSpPr>
        <p:spPr>
          <a:xfrm>
            <a:off x="10849038" y="333375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5383366-B84A-4AF0-9ECA-0C40F072B9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89462278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E396722-86FB-4B61-980E-29BB1A84BF5F}"/>
              </a:ext>
            </a:extLst>
          </p:cNvPr>
          <p:cNvSpPr/>
          <p:nvPr userDrawn="1"/>
        </p:nvSpPr>
        <p:spPr>
          <a:xfrm>
            <a:off x="0" y="-1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D50AE23D-06D1-4F9E-B490-E50D424CE9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892E96-6CF9-4BCC-9A9B-CB94EC6D1A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97B376B-D4F9-4143-A8AE-817EB0EA6B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84A53671-41EC-45C8-A0C1-D1426C22F9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3719458C-151F-A29A-A9A7-BEFD54AD5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170" y="303442"/>
            <a:ext cx="979715" cy="43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4972516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E396722-86FB-4B61-980E-29BB1A84BF5F}"/>
              </a:ext>
            </a:extLst>
          </p:cNvPr>
          <p:cNvSpPr/>
          <p:nvPr userDrawn="1"/>
        </p:nvSpPr>
        <p:spPr>
          <a:xfrm>
            <a:off x="0" y="-1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892E96-6CF9-4BCC-9A9B-CB94EC6D1A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97B376B-D4F9-4143-A8AE-817EB0EA6B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84A53671-41EC-45C8-A0C1-D1426C22F9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EF831236-2046-FD7C-DFFA-DF8D44CC7F9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170" y="303442"/>
            <a:ext cx="979715" cy="43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287124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lank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E396722-86FB-4B61-980E-29BB1A84BF5F}"/>
              </a:ext>
            </a:extLst>
          </p:cNvPr>
          <p:cNvSpPr/>
          <p:nvPr userDrawn="1"/>
        </p:nvSpPr>
        <p:spPr>
          <a:xfrm>
            <a:off x="0" y="-1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892E96-6CF9-4BCC-9A9B-CB94EC6D1A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97B376B-D4F9-4143-A8AE-817EB0EA6B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84A53671-41EC-45C8-A0C1-D1426C22F9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8D9C795-633F-49DF-98A1-53A142CB8A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849886" y="333375"/>
            <a:ext cx="1006304" cy="448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0977418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1312C68-9CDC-4DDF-AFFD-F813984EE08A}"/>
              </a:ext>
            </a:extLst>
          </p:cNvPr>
          <p:cNvSpPr/>
          <p:nvPr userDrawn="1"/>
        </p:nvSpPr>
        <p:spPr>
          <a:xfrm>
            <a:off x="0" y="-11798"/>
            <a:ext cx="12192000" cy="690814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880315"/>
            <a:ext cx="10080000" cy="396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  <a:lvl6pPr>
              <a:defRPr>
                <a:solidFill>
                  <a:schemeClr val="bg2"/>
                </a:solidFill>
              </a:defRPr>
            </a:lvl6pPr>
            <a:lvl7pPr>
              <a:defRPr>
                <a:solidFill>
                  <a:schemeClr val="bg2"/>
                </a:solidFill>
              </a:defRPr>
            </a:lvl7pPr>
            <a:lvl8pPr>
              <a:defRPr>
                <a:solidFill>
                  <a:schemeClr val="bg2"/>
                </a:solidFill>
              </a:defRPr>
            </a:lvl8pPr>
            <a:lvl9pPr>
              <a:defRPr>
                <a:solidFill>
                  <a:schemeClr val="bg2"/>
                </a:solidFill>
              </a:defRPr>
            </a:lvl9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06AFE3-EE64-4522-825B-815C6A28E9F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CCCCDE7-B8EA-4773-A164-304D34F89D0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C4FDAA8-8585-4D16-87AD-3485D164648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EBAD129F-61B9-40EF-BB30-907F1E5EEA7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849886" y="333375"/>
            <a:ext cx="1006304" cy="448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0120595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ing slide-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E9670259-4695-428B-A004-7FC80D7094B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19400" y="1"/>
            <a:ext cx="107532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342000" tIns="342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C3F7B8-0B35-40FF-8CB7-4337CBF123A9}"/>
              </a:ext>
            </a:extLst>
          </p:cNvPr>
          <p:cNvSpPr/>
          <p:nvPr userDrawn="1"/>
        </p:nvSpPr>
        <p:spPr>
          <a:xfrm>
            <a:off x="0" y="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CCB27E3-026E-4103-AE04-0346F7EF5C2F}"/>
              </a:ext>
            </a:extLst>
          </p:cNvPr>
          <p:cNvSpPr/>
          <p:nvPr userDrawn="1"/>
        </p:nvSpPr>
        <p:spPr>
          <a:xfrm>
            <a:off x="11472000" y="-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B9FB5A10-E3E1-D366-94FA-D002F96178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6266" y="2271713"/>
            <a:ext cx="4319467" cy="1923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7067277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3979AE5-365E-4EEB-8F4C-F4E45C728AEF}"/>
              </a:ext>
            </a:extLst>
          </p:cNvPr>
          <p:cNvSpPr/>
          <p:nvPr userDrawn="1"/>
        </p:nvSpPr>
        <p:spPr>
          <a:xfrm>
            <a:off x="719400" y="-2"/>
            <a:ext cx="107532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E31FF5A-63AE-45A7-AF45-BF707B1A337A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14726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472600 w 12192000"/>
              <a:gd name="connsiteY3" fmla="*/ 6858000 h 6858000"/>
              <a:gd name="connsiteX4" fmla="*/ 0 w 12192000"/>
              <a:gd name="connsiteY4" fmla="*/ 0 h 6858000"/>
              <a:gd name="connsiteX5" fmla="*/ 719400 w 12192000"/>
              <a:gd name="connsiteY5" fmla="*/ 0 h 6858000"/>
              <a:gd name="connsiteX6" fmla="*/ 7194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14726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472600" y="6858000"/>
                </a:lnTo>
                <a:close/>
                <a:moveTo>
                  <a:pt x="0" y="0"/>
                </a:moveTo>
                <a:lnTo>
                  <a:pt x="719400" y="0"/>
                </a:lnTo>
                <a:lnTo>
                  <a:pt x="7194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08000" tIns="108000" rIns="115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113A054-12CB-4197-89CB-FBA21D5F89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5688" y="4097865"/>
            <a:ext cx="5040312" cy="14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800" b="1" cap="none">
                <a:solidFill>
                  <a:schemeClr val="bg1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6pPr>
            <a:lvl7pPr marL="0" indent="0" algn="l">
              <a:buNone/>
              <a:defRPr sz="1800" b="1">
                <a:solidFill>
                  <a:schemeClr val="bg1"/>
                </a:solidFill>
              </a:defRPr>
            </a:lvl7pPr>
            <a:lvl8pPr marL="0" indent="0" algn="l">
              <a:buNone/>
              <a:defRPr sz="1800" b="1">
                <a:solidFill>
                  <a:schemeClr val="bg1"/>
                </a:solidFill>
              </a:defRPr>
            </a:lvl8pPr>
            <a:lvl9pPr marL="0" indent="0" algn="l">
              <a:buNone/>
              <a:defRPr sz="1800" b="1">
                <a:solidFill>
                  <a:schemeClr val="bg1"/>
                </a:solidFill>
              </a:defRPr>
            </a:lvl9pPr>
          </a:lstStyle>
          <a:p>
            <a:r>
              <a:rPr lang="en-AU"/>
              <a:t>Subtitle or presenters name and date</a:t>
            </a:r>
            <a:endParaRPr lang="en-GB"/>
          </a:p>
          <a:p>
            <a:pPr lvl="1"/>
            <a:r>
              <a:rPr lang="en-US"/>
              <a:t>2</a:t>
            </a:r>
          </a:p>
          <a:p>
            <a:pPr lvl="2"/>
            <a:r>
              <a:rPr lang="en-US"/>
              <a:t>3</a:t>
            </a:r>
          </a:p>
          <a:p>
            <a:pPr lvl="3"/>
            <a:r>
              <a:rPr lang="en-US"/>
              <a:t>4</a:t>
            </a:r>
          </a:p>
          <a:p>
            <a:pPr lvl="4"/>
            <a:r>
              <a:rPr lang="en-US"/>
              <a:t>5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287AC88-A942-4E4F-A359-307B996A79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1946566"/>
            <a:ext cx="10753200" cy="1620000"/>
          </a:xfrm>
          <a:noFill/>
        </p:spPr>
        <p:txBody>
          <a:bodyPr lIns="342000" tIns="342000" rIns="2160000" bIns="0" anchor="b" anchorCtr="0"/>
          <a:lstStyle>
            <a:lvl1pPr>
              <a:defRPr sz="4500" cap="all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98BCAB1-59A8-4C66-87FD-A76DA0651EF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pic>
        <p:nvPicPr>
          <p:cNvPr id="8" name="Picture 7" descr="A picture containing text&#10;&#10;Description automatically generated">
            <a:extLst>
              <a:ext uri="{FF2B5EF4-FFF2-40B4-BE49-F238E27FC236}">
                <a16:creationId xmlns:a16="http://schemas.microsoft.com/office/drawing/2014/main" id="{BD87F913-85BA-DB14-F1BE-ED71CCC523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29750" y="5742725"/>
            <a:ext cx="1824968" cy="812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5123104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l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E9670259-4695-428B-A004-7FC80D7094B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19400" y="1"/>
            <a:ext cx="107532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342000" tIns="342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F9144E-5217-4B9A-B2C1-83385827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1946566"/>
            <a:ext cx="10753200" cy="1620000"/>
          </a:xfrm>
          <a:noFill/>
        </p:spPr>
        <p:txBody>
          <a:bodyPr lIns="342000" tIns="342000" rIns="2160000" bIns="0" anchor="b" anchorCtr="0"/>
          <a:lstStyle>
            <a:lvl1pPr>
              <a:defRPr sz="4500" cap="all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113A054-12CB-4197-89CB-FBA21D5F89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5688" y="4097865"/>
            <a:ext cx="5040312" cy="14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800" b="1" cap="none">
                <a:solidFill>
                  <a:schemeClr val="bg2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6pPr>
            <a:lvl7pPr marL="0" indent="0" algn="l">
              <a:buNone/>
              <a:defRPr sz="1800" b="1">
                <a:solidFill>
                  <a:schemeClr val="bg2"/>
                </a:solidFill>
              </a:defRPr>
            </a:lvl7pPr>
            <a:lvl8pPr marL="0" indent="0" algn="l">
              <a:buNone/>
              <a:defRPr sz="1800" b="1">
                <a:solidFill>
                  <a:schemeClr val="bg2"/>
                </a:solidFill>
              </a:defRPr>
            </a:lvl8pPr>
            <a:lvl9pPr marL="0" indent="0" algn="l">
              <a:buNone/>
              <a:defRPr sz="1800" b="1">
                <a:solidFill>
                  <a:schemeClr val="bg2"/>
                </a:solidFill>
              </a:defRPr>
            </a:lvl9pPr>
          </a:lstStyle>
          <a:p>
            <a:r>
              <a:rPr lang="en-AU"/>
              <a:t>Subtitle or presenters name and date</a:t>
            </a:r>
            <a:endParaRPr lang="en-GB"/>
          </a:p>
          <a:p>
            <a:pPr lvl="1"/>
            <a:r>
              <a:rPr lang="en-US"/>
              <a:t>2</a:t>
            </a:r>
          </a:p>
          <a:p>
            <a:pPr lvl="2"/>
            <a:r>
              <a:rPr lang="en-US"/>
              <a:t>3</a:t>
            </a:r>
          </a:p>
          <a:p>
            <a:pPr lvl="3"/>
            <a:r>
              <a:rPr lang="en-US"/>
              <a:t>4</a:t>
            </a:r>
          </a:p>
          <a:p>
            <a:pPr lvl="4"/>
            <a:r>
              <a:rPr lang="en-US"/>
              <a:t>5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C3F7B8-0B35-40FF-8CB7-4337CBF123A9}"/>
              </a:ext>
            </a:extLst>
          </p:cNvPr>
          <p:cNvSpPr/>
          <p:nvPr userDrawn="1"/>
        </p:nvSpPr>
        <p:spPr>
          <a:xfrm>
            <a:off x="0" y="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CCB27E3-026E-4103-AE04-0346F7EF5C2F}"/>
              </a:ext>
            </a:extLst>
          </p:cNvPr>
          <p:cNvSpPr/>
          <p:nvPr userDrawn="1"/>
        </p:nvSpPr>
        <p:spPr>
          <a:xfrm>
            <a:off x="11472000" y="-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C4A1CEB9-11E9-4D44-B10D-C1106153B09E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6096000" y="3940935"/>
            <a:ext cx="5376000" cy="2917066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40000"/>
                </a:schemeClr>
              </a:gs>
            </a:gsLst>
            <a:lin ang="372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6F98E5-C772-4C1B-AEA2-5FA88430480D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F9F84E86-7BB5-462E-B8A8-80738E4A3D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69628" y="5537865"/>
            <a:ext cx="2285090" cy="1017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3999825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dark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E9670259-4695-428B-A004-7FC80D7094B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19400" y="1"/>
            <a:ext cx="107532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342000" tIns="342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FC044026-2D0A-4F4C-B231-B0EF94B3258C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6096000" y="3940935"/>
            <a:ext cx="5376000" cy="2917066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40000"/>
                </a:schemeClr>
              </a:gs>
            </a:gsLst>
            <a:lin ang="372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F9144E-5217-4B9A-B2C1-83385827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1946566"/>
            <a:ext cx="10753200" cy="1620000"/>
          </a:xfrm>
          <a:noFill/>
        </p:spPr>
        <p:txBody>
          <a:bodyPr lIns="342000" tIns="342000" rIns="2160000" bIns="0" anchor="b" anchorCtr="0"/>
          <a:lstStyle>
            <a:lvl1pPr>
              <a:defRPr sz="4500" cap="all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113A054-12CB-4197-89CB-FBA21D5F89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5688" y="4097865"/>
            <a:ext cx="5040312" cy="14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800" b="1" cap="none">
                <a:solidFill>
                  <a:schemeClr val="bg2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6pPr>
            <a:lvl7pPr marL="0" indent="0" algn="l">
              <a:buNone/>
              <a:defRPr sz="1800" b="1">
                <a:solidFill>
                  <a:schemeClr val="bg2"/>
                </a:solidFill>
              </a:defRPr>
            </a:lvl7pPr>
            <a:lvl8pPr marL="0" indent="0" algn="l">
              <a:buNone/>
              <a:defRPr sz="1800" b="1">
                <a:solidFill>
                  <a:schemeClr val="bg2"/>
                </a:solidFill>
              </a:defRPr>
            </a:lvl8pPr>
            <a:lvl9pPr marL="0" indent="0" algn="l">
              <a:buNone/>
              <a:defRPr sz="1800" b="1">
                <a:solidFill>
                  <a:schemeClr val="bg2"/>
                </a:solidFill>
              </a:defRPr>
            </a:lvl9pPr>
          </a:lstStyle>
          <a:p>
            <a:r>
              <a:rPr lang="en-AU"/>
              <a:t>Subtitle or presenters name and date</a:t>
            </a:r>
            <a:endParaRPr lang="en-GB"/>
          </a:p>
          <a:p>
            <a:pPr lvl="1"/>
            <a:r>
              <a:rPr lang="en-US"/>
              <a:t>2</a:t>
            </a:r>
          </a:p>
          <a:p>
            <a:pPr lvl="2"/>
            <a:r>
              <a:rPr lang="en-US"/>
              <a:t>3</a:t>
            </a:r>
          </a:p>
          <a:p>
            <a:pPr lvl="3"/>
            <a:r>
              <a:rPr lang="en-US"/>
              <a:t>4</a:t>
            </a:r>
          </a:p>
          <a:p>
            <a:pPr lvl="4"/>
            <a:r>
              <a:rPr lang="en-US"/>
              <a:t>5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C3F7B8-0B35-40FF-8CB7-4337CBF123A9}"/>
              </a:ext>
            </a:extLst>
          </p:cNvPr>
          <p:cNvSpPr/>
          <p:nvPr userDrawn="1"/>
        </p:nvSpPr>
        <p:spPr>
          <a:xfrm>
            <a:off x="0" y="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CCB27E3-026E-4103-AE04-0346F7EF5C2F}"/>
              </a:ext>
            </a:extLst>
          </p:cNvPr>
          <p:cNvSpPr/>
          <p:nvPr userDrawn="1"/>
        </p:nvSpPr>
        <p:spPr>
          <a:xfrm>
            <a:off x="11472000" y="-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1C0FFFF4-D9E3-4A0E-BB93-6DCF367821CD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1055688" y="6288257"/>
            <a:ext cx="7913940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A1A03FF4-5A69-0640-DEAB-AAF9CEF38D5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69628" y="5537865"/>
            <a:ext cx="2285090" cy="1017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305035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E9670259-4695-428B-A004-7FC80D7094B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1062000" tIns="342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A57D46A-D8D7-49BF-9479-240175CDBE8A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7540580" y="1"/>
            <a:ext cx="4651420" cy="1673605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1740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F9144E-5217-4B9A-B2C1-83385827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2619000"/>
            <a:ext cx="9000000" cy="1620000"/>
          </a:xfrm>
          <a:noFill/>
        </p:spPr>
        <p:txBody>
          <a:bodyPr lIns="342000" tIns="0" rIns="2160000" bIns="0" anchor="ctr" anchorCtr="0"/>
          <a:lstStyle>
            <a:lvl1pPr>
              <a:defRPr sz="4500" cap="all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DC10E613-8E2B-4D31-ABB0-5128576B7EE8}"/>
              </a:ext>
            </a:extLst>
          </p:cNvPr>
          <p:cNvSpPr>
            <a:spLocks noGrp="1" noChangeAspect="1"/>
          </p:cNvSpPr>
          <p:nvPr>
            <p:ph type="body" sz="quarter" idx="16"/>
          </p:nvPr>
        </p:nvSpPr>
        <p:spPr>
          <a:xfrm>
            <a:off x="10849038" y="333375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891772445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2DC463D-2F1B-4364-A3E4-F6CD28DDD6E5}"/>
              </a:ext>
            </a:extLst>
          </p:cNvPr>
          <p:cNvSpPr/>
          <p:nvPr userDrawn="1"/>
        </p:nvSpPr>
        <p:spPr>
          <a:xfrm>
            <a:off x="0" y="-1"/>
            <a:ext cx="12192000" cy="687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F9144E-5217-4B9A-B2C1-83385827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2619000"/>
            <a:ext cx="9000000" cy="1620000"/>
          </a:xfrm>
          <a:noFill/>
        </p:spPr>
        <p:txBody>
          <a:bodyPr lIns="342000" tIns="0" rIns="2160000" bIns="0" anchor="ctr" anchorCtr="0"/>
          <a:lstStyle>
            <a:lvl1pPr>
              <a:defRPr sz="4500" cap="all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96BA4CA7-17D6-4B5A-98C4-C007D1F5EC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849886" y="333375"/>
            <a:ext cx="1006304" cy="448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229410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D50AE23D-06D1-4F9E-B490-E50D424CE9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DFCCD94-C178-488E-A0A8-B9933C21C8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B6B25C7-EDE8-4C6A-A016-B0BC2F236A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3CEBA6-B1B6-4DE4-9914-AA9310C6B7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3434855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61B3790-BDEB-43E5-BF9C-3E8D289EECE8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9628" y="333375"/>
            <a:ext cx="10080000" cy="1080000"/>
          </a:xfrm>
        </p:spPr>
        <p:txBody>
          <a:bodyPr/>
          <a:lstStyle>
            <a:lvl1pPr>
              <a:defRPr cap="all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FEB565-49CC-408C-BDD2-C2590A4A642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49629" y="1880314"/>
            <a:ext cx="4320000" cy="3960000"/>
          </a:xfrm>
        </p:spPr>
        <p:txBody>
          <a:bodyPr/>
          <a:lstStyle>
            <a:lvl1pPr marL="288000" indent="-288000">
              <a:spcBef>
                <a:spcPts val="1200"/>
              </a:spcBef>
              <a:buFont typeface="+mj-lt"/>
              <a:buAutoNum type="arabicPeriod"/>
              <a:defRPr sz="2200"/>
            </a:lvl1pPr>
            <a:lvl2pPr marL="288000">
              <a:spcBef>
                <a:spcPts val="600"/>
              </a:spcBef>
              <a:spcAft>
                <a:spcPts val="600"/>
              </a:spcAft>
              <a:defRPr b="0" cap="none" baseline="0">
                <a:solidFill>
                  <a:schemeClr val="tx2"/>
                </a:solidFill>
              </a:defRPr>
            </a:lvl2pPr>
            <a:lvl3pPr marL="468000">
              <a:defRPr/>
            </a:lvl3pPr>
            <a:lvl4pPr marL="0" indent="0">
              <a:buNone/>
              <a:defRPr cap="all" baseline="0">
                <a:solidFill>
                  <a:schemeClr val="accent1"/>
                </a:solidFill>
                <a:latin typeface="+mj-lt"/>
              </a:defRPr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add Agenda item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5E5FA15F-A1ED-4F06-8C67-E1D73CF85C8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1880314"/>
            <a:ext cx="4320000" cy="3960000"/>
          </a:xfrm>
        </p:spPr>
        <p:txBody>
          <a:bodyPr/>
          <a:lstStyle>
            <a:lvl1pPr marL="288000" indent="-288000">
              <a:spcBef>
                <a:spcPts val="1200"/>
              </a:spcBef>
              <a:buFont typeface="+mj-lt"/>
              <a:buAutoNum type="arabicPeriod"/>
              <a:defRPr sz="2200"/>
            </a:lvl1pPr>
            <a:lvl2pPr marL="288000">
              <a:spcBef>
                <a:spcPts val="600"/>
              </a:spcBef>
              <a:spcAft>
                <a:spcPts val="600"/>
              </a:spcAft>
              <a:defRPr b="0" cap="none" baseline="0">
                <a:solidFill>
                  <a:schemeClr val="tx2"/>
                </a:solidFill>
              </a:defRPr>
            </a:lvl2pPr>
            <a:lvl3pPr marL="468000">
              <a:defRPr/>
            </a:lvl3pPr>
            <a:lvl4pPr marL="0" indent="0">
              <a:buNone/>
              <a:defRPr cap="all" baseline="0">
                <a:solidFill>
                  <a:schemeClr val="accent1"/>
                </a:solidFill>
                <a:latin typeface="+mj-lt"/>
              </a:defRPr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add Agenda item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98866983-58A4-4EC2-ADBC-AEEA6B9D69AB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8248903" y="6288257"/>
            <a:ext cx="1183557" cy="365125"/>
          </a:xfrm>
        </p:spPr>
        <p:txBody>
          <a:bodyPr/>
          <a:lstStyle/>
          <a:p>
            <a:endParaRPr lang="en-GB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F6B299B-0652-4E6B-BB65-0DE715526B4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55688" y="6288257"/>
            <a:ext cx="7193215" cy="365125"/>
          </a:xfrm>
        </p:spPr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42DCA20-AF8B-4853-AA2C-E5E7CD8D26F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8B1AC7E-46EA-441D-9455-6E65525B6A5A}"/>
              </a:ext>
            </a:extLst>
          </p:cNvPr>
          <p:cNvSpPr/>
          <p:nvPr userDrawn="1"/>
        </p:nvSpPr>
        <p:spPr>
          <a:xfrm>
            <a:off x="0" y="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C9469F0-045F-4A85-8721-359D41A43D06}"/>
              </a:ext>
            </a:extLst>
          </p:cNvPr>
          <p:cNvSpPr/>
          <p:nvPr userDrawn="1"/>
        </p:nvSpPr>
        <p:spPr>
          <a:xfrm>
            <a:off x="11472000" y="-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2179EAA8-E18E-42F9-924F-98FF7A3E70C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128313" y="333375"/>
            <a:ext cx="1008000" cy="448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412879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880315"/>
            <a:ext cx="10080000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06AFE3-EE64-4522-825B-815C6A28E9F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CCCCDE7-B8EA-4773-A164-304D34F89D0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C4FDAA8-8585-4D16-87AD-3485D164648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3219456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1312C68-9CDC-4DDF-AFFD-F813984EE08A}"/>
              </a:ext>
            </a:extLst>
          </p:cNvPr>
          <p:cNvSpPr/>
          <p:nvPr userDrawn="1"/>
        </p:nvSpPr>
        <p:spPr>
          <a:xfrm>
            <a:off x="0" y="-11798"/>
            <a:ext cx="12192000" cy="690814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880315"/>
            <a:ext cx="10080000" cy="396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  <a:lvl6pPr>
              <a:defRPr>
                <a:solidFill>
                  <a:schemeClr val="bg2"/>
                </a:solidFill>
              </a:defRPr>
            </a:lvl6pPr>
            <a:lvl7pPr>
              <a:defRPr>
                <a:solidFill>
                  <a:schemeClr val="bg2"/>
                </a:solidFill>
              </a:defRPr>
            </a:lvl7pPr>
            <a:lvl8pPr>
              <a:defRPr>
                <a:solidFill>
                  <a:schemeClr val="bg2"/>
                </a:solidFill>
              </a:defRPr>
            </a:lvl8pPr>
            <a:lvl9pPr>
              <a:defRPr>
                <a:solidFill>
                  <a:schemeClr val="bg2"/>
                </a:solidFill>
              </a:defRPr>
            </a:lvl9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06AFE3-EE64-4522-825B-815C6A28E9F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CCCCDE7-B8EA-4773-A164-304D34F89D0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C4FDAA8-8585-4D16-87AD-3485D164648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EBAD129F-61B9-40EF-BB30-907F1E5EEA7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849886" y="333375"/>
            <a:ext cx="1006304" cy="448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6095932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880315"/>
            <a:ext cx="4680000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06AFE3-EE64-4522-825B-815C6A28E9F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CCCCDE7-B8EA-4773-A164-304D34F89D0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C4FDAA8-8585-4D16-87AD-3485D164648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9FAA2598-9FF1-4FD4-A0B9-1D5412ADF05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734962" y="1880315"/>
            <a:ext cx="4680000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46394063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F17809F-093D-4878-B686-CA14CFB80D98}"/>
              </a:ext>
            </a:extLst>
          </p:cNvPr>
          <p:cNvSpPr/>
          <p:nvPr userDrawn="1"/>
        </p:nvSpPr>
        <p:spPr>
          <a:xfrm>
            <a:off x="0" y="-1"/>
            <a:ext cx="12192000" cy="687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880315"/>
            <a:ext cx="4680000" cy="396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06AFE3-EE64-4522-825B-815C6A28E9F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CCCCDE7-B8EA-4773-A164-304D34F89D0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C4FDAA8-8585-4D16-87AD-3485D164648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9FAA2598-9FF1-4FD4-A0B9-1D5412ADF05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734962" y="1880315"/>
            <a:ext cx="4680000" cy="396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830BFAC9-644C-4755-A124-467BB420BB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849886" y="333375"/>
            <a:ext cx="1006304" cy="448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5883411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lef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450744" y="1880315"/>
            <a:ext cx="4691628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23DD628-AE63-4907-AF4B-6B53C077707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4963" y="1880314"/>
            <a:ext cx="5761037" cy="4644311"/>
          </a:xfrm>
          <a:prstGeom prst="roundRect">
            <a:avLst>
              <a:gd name="adj" fmla="val 1982"/>
            </a:avLst>
          </a:prstGeom>
          <a:solidFill>
            <a:schemeClr val="bg1">
              <a:lumMod val="85000"/>
            </a:schemeClr>
          </a:solidFill>
        </p:spPr>
        <p:txBody>
          <a:bodyPr lIns="342000" tIns="342000" rIns="342000" bIns="342000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AU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6453E03-EC16-4564-B43B-27855EB9BD2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450744" y="6288257"/>
            <a:ext cx="4320000" cy="365125"/>
          </a:xfrm>
        </p:spPr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A913BC-780A-4949-92A0-B5967D36080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459140" y="6159500"/>
            <a:ext cx="727410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15647911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16EF975B-AD72-4CB0-A546-757A6175A51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83255" y="1880314"/>
            <a:ext cx="5761038" cy="4644311"/>
          </a:xfrm>
          <a:prstGeom prst="roundRect">
            <a:avLst>
              <a:gd name="adj" fmla="val 1982"/>
            </a:avLst>
          </a:prstGeom>
          <a:solidFill>
            <a:schemeClr val="bg1">
              <a:lumMod val="85000"/>
            </a:schemeClr>
          </a:solidFill>
        </p:spPr>
        <p:txBody>
          <a:bodyPr lIns="342000" tIns="342000" rIns="342000" bIns="342000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AU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880315"/>
            <a:ext cx="4691628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C94176C4-3B30-43F2-91DE-33D09AEA7B5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A95B7BCF-DC6C-46BC-B3D2-2F18F9BC75D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10495227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-full wid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23DD628-AE63-4907-AF4B-6B53C077707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4963" y="1880314"/>
            <a:ext cx="11509330" cy="4644311"/>
          </a:xfrm>
          <a:prstGeom prst="roundRect">
            <a:avLst>
              <a:gd name="adj" fmla="val 1982"/>
            </a:avLst>
          </a:prstGeom>
          <a:solidFill>
            <a:schemeClr val="bg1">
              <a:lumMod val="85000"/>
            </a:schemeClr>
          </a:solidFill>
        </p:spPr>
        <p:txBody>
          <a:bodyPr lIns="342000" tIns="342000" rIns="342000" bIns="342000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AU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6E7A7DD-8C14-4B85-B39F-1E990E1FFE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333375"/>
            <a:ext cx="5761038" cy="108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7D8FAF2-858C-419E-A577-F0425218264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15444" y="333375"/>
            <a:ext cx="3600000" cy="126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D048DB48-6039-4A0D-ACBF-D5EB8DD358F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459140" y="6159500"/>
            <a:ext cx="727410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7157683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-full ble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0">
            <a:extLst>
              <a:ext uri="{FF2B5EF4-FFF2-40B4-BE49-F238E27FC236}">
                <a16:creationId xmlns:a16="http://schemas.microsoft.com/office/drawing/2014/main" id="{5AF6F1E8-5ECE-4267-92B5-43C3523BCBE3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1062000" tIns="360000" rIns="4320000" bIns="360000" anchor="ctr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8390923A-6BDB-44C8-9456-CEB6E0A0A293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7540580" y="1"/>
            <a:ext cx="4651420" cy="1673605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1740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36FF9FCE-BF48-40F0-8FF3-3252AB1CF679}"/>
              </a:ext>
            </a:extLst>
          </p:cNvPr>
          <p:cNvSpPr>
            <a:spLocks noGrp="1" noChangeAspect="1"/>
          </p:cNvSpPr>
          <p:nvPr>
            <p:ph type="body" sz="quarter" idx="16"/>
          </p:nvPr>
        </p:nvSpPr>
        <p:spPr>
          <a:xfrm>
            <a:off x="10849038" y="333375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6E7A7DD-8C14-4B85-B39F-1E990E1FFE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333375"/>
            <a:ext cx="5761038" cy="108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7D8FAF2-858C-419E-A577-F0425218264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15444" y="333375"/>
            <a:ext cx="3600000" cy="126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  <a:lvl6pPr>
              <a:defRPr>
                <a:solidFill>
                  <a:schemeClr val="bg2"/>
                </a:solidFill>
              </a:defRPr>
            </a:lvl6pPr>
            <a:lvl7pPr>
              <a:defRPr>
                <a:solidFill>
                  <a:schemeClr val="bg2"/>
                </a:solidFill>
              </a:defRPr>
            </a:lvl7pPr>
            <a:lvl8pPr>
              <a:defRPr>
                <a:solidFill>
                  <a:schemeClr val="bg2"/>
                </a:solidFill>
              </a:defRPr>
            </a:lvl8pPr>
            <a:lvl9pPr>
              <a:defRPr>
                <a:solidFill>
                  <a:schemeClr val="bg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E0AD6A4-0D42-4CCD-B0CB-498EE201FE4E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21E9B0E-B319-4C6F-97AF-0F8D83942F0C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65D74DCF-D99B-4098-B297-0BD016160D35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4713580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right 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23DD628-AE63-4907-AF4B-6B53C077707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0"/>
            <a:ext cx="6096000" cy="6858000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</p:spPr>
        <p:txBody>
          <a:bodyPr lIns="342000" tIns="342000" rIns="1440000" bIns="342000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AU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EB2F477-266C-4C9D-A64F-287BA3F4CF3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4962" y="1880314"/>
            <a:ext cx="5220000" cy="396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771A36E-45E1-4553-9842-66EF392719C7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844884" y="1880314"/>
            <a:ext cx="2160000" cy="396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7D669EEE-6563-477F-A4CD-D425F6140F00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347256" y="1880314"/>
            <a:ext cx="2160000" cy="396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A5DE353-D720-4A1F-9ECC-89FB139059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2218" y="333375"/>
            <a:ext cx="5220000" cy="108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913AB32-E310-49A2-9A47-2348F6B61E52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6266A723-640D-4EFF-93D1-1E964694156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C4DEE883-581D-4AC9-9251-8929D0C8E380}"/>
              </a:ext>
            </a:extLst>
          </p:cNvPr>
          <p:cNvSpPr>
            <a:spLocks noGrp="1" noChangeAspect="1"/>
          </p:cNvSpPr>
          <p:nvPr>
            <p:ph type="body" sz="quarter" idx="25"/>
          </p:nvPr>
        </p:nvSpPr>
        <p:spPr>
          <a:xfrm>
            <a:off x="7540580" y="1"/>
            <a:ext cx="4651420" cy="1673605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1740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44C9A43E-093B-42AD-B427-BA16E45D56B6}"/>
              </a:ext>
            </a:extLst>
          </p:cNvPr>
          <p:cNvSpPr>
            <a:spLocks noGrp="1" noChangeAspect="1"/>
          </p:cNvSpPr>
          <p:nvPr>
            <p:ph type="body" sz="quarter" idx="26"/>
          </p:nvPr>
        </p:nvSpPr>
        <p:spPr>
          <a:xfrm>
            <a:off x="10849038" y="333375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19149427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87CEE9C-A8AE-431B-A0E0-C79E2E22CC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0C04917-818A-4A3D-87A1-5D1A3CEF6E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14D6DCE-44D6-472C-8A31-1D8DC27A62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3492226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7F07ECCF-5EE7-4BA4-BD7C-50DF82C3F5BF}"/>
              </a:ext>
            </a:extLst>
          </p:cNvPr>
          <p:cNvSpPr/>
          <p:nvPr userDrawn="1"/>
        </p:nvSpPr>
        <p:spPr>
          <a:xfrm>
            <a:off x="0" y="0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10080000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08DD2E7-C8BF-4E45-AE9F-C1389B7B38D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963" y="2600315"/>
            <a:ext cx="2160000" cy="3240000"/>
          </a:xfrm>
        </p:spPr>
        <p:txBody>
          <a:bodyPr/>
          <a:lstStyle>
            <a:lvl1pPr>
              <a:defRPr sz="1600" cap="all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 b="0" cap="none" baseline="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D7BC8491-CCAE-458C-BD6D-862F904604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979212" y="2600315"/>
            <a:ext cx="2160000" cy="3240000"/>
          </a:xfrm>
        </p:spPr>
        <p:txBody>
          <a:bodyPr/>
          <a:lstStyle>
            <a:lvl1pPr>
              <a:defRPr sz="1600" cap="all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 b="0" cap="none" baseline="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B036190F-67DD-4555-BB1F-179E8E9C46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23461" y="2600315"/>
            <a:ext cx="2160000" cy="3240000"/>
          </a:xfrm>
        </p:spPr>
        <p:txBody>
          <a:bodyPr/>
          <a:lstStyle>
            <a:lvl1pPr>
              <a:defRPr sz="1600" cap="all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 b="0" cap="none" baseline="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F1044E10-4BD7-47DE-8A5A-57C9557A0B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67709" y="2600315"/>
            <a:ext cx="2160000" cy="3240000"/>
          </a:xfrm>
        </p:spPr>
        <p:txBody>
          <a:bodyPr/>
          <a:lstStyle>
            <a:lvl1pPr>
              <a:defRPr sz="1600" cap="all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 b="0" cap="none" baseline="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B900929-35E2-4B6A-A4BF-9E02733E3AB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6B47C34-75D5-42A4-8A99-FADDAF9BBA6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67B0344-E805-4D5F-B3FB-AF95BC74870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577401C0-8DFD-414D-AF9E-CD906141229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849886" y="333375"/>
            <a:ext cx="1006304" cy="448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536073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tr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E396722-86FB-4B61-980E-29BB1A84BF5F}"/>
              </a:ext>
            </a:extLst>
          </p:cNvPr>
          <p:cNvSpPr/>
          <p:nvPr userDrawn="1"/>
        </p:nvSpPr>
        <p:spPr>
          <a:xfrm>
            <a:off x="0" y="-1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D50AE23D-06D1-4F9E-B490-E50D424CE9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892E96-6CF9-4BCC-9A9B-CB94EC6D1A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97B376B-D4F9-4143-A8AE-817EB0EA6B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84A53671-41EC-45C8-A0C1-D1426C22F9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2465D6CB-4864-45A8-BBF3-437CF55EAC16}"/>
              </a:ext>
            </a:extLst>
          </p:cNvPr>
          <p:cNvSpPr/>
          <p:nvPr userDrawn="1"/>
        </p:nvSpPr>
        <p:spPr>
          <a:xfrm>
            <a:off x="334964" y="1301332"/>
            <a:ext cx="7985636" cy="4841479"/>
          </a:xfrm>
          <a:prstGeom prst="roundRect">
            <a:avLst>
              <a:gd name="adj" fmla="val 1167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F8F1858-32FB-4251-8265-5AC98524EA8A}"/>
              </a:ext>
            </a:extLst>
          </p:cNvPr>
          <p:cNvCxnSpPr>
            <a:cxnSpLocks/>
          </p:cNvCxnSpPr>
          <p:nvPr userDrawn="1"/>
        </p:nvCxnSpPr>
        <p:spPr>
          <a:xfrm flipV="1">
            <a:off x="820851" y="1652866"/>
            <a:ext cx="0" cy="4004734"/>
          </a:xfrm>
          <a:prstGeom prst="line">
            <a:avLst/>
          </a:prstGeom>
          <a:ln w="12700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BA70369-660D-4DCA-B0FC-2749C2E58A40}"/>
              </a:ext>
            </a:extLst>
          </p:cNvPr>
          <p:cNvCxnSpPr>
            <a:cxnSpLocks/>
          </p:cNvCxnSpPr>
          <p:nvPr userDrawn="1"/>
        </p:nvCxnSpPr>
        <p:spPr>
          <a:xfrm>
            <a:off x="820851" y="5657600"/>
            <a:ext cx="7161084" cy="0"/>
          </a:xfrm>
          <a:prstGeom prst="line">
            <a:avLst/>
          </a:prstGeom>
          <a:ln w="12700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A04F3D51-FDE7-49C0-9411-1BA8018885F5}"/>
              </a:ext>
            </a:extLst>
          </p:cNvPr>
          <p:cNvSpPr txBox="1"/>
          <p:nvPr userDrawn="1"/>
        </p:nvSpPr>
        <p:spPr>
          <a:xfrm>
            <a:off x="334963" y="898522"/>
            <a:ext cx="763992" cy="338554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algn="l"/>
            <a:r>
              <a:rPr lang="en-AU" sz="1600">
                <a:solidFill>
                  <a:schemeClr val="bg2"/>
                </a:solidFill>
                <a:latin typeface="+mj-lt"/>
              </a:rPr>
              <a:t>Impac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DCAFC7F-47A8-4564-9F50-8B90053438B1}"/>
              </a:ext>
            </a:extLst>
          </p:cNvPr>
          <p:cNvSpPr txBox="1"/>
          <p:nvPr userDrawn="1"/>
        </p:nvSpPr>
        <p:spPr>
          <a:xfrm rot="16200000">
            <a:off x="371856" y="2087718"/>
            <a:ext cx="4988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200" b="1">
                <a:solidFill>
                  <a:schemeClr val="tx2"/>
                </a:solidFill>
              </a:rPr>
              <a:t>high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E5C50DC-C632-47B2-ADFB-BBCD52D2C82D}"/>
              </a:ext>
            </a:extLst>
          </p:cNvPr>
          <p:cNvSpPr txBox="1"/>
          <p:nvPr userDrawn="1"/>
        </p:nvSpPr>
        <p:spPr>
          <a:xfrm rot="16200000">
            <a:off x="395902" y="4817077"/>
            <a:ext cx="45076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200" b="1">
                <a:solidFill>
                  <a:schemeClr val="tx2"/>
                </a:solidFill>
              </a:rPr>
              <a:t>low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62AB432-5B81-4183-BD69-521F287E2369}"/>
              </a:ext>
            </a:extLst>
          </p:cNvPr>
          <p:cNvSpPr txBox="1"/>
          <p:nvPr userDrawn="1"/>
        </p:nvSpPr>
        <p:spPr>
          <a:xfrm>
            <a:off x="1469070" y="5721149"/>
            <a:ext cx="80983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AU" sz="1200" b="1">
                <a:solidFill>
                  <a:schemeClr val="tx2"/>
                </a:solidFill>
              </a:rPr>
              <a:t>Complex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527307B-0156-429B-9C00-0C8B21BD14C9}"/>
              </a:ext>
            </a:extLst>
          </p:cNvPr>
          <p:cNvSpPr txBox="1"/>
          <p:nvPr userDrawn="1"/>
        </p:nvSpPr>
        <p:spPr>
          <a:xfrm>
            <a:off x="6744728" y="5721149"/>
            <a:ext cx="51328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AU" sz="1200" b="1">
                <a:solidFill>
                  <a:schemeClr val="tx2"/>
                </a:solidFill>
              </a:rPr>
              <a:t>Easy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FC98F08-3647-430E-A964-E9B3F1B05B54}"/>
              </a:ext>
            </a:extLst>
          </p:cNvPr>
          <p:cNvSpPr txBox="1"/>
          <p:nvPr userDrawn="1"/>
        </p:nvSpPr>
        <p:spPr>
          <a:xfrm>
            <a:off x="8502936" y="5596891"/>
            <a:ext cx="1858411" cy="584775"/>
          </a:xfrm>
          <a:prstGeom prst="rect">
            <a:avLst/>
          </a:prstGeom>
          <a:noFill/>
        </p:spPr>
        <p:txBody>
          <a:bodyPr wrap="square" lIns="0" rtlCol="0" anchor="b" anchorCtr="0">
            <a:spAutoFit/>
          </a:bodyPr>
          <a:lstStyle/>
          <a:p>
            <a:pPr algn="l"/>
            <a:r>
              <a:rPr lang="en-AU" sz="1600">
                <a:solidFill>
                  <a:schemeClr val="bg2"/>
                </a:solidFill>
                <a:latin typeface="+mj-lt"/>
              </a:rPr>
              <a:t>Ease of implementation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FBDFBCA9-FD99-491F-89DF-4AC97AE3E116}"/>
              </a:ext>
            </a:extLst>
          </p:cNvPr>
          <p:cNvSpPr/>
          <p:nvPr userDrawn="1"/>
        </p:nvSpPr>
        <p:spPr>
          <a:xfrm>
            <a:off x="1042214" y="1675334"/>
            <a:ext cx="2231805" cy="1188000"/>
          </a:xfrm>
          <a:prstGeom prst="roundRect">
            <a:avLst>
              <a:gd name="adj" fmla="val 7472"/>
            </a:avLst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DEE76B15-E051-4997-AF08-C4F466FA8F6E}"/>
              </a:ext>
            </a:extLst>
          </p:cNvPr>
          <p:cNvSpPr/>
          <p:nvPr userDrawn="1"/>
        </p:nvSpPr>
        <p:spPr>
          <a:xfrm>
            <a:off x="3385008" y="1675334"/>
            <a:ext cx="2231805" cy="1188000"/>
          </a:xfrm>
          <a:prstGeom prst="roundRect">
            <a:avLst>
              <a:gd name="adj" fmla="val 8834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40FE7694-E738-4019-AF0B-7727B8794381}"/>
              </a:ext>
            </a:extLst>
          </p:cNvPr>
          <p:cNvSpPr/>
          <p:nvPr userDrawn="1"/>
        </p:nvSpPr>
        <p:spPr>
          <a:xfrm>
            <a:off x="5727802" y="1675333"/>
            <a:ext cx="2231805" cy="1188000"/>
          </a:xfrm>
          <a:prstGeom prst="roundRect">
            <a:avLst>
              <a:gd name="adj" fmla="val 8834"/>
            </a:avLst>
          </a:prstGeom>
          <a:solidFill>
            <a:schemeClr val="accent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EFA22970-8A68-49F2-AB88-2AEA221CE2BC}"/>
              </a:ext>
            </a:extLst>
          </p:cNvPr>
          <p:cNvSpPr/>
          <p:nvPr userDrawn="1"/>
        </p:nvSpPr>
        <p:spPr>
          <a:xfrm>
            <a:off x="1042214" y="2971443"/>
            <a:ext cx="2231805" cy="1188000"/>
          </a:xfrm>
          <a:prstGeom prst="roundRect">
            <a:avLst>
              <a:gd name="adj" fmla="val 7472"/>
            </a:avLst>
          </a:prstGeom>
          <a:solidFill>
            <a:schemeClr val="accent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C2521848-B421-4131-8617-FCCCBC93E050}"/>
              </a:ext>
            </a:extLst>
          </p:cNvPr>
          <p:cNvSpPr/>
          <p:nvPr userDrawn="1"/>
        </p:nvSpPr>
        <p:spPr>
          <a:xfrm>
            <a:off x="3385008" y="2971443"/>
            <a:ext cx="2231805" cy="1188000"/>
          </a:xfrm>
          <a:prstGeom prst="roundRect">
            <a:avLst>
              <a:gd name="adj" fmla="val 8834"/>
            </a:avLst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74EF66E-1001-471F-A4F5-1A75062904FE}"/>
              </a:ext>
            </a:extLst>
          </p:cNvPr>
          <p:cNvSpPr/>
          <p:nvPr userDrawn="1"/>
        </p:nvSpPr>
        <p:spPr>
          <a:xfrm>
            <a:off x="5727802" y="2971443"/>
            <a:ext cx="2231805" cy="1188000"/>
          </a:xfrm>
          <a:prstGeom prst="roundRect">
            <a:avLst>
              <a:gd name="adj" fmla="val 8834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594F7034-6A44-489D-8799-48EDD5EB2966}"/>
              </a:ext>
            </a:extLst>
          </p:cNvPr>
          <p:cNvSpPr/>
          <p:nvPr userDrawn="1"/>
        </p:nvSpPr>
        <p:spPr>
          <a:xfrm>
            <a:off x="1042214" y="4267552"/>
            <a:ext cx="2231805" cy="1188000"/>
          </a:xfrm>
          <a:prstGeom prst="roundRect">
            <a:avLst>
              <a:gd name="adj" fmla="val 7472"/>
            </a:avLst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CFC9D5C0-E6E3-4A0F-A579-D371C54429F9}"/>
              </a:ext>
            </a:extLst>
          </p:cNvPr>
          <p:cNvSpPr/>
          <p:nvPr userDrawn="1"/>
        </p:nvSpPr>
        <p:spPr>
          <a:xfrm>
            <a:off x="3385008" y="4267552"/>
            <a:ext cx="2231805" cy="1188000"/>
          </a:xfrm>
          <a:prstGeom prst="roundRect">
            <a:avLst>
              <a:gd name="adj" fmla="val 8834"/>
            </a:avLst>
          </a:prstGeom>
          <a:solidFill>
            <a:schemeClr val="accent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38327192-4EDE-4ECF-9B7F-79369E6FDF5A}"/>
              </a:ext>
            </a:extLst>
          </p:cNvPr>
          <p:cNvSpPr/>
          <p:nvPr userDrawn="1"/>
        </p:nvSpPr>
        <p:spPr>
          <a:xfrm>
            <a:off x="5727802" y="4267551"/>
            <a:ext cx="2231805" cy="1188000"/>
          </a:xfrm>
          <a:prstGeom prst="roundRect">
            <a:avLst>
              <a:gd name="adj" fmla="val 8834"/>
            </a:avLst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3FC76B0-FFF7-4829-BB16-AA0D48C7783F}"/>
              </a:ext>
            </a:extLst>
          </p:cNvPr>
          <p:cNvSpPr txBox="1"/>
          <p:nvPr userDrawn="1"/>
        </p:nvSpPr>
        <p:spPr>
          <a:xfrm rot="16200000">
            <a:off x="395902" y="3402433"/>
            <a:ext cx="45076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200" b="1">
                <a:solidFill>
                  <a:schemeClr val="tx2"/>
                </a:solidFill>
              </a:rPr>
              <a:t>low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F655A99-08E9-4F6D-A018-45609A43346B}"/>
              </a:ext>
            </a:extLst>
          </p:cNvPr>
          <p:cNvSpPr txBox="1"/>
          <p:nvPr userDrawn="1"/>
        </p:nvSpPr>
        <p:spPr>
          <a:xfrm>
            <a:off x="3978565" y="5721149"/>
            <a:ext cx="7633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AU" sz="1200" b="1">
                <a:solidFill>
                  <a:schemeClr val="tx2"/>
                </a:solidFill>
              </a:rPr>
              <a:t>Medium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38DEC77-BDB8-41D1-91E8-818100725A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899525" y="1317778"/>
            <a:ext cx="2957513" cy="388075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  <a:lvl6pPr>
              <a:defRPr>
                <a:solidFill>
                  <a:schemeClr val="bg2"/>
                </a:solidFill>
              </a:defRPr>
            </a:lvl6pPr>
            <a:lvl7pPr>
              <a:defRPr>
                <a:solidFill>
                  <a:schemeClr val="bg2"/>
                </a:solidFill>
              </a:defRPr>
            </a:lvl7pPr>
            <a:lvl8pPr>
              <a:defRPr>
                <a:solidFill>
                  <a:schemeClr val="bg2"/>
                </a:solidFill>
              </a:defRPr>
            </a:lvl8pPr>
            <a:lvl9pPr>
              <a:defRPr>
                <a:solidFill>
                  <a:schemeClr val="bg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5C1DC378-1F26-4641-9662-33E3EE8521A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849886" y="333375"/>
            <a:ext cx="1006304" cy="448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8550508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7F07ECCF-5EE7-4BA4-BD7C-50DF82C3F5BF}"/>
              </a:ext>
            </a:extLst>
          </p:cNvPr>
          <p:cNvSpPr/>
          <p:nvPr userDrawn="1"/>
        </p:nvSpPr>
        <p:spPr>
          <a:xfrm>
            <a:off x="0" y="0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F1044E10-4BD7-47DE-8A5A-57C9557A0B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42214" y="2106271"/>
            <a:ext cx="4507572" cy="2281251"/>
          </a:xfrm>
        </p:spPr>
        <p:txBody>
          <a:bodyPr/>
          <a:lstStyle>
            <a:lvl1pPr>
              <a:defRPr sz="2800" cap="none" baseline="0">
                <a:solidFill>
                  <a:schemeClr val="accent1"/>
                </a:solidFill>
                <a:latin typeface="+mj-lt"/>
              </a:defRPr>
            </a:lvl1pPr>
            <a:lvl2pPr algn="l">
              <a:spcBef>
                <a:spcPts val="600"/>
              </a:spcBef>
              <a:defRPr sz="1600" b="0" cap="none" baseline="0">
                <a:solidFill>
                  <a:schemeClr val="accent1"/>
                </a:solidFill>
              </a:defRPr>
            </a:lvl2pPr>
            <a:lvl3pPr algn="l">
              <a:defRPr sz="1600" cap="none">
                <a:solidFill>
                  <a:schemeClr val="accent1"/>
                </a:solidFill>
              </a:defRPr>
            </a:lvl3pPr>
            <a:lvl4pPr algn="l">
              <a:defRPr sz="1600" cap="none">
                <a:solidFill>
                  <a:schemeClr val="accent1"/>
                </a:solidFill>
              </a:defRPr>
            </a:lvl4pPr>
            <a:lvl5pPr algn="l">
              <a:defRPr sz="1600" cap="none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CCFA2A9-BC18-4CF8-AD38-42B263119472}"/>
              </a:ext>
            </a:extLst>
          </p:cNvPr>
          <p:cNvSpPr txBox="1"/>
          <p:nvPr userDrawn="1"/>
        </p:nvSpPr>
        <p:spPr>
          <a:xfrm>
            <a:off x="1878852" y="782157"/>
            <a:ext cx="914033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2000">
                <a:solidFill>
                  <a:schemeClr val="accent1"/>
                </a:solidFill>
                <a:latin typeface="+mj-lt"/>
              </a:rPr>
              <a:t>“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9C98CC0-E077-4ADE-8BC2-9559518E22D8}"/>
              </a:ext>
            </a:extLst>
          </p:cNvPr>
          <p:cNvSpPr txBox="1"/>
          <p:nvPr userDrawn="1"/>
        </p:nvSpPr>
        <p:spPr>
          <a:xfrm>
            <a:off x="8577415" y="3692995"/>
            <a:ext cx="1643399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2000">
                <a:solidFill>
                  <a:schemeClr val="tx2"/>
                </a:solidFill>
                <a:latin typeface="+mj-lt"/>
              </a:rPr>
              <a:t>“</a:t>
            </a:r>
            <a:r>
              <a:rPr lang="en-AU" sz="12000">
                <a:solidFill>
                  <a:schemeClr val="accent1"/>
                </a:solidFill>
                <a:latin typeface="+mj-lt"/>
              </a:rPr>
              <a:t>”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25A78CB-C25F-477B-ACB8-7A8C3B33F7D7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0DC4922-3AFC-43D6-9996-17D5CAC06E9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54801EF-D4C3-4D21-A7DC-76D432B0F00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1D97197-E691-46BF-8B8E-EB258D24F5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849886" y="333375"/>
            <a:ext cx="1006304" cy="448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2316303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10794666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5EE857-4C7E-47C5-A433-5F303A10690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963" y="1413375"/>
            <a:ext cx="10794665" cy="72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3" name="Table Placeholder 12">
            <a:extLst>
              <a:ext uri="{FF2B5EF4-FFF2-40B4-BE49-F238E27FC236}">
                <a16:creationId xmlns:a16="http://schemas.microsoft.com/office/drawing/2014/main" id="{12720170-841B-4714-B671-AE40B2FE0283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334963" y="2243443"/>
            <a:ext cx="10794665" cy="3600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table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4E7EDCB-670C-46CB-A20E-159535CC5C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D18779D-2EB2-4254-A93E-7459659F2BB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8B347AD-5E50-42AC-AFB4-7F625291AB6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300567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10801351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5EE857-4C7E-47C5-A433-5F303A10690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964" y="1413375"/>
            <a:ext cx="10801350" cy="72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D1ECE4F1-33EB-4137-BED8-59885BB39C47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334963" y="2243442"/>
            <a:ext cx="10801350" cy="3599999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778F5DE-1344-42BD-82D0-6611DD7B1FC6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D0D518F-1062-474E-BA48-10EA56B2C55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2C63567-251B-4660-ADF6-37AB6DCF01D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0035165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D583ABC-22A1-400D-B5EB-018BF7A1B892}"/>
              </a:ext>
            </a:extLst>
          </p:cNvPr>
          <p:cNvSpPr/>
          <p:nvPr userDrawn="1"/>
        </p:nvSpPr>
        <p:spPr>
          <a:xfrm>
            <a:off x="0" y="0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10794666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5EE857-4C7E-47C5-A433-5F303A10690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963" y="1413375"/>
            <a:ext cx="10794665" cy="72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3" name="Table Placeholder 12">
            <a:extLst>
              <a:ext uri="{FF2B5EF4-FFF2-40B4-BE49-F238E27FC236}">
                <a16:creationId xmlns:a16="http://schemas.microsoft.com/office/drawing/2014/main" id="{12720170-841B-4714-B671-AE40B2FE0283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334963" y="2243443"/>
            <a:ext cx="10794665" cy="3600000"/>
          </a:xfrm>
        </p:spPr>
        <p:txBody>
          <a:bodyPr anchor="ctr" anchorCtr="0"/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4E7EDCB-670C-46CB-A20E-159535CC5C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D18779D-2EB2-4254-A93E-7459659F2BB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8B347AD-5E50-42AC-AFB4-7F625291AB6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405A9204-2440-41D2-ACE8-C0954FBCEA1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849886" y="333375"/>
            <a:ext cx="1006304" cy="448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3831303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C60C8A8-1B70-4653-94B4-DE00B5C785B3}"/>
              </a:ext>
            </a:extLst>
          </p:cNvPr>
          <p:cNvSpPr/>
          <p:nvPr userDrawn="1"/>
        </p:nvSpPr>
        <p:spPr>
          <a:xfrm>
            <a:off x="0" y="0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10801351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5EE857-4C7E-47C5-A433-5F303A10690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964" y="1413375"/>
            <a:ext cx="10801350" cy="72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D1ECE4F1-33EB-4137-BED8-59885BB39C47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334963" y="2243442"/>
            <a:ext cx="10801350" cy="3599999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778F5DE-1344-42BD-82D0-6611DD7B1FC6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D0D518F-1062-474E-BA48-10EA56B2C55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2C63567-251B-4660-ADF6-37AB6DCF01D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E1A2CF36-775E-4392-BEA9-87C8C3FA9B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849886" y="333375"/>
            <a:ext cx="1006304" cy="448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3098760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76849F14-4971-4208-82A8-1F0513897926}"/>
              </a:ext>
            </a:extLst>
          </p:cNvPr>
          <p:cNvSpPr/>
          <p:nvPr userDrawn="1"/>
        </p:nvSpPr>
        <p:spPr>
          <a:xfrm>
            <a:off x="719400" y="-2"/>
            <a:ext cx="107532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096AA35B-6D3E-4809-9D78-9CF31081E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9400" y="-2"/>
            <a:ext cx="4680000" cy="4068000"/>
          </a:xfrm>
          <a:solidFill>
            <a:schemeClr val="tx2"/>
          </a:solidFill>
        </p:spPr>
        <p:txBody>
          <a:bodyPr lIns="342000" tIns="342000" rIns="0" bIns="504000" anchor="b" anchorCtr="0"/>
          <a:lstStyle>
            <a:lvl1pPr>
              <a:defRPr sz="4500">
                <a:solidFill>
                  <a:schemeClr val="accent1"/>
                </a:solidFill>
              </a:defRPr>
            </a:lvl1pPr>
          </a:lstStyle>
          <a:p>
            <a:r>
              <a:rPr lang="en-US"/>
              <a:t>Thank you</a:t>
            </a:r>
            <a:endParaRPr lang="en-AU"/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C26E00FB-CED1-4B46-93A1-739D22FD51A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787692" y="2529091"/>
            <a:ext cx="2017653" cy="899814"/>
          </a:xfrm>
          <a:prstGeom prst="rect">
            <a:avLst/>
          </a:prstGeom>
        </p:spPr>
      </p:pic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FD95F930-CD55-469B-9FD0-1150DA73B39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-2"/>
            <a:ext cx="12192000" cy="6876000"/>
          </a:xfrm>
          <a:custGeom>
            <a:avLst/>
            <a:gdLst>
              <a:gd name="connsiteX0" fmla="*/ 114726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472600 w 12192000"/>
              <a:gd name="connsiteY3" fmla="*/ 6858000 h 6858000"/>
              <a:gd name="connsiteX4" fmla="*/ 0 w 12192000"/>
              <a:gd name="connsiteY4" fmla="*/ 0 h 6858000"/>
              <a:gd name="connsiteX5" fmla="*/ 719400 w 12192000"/>
              <a:gd name="connsiteY5" fmla="*/ 0 h 6858000"/>
              <a:gd name="connsiteX6" fmla="*/ 7194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14726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472600" y="6858000"/>
                </a:lnTo>
                <a:close/>
                <a:moveTo>
                  <a:pt x="0" y="0"/>
                </a:moveTo>
                <a:lnTo>
                  <a:pt x="719400" y="0"/>
                </a:lnTo>
                <a:lnTo>
                  <a:pt x="7194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08000" tIns="108000" rIns="115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4417D20-4CB7-471C-A5C4-50706D404792}"/>
              </a:ext>
            </a:extLst>
          </p:cNvPr>
          <p:cNvSpPr txBox="1"/>
          <p:nvPr userDrawn="1"/>
        </p:nvSpPr>
        <p:spPr>
          <a:xfrm>
            <a:off x="7916652" y="3928056"/>
            <a:ext cx="3321238" cy="25564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 cap="none" baseline="0">
                <a:solidFill>
                  <a:schemeClr val="bg1"/>
                </a:solidFill>
              </a:defRPr>
            </a:lvl1pPr>
            <a:lvl2pPr marL="0" lvl="1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b="1" cap="all" baseline="0">
                <a:solidFill>
                  <a:schemeClr val="bg1"/>
                </a:solidFill>
              </a:defRPr>
            </a:lvl2pPr>
            <a:lvl3pPr marL="0" lvl="2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3pPr>
            <a:lvl4pPr marL="0" lvl="3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4pPr>
            <a:lvl5pPr marL="0" lvl="4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5pPr>
            <a:lvl6pPr marL="0" lvl="5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6pPr>
            <a:lvl7pPr marL="0" lvl="6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7pPr>
            <a:lvl8pPr marL="0" lvl="7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8pPr>
            <a:lvl9pPr marL="0" lvl="8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9pPr>
          </a:lstStyle>
          <a:p>
            <a:pPr lvl="0">
              <a:spcBef>
                <a:spcPts val="400"/>
              </a:spcBef>
            </a:pPr>
            <a:r>
              <a:rPr lang="en-US" altLang="en-US" sz="1600" b="0">
                <a:solidFill>
                  <a:schemeClr val="bg2"/>
                </a:solidFill>
                <a:latin typeface="+mj-lt"/>
              </a:rPr>
              <a:t>Forest Stewardship Council</a:t>
            </a:r>
            <a:r>
              <a:rPr lang="en-US" altLang="en-US" sz="1600" b="0" baseline="30000">
                <a:solidFill>
                  <a:schemeClr val="bg2"/>
                </a:solidFill>
                <a:latin typeface="+mj-lt"/>
              </a:rPr>
              <a:t>®</a:t>
            </a:r>
            <a:r>
              <a:rPr lang="en-US" altLang="en-US" sz="1600" b="0">
                <a:solidFill>
                  <a:schemeClr val="bg2"/>
                </a:solidFill>
                <a:latin typeface="+mj-lt"/>
              </a:rPr>
              <a:t> </a:t>
            </a:r>
            <a:br>
              <a:rPr lang="en-US" altLang="en-US" sz="1600" b="0">
                <a:solidFill>
                  <a:schemeClr val="bg2"/>
                </a:solidFill>
                <a:latin typeface="+mj-lt"/>
              </a:rPr>
            </a:br>
            <a:r>
              <a:rPr lang="en-US" altLang="en-US" sz="1600" b="0">
                <a:solidFill>
                  <a:schemeClr val="bg2"/>
                </a:solidFill>
                <a:latin typeface="+mj-lt"/>
              </a:rPr>
              <a:t>FSC</a:t>
            </a:r>
            <a:r>
              <a:rPr lang="en-US" altLang="en-US" sz="1600" b="0" baseline="30000">
                <a:solidFill>
                  <a:schemeClr val="bg2"/>
                </a:solidFill>
                <a:latin typeface="+mj-lt"/>
              </a:rPr>
              <a:t> ®</a:t>
            </a:r>
            <a:r>
              <a:rPr lang="en-US" altLang="en-US" sz="1600" b="0">
                <a:solidFill>
                  <a:schemeClr val="bg2"/>
                </a:solidFill>
                <a:latin typeface="+mj-lt"/>
              </a:rPr>
              <a:t> International</a:t>
            </a:r>
          </a:p>
          <a:p>
            <a:pPr lvl="0"/>
            <a:endParaRPr lang="en-US" altLang="en-US" sz="1600" b="0"/>
          </a:p>
          <a:p>
            <a:pPr lvl="0"/>
            <a:endParaRPr lang="en-US" altLang="en-US" sz="1600" b="0"/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FSC® F001000</a:t>
            </a:r>
          </a:p>
          <a:p>
            <a:pPr lvl="0"/>
            <a:r>
              <a:rPr lang="en-US" altLang="en-US" sz="1400" b="0">
                <a:solidFill>
                  <a:schemeClr val="bg1"/>
                </a:solidFill>
                <a:latin typeface="+mj-lt"/>
              </a:rPr>
              <a:t>www.fsc.org</a:t>
            </a:r>
            <a:endParaRPr lang="en-US" altLang="en-US" sz="1600" b="0">
              <a:solidFill>
                <a:schemeClr val="bg1"/>
              </a:solidFill>
            </a:endParaRPr>
          </a:p>
        </p:txBody>
      </p:sp>
      <p:sp>
        <p:nvSpPr>
          <p:cNvPr id="8" name="Freeform: Shape 7">
            <a:hlinkClick r:id="rId4"/>
            <a:extLst>
              <a:ext uri="{FF2B5EF4-FFF2-40B4-BE49-F238E27FC236}">
                <a16:creationId xmlns:a16="http://schemas.microsoft.com/office/drawing/2014/main" id="{F8BC909C-567D-4F9C-A0DF-D05DE8F82075}"/>
              </a:ext>
            </a:extLst>
          </p:cNvPr>
          <p:cNvSpPr>
            <a:spLocks noChangeAspect="1"/>
          </p:cNvSpPr>
          <p:nvPr/>
        </p:nvSpPr>
        <p:spPr>
          <a:xfrm>
            <a:off x="7916652" y="4591756"/>
            <a:ext cx="242382" cy="242382"/>
          </a:xfrm>
          <a:custGeom>
            <a:avLst/>
            <a:gdLst>
              <a:gd name="connsiteX0" fmla="*/ 357950 w 809625"/>
              <a:gd name="connsiteY0" fmla="*/ 333375 h 809625"/>
              <a:gd name="connsiteX1" fmla="*/ 480537 w 809625"/>
              <a:gd name="connsiteY1" fmla="*/ 397002 h 809625"/>
              <a:gd name="connsiteX2" fmla="*/ 357950 w 809625"/>
              <a:gd name="connsiteY2" fmla="*/ 460439 h 809625"/>
              <a:gd name="connsiteX3" fmla="*/ 242887 w 809625"/>
              <a:gd name="connsiteY3" fmla="*/ 249555 h 809625"/>
              <a:gd name="connsiteX4" fmla="*/ 178117 w 809625"/>
              <a:gd name="connsiteY4" fmla="*/ 314325 h 809625"/>
              <a:gd name="connsiteX5" fmla="*/ 178117 w 809625"/>
              <a:gd name="connsiteY5" fmla="*/ 495300 h 809625"/>
              <a:gd name="connsiteX6" fmla="*/ 242887 w 809625"/>
              <a:gd name="connsiteY6" fmla="*/ 560070 h 809625"/>
              <a:gd name="connsiteX7" fmla="*/ 566737 w 809625"/>
              <a:gd name="connsiteY7" fmla="*/ 560070 h 809625"/>
              <a:gd name="connsiteX8" fmla="*/ 631507 w 809625"/>
              <a:gd name="connsiteY8" fmla="*/ 495300 h 809625"/>
              <a:gd name="connsiteX9" fmla="*/ 631507 w 809625"/>
              <a:gd name="connsiteY9" fmla="*/ 314325 h 809625"/>
              <a:gd name="connsiteX10" fmla="*/ 566737 w 809625"/>
              <a:gd name="connsiteY10" fmla="*/ 249555 h 809625"/>
              <a:gd name="connsiteX11" fmla="*/ 404813 w 809625"/>
              <a:gd name="connsiteY11" fmla="*/ 0 h 809625"/>
              <a:gd name="connsiteX12" fmla="*/ 809625 w 809625"/>
              <a:gd name="connsiteY12" fmla="*/ 404813 h 809625"/>
              <a:gd name="connsiteX13" fmla="*/ 404813 w 809625"/>
              <a:gd name="connsiteY13" fmla="*/ 809625 h 809625"/>
              <a:gd name="connsiteX14" fmla="*/ 0 w 809625"/>
              <a:gd name="connsiteY14" fmla="*/ 404813 h 809625"/>
              <a:gd name="connsiteX15" fmla="*/ 404813 w 809625"/>
              <a:gd name="connsiteY15" fmla="*/ 0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809625" h="809625">
                <a:moveTo>
                  <a:pt x="357950" y="333375"/>
                </a:moveTo>
                <a:lnTo>
                  <a:pt x="480537" y="397002"/>
                </a:lnTo>
                <a:lnTo>
                  <a:pt x="357950" y="460439"/>
                </a:lnTo>
                <a:close/>
                <a:moveTo>
                  <a:pt x="242887" y="249555"/>
                </a:moveTo>
                <a:cubicBezTo>
                  <a:pt x="207159" y="249660"/>
                  <a:pt x="178222" y="278597"/>
                  <a:pt x="178117" y="314325"/>
                </a:cubicBezTo>
                <a:lnTo>
                  <a:pt x="178117" y="495300"/>
                </a:lnTo>
                <a:cubicBezTo>
                  <a:pt x="178222" y="531028"/>
                  <a:pt x="207159" y="559965"/>
                  <a:pt x="242887" y="560070"/>
                </a:cubicBezTo>
                <a:lnTo>
                  <a:pt x="566737" y="560070"/>
                </a:lnTo>
                <a:cubicBezTo>
                  <a:pt x="602465" y="559965"/>
                  <a:pt x="631402" y="531028"/>
                  <a:pt x="631507" y="495300"/>
                </a:cubicBezTo>
                <a:lnTo>
                  <a:pt x="631507" y="314325"/>
                </a:lnTo>
                <a:cubicBezTo>
                  <a:pt x="631402" y="278597"/>
                  <a:pt x="602465" y="249660"/>
                  <a:pt x="566737" y="249555"/>
                </a:cubicBezTo>
                <a:close/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9" name="Freeform: Shape 8">
            <a:hlinkClick r:id="rId5"/>
            <a:extLst>
              <a:ext uri="{FF2B5EF4-FFF2-40B4-BE49-F238E27FC236}">
                <a16:creationId xmlns:a16="http://schemas.microsoft.com/office/drawing/2014/main" id="{2487C176-18A9-4BB0-BD80-DEC34233A800}"/>
              </a:ext>
            </a:extLst>
          </p:cNvPr>
          <p:cNvSpPr>
            <a:spLocks noChangeAspect="1"/>
          </p:cNvSpPr>
          <p:nvPr/>
        </p:nvSpPr>
        <p:spPr>
          <a:xfrm>
            <a:off x="8298996" y="4591756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495146 w 809625"/>
              <a:gd name="connsiteY5" fmla="*/ 220645 h 809625"/>
              <a:gd name="connsiteX6" fmla="*/ 428527 w 809625"/>
              <a:gd name="connsiteY6" fmla="*/ 245841 h 809625"/>
              <a:gd name="connsiteX7" fmla="*/ 399192 w 809625"/>
              <a:gd name="connsiteY7" fmla="*/ 313563 h 809625"/>
              <a:gd name="connsiteX8" fmla="*/ 401573 w 809625"/>
              <a:gd name="connsiteY8" fmla="*/ 334803 h 809625"/>
              <a:gd name="connsiteX9" fmla="*/ 209549 w 809625"/>
              <a:gd name="connsiteY9" fmla="*/ 238125 h 809625"/>
              <a:gd name="connsiteX10" fmla="*/ 238124 w 809625"/>
              <a:gd name="connsiteY10" fmla="*/ 361950 h 809625"/>
              <a:gd name="connsiteX11" fmla="*/ 195928 w 809625"/>
              <a:gd name="connsiteY11" fmla="*/ 350329 h 809625"/>
              <a:gd name="connsiteX12" fmla="*/ 195929 w 809625"/>
              <a:gd name="connsiteY12" fmla="*/ 351567 h 809625"/>
              <a:gd name="connsiteX13" fmla="*/ 270605 w 809625"/>
              <a:gd name="connsiteY13" fmla="*/ 442722 h 809625"/>
              <a:gd name="connsiteX14" fmla="*/ 228599 w 809625"/>
              <a:gd name="connsiteY14" fmla="*/ 444341 h 809625"/>
              <a:gd name="connsiteX15" fmla="*/ 315467 w 809625"/>
              <a:gd name="connsiteY15" fmla="*/ 508920 h 809625"/>
              <a:gd name="connsiteX16" fmla="*/ 200024 w 809625"/>
              <a:gd name="connsiteY16" fmla="*/ 548544 h 809625"/>
              <a:gd name="connsiteX17" fmla="*/ 177831 w 809625"/>
              <a:gd name="connsiteY17" fmla="*/ 547211 h 809625"/>
              <a:gd name="connsiteX18" fmla="*/ 320706 w 809625"/>
              <a:gd name="connsiteY18" fmla="*/ 589026 h 809625"/>
              <a:gd name="connsiteX19" fmla="*/ 585406 w 809625"/>
              <a:gd name="connsiteY19" fmla="*/ 324421 h 809625"/>
              <a:gd name="connsiteX20" fmla="*/ 585406 w 809625"/>
              <a:gd name="connsiteY20" fmla="*/ 312324 h 809625"/>
              <a:gd name="connsiteX21" fmla="*/ 631507 w 809625"/>
              <a:gd name="connsiteY21" fmla="*/ 264223 h 809625"/>
              <a:gd name="connsiteX22" fmla="*/ 578072 w 809625"/>
              <a:gd name="connsiteY22" fmla="*/ 278892 h 809625"/>
              <a:gd name="connsiteX23" fmla="*/ 619124 w 809625"/>
              <a:gd name="connsiteY23" fmla="*/ 227361 h 809625"/>
              <a:gd name="connsiteX24" fmla="*/ 560069 w 809625"/>
              <a:gd name="connsiteY24" fmla="*/ 249936 h 809625"/>
              <a:gd name="connsiteX25" fmla="*/ 495146 w 809625"/>
              <a:gd name="connsiteY25" fmla="*/ 220645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495146" y="220645"/>
                </a:moveTo>
                <a:cubicBezTo>
                  <a:pt x="471342" y="219904"/>
                  <a:pt x="447255" y="228245"/>
                  <a:pt x="428527" y="245841"/>
                </a:cubicBezTo>
                <a:cubicBezTo>
                  <a:pt x="409833" y="263407"/>
                  <a:pt x="399219" y="287911"/>
                  <a:pt x="399192" y="313563"/>
                </a:cubicBezTo>
                <a:cubicBezTo>
                  <a:pt x="399204" y="320709"/>
                  <a:pt x="400003" y="327832"/>
                  <a:pt x="401573" y="334803"/>
                </a:cubicBezTo>
                <a:cubicBezTo>
                  <a:pt x="326768" y="331204"/>
                  <a:pt x="256991" y="296073"/>
                  <a:pt x="209549" y="238125"/>
                </a:cubicBezTo>
                <a:cubicBezTo>
                  <a:pt x="185023" y="280491"/>
                  <a:pt x="197513" y="334615"/>
                  <a:pt x="238124" y="361950"/>
                </a:cubicBezTo>
                <a:cubicBezTo>
                  <a:pt x="223336" y="361482"/>
                  <a:pt x="208871" y="357499"/>
                  <a:pt x="195928" y="350329"/>
                </a:cubicBezTo>
                <a:lnTo>
                  <a:pt x="195929" y="351567"/>
                </a:lnTo>
                <a:cubicBezTo>
                  <a:pt x="195962" y="395849"/>
                  <a:pt x="227195" y="433974"/>
                  <a:pt x="270605" y="442722"/>
                </a:cubicBezTo>
                <a:cubicBezTo>
                  <a:pt x="256901" y="446399"/>
                  <a:pt x="242546" y="446952"/>
                  <a:pt x="228599" y="444341"/>
                </a:cubicBezTo>
                <a:cubicBezTo>
                  <a:pt x="240745" y="482243"/>
                  <a:pt x="275672" y="508209"/>
                  <a:pt x="315467" y="508920"/>
                </a:cubicBezTo>
                <a:cubicBezTo>
                  <a:pt x="282513" y="534690"/>
                  <a:pt x="241858" y="548644"/>
                  <a:pt x="200024" y="548544"/>
                </a:cubicBezTo>
                <a:cubicBezTo>
                  <a:pt x="192607" y="548536"/>
                  <a:pt x="185196" y="548091"/>
                  <a:pt x="177831" y="547211"/>
                </a:cubicBezTo>
                <a:cubicBezTo>
                  <a:pt x="220421" y="574649"/>
                  <a:pt x="270043" y="589172"/>
                  <a:pt x="320706" y="589026"/>
                </a:cubicBezTo>
                <a:cubicBezTo>
                  <a:pt x="492156" y="589026"/>
                  <a:pt x="585406" y="447294"/>
                  <a:pt x="585406" y="324421"/>
                </a:cubicBezTo>
                <a:cubicBezTo>
                  <a:pt x="585406" y="320325"/>
                  <a:pt x="585406" y="316325"/>
                  <a:pt x="585406" y="312324"/>
                </a:cubicBezTo>
                <a:cubicBezTo>
                  <a:pt x="603503" y="299151"/>
                  <a:pt x="619113" y="282863"/>
                  <a:pt x="631507" y="264223"/>
                </a:cubicBezTo>
                <a:cubicBezTo>
                  <a:pt x="614513" y="271713"/>
                  <a:pt x="596508" y="276656"/>
                  <a:pt x="578072" y="278892"/>
                </a:cubicBezTo>
                <a:cubicBezTo>
                  <a:pt x="597588" y="267302"/>
                  <a:pt x="612190" y="248974"/>
                  <a:pt x="619124" y="227361"/>
                </a:cubicBezTo>
                <a:cubicBezTo>
                  <a:pt x="600877" y="238213"/>
                  <a:pt x="580902" y="245848"/>
                  <a:pt x="560069" y="249936"/>
                </a:cubicBezTo>
                <a:cubicBezTo>
                  <a:pt x="542473" y="231209"/>
                  <a:pt x="518951" y="221387"/>
                  <a:pt x="495146" y="22064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0" name="Freeform: Shape 9">
            <a:hlinkClick r:id="rId6"/>
            <a:extLst>
              <a:ext uri="{FF2B5EF4-FFF2-40B4-BE49-F238E27FC236}">
                <a16:creationId xmlns:a16="http://schemas.microsoft.com/office/drawing/2014/main" id="{41393088-2A2D-4F19-A536-4C5B46718A69}"/>
              </a:ext>
            </a:extLst>
          </p:cNvPr>
          <p:cNvSpPr>
            <a:spLocks noChangeAspect="1"/>
          </p:cNvSpPr>
          <p:nvPr/>
        </p:nvSpPr>
        <p:spPr>
          <a:xfrm>
            <a:off x="8681340" y="4591756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230981 w 809625"/>
              <a:gd name="connsiteY5" fmla="*/ 177069 h 809625"/>
              <a:gd name="connsiteX6" fmla="*/ 176498 w 809625"/>
              <a:gd name="connsiteY6" fmla="*/ 231552 h 809625"/>
              <a:gd name="connsiteX7" fmla="*/ 230981 w 809625"/>
              <a:gd name="connsiteY7" fmla="*/ 286035 h 809625"/>
              <a:gd name="connsiteX8" fmla="*/ 285464 w 809625"/>
              <a:gd name="connsiteY8" fmla="*/ 231552 h 809625"/>
              <a:gd name="connsiteX9" fmla="*/ 230981 w 809625"/>
              <a:gd name="connsiteY9" fmla="*/ 177069 h 809625"/>
              <a:gd name="connsiteX10" fmla="*/ 517493 w 809625"/>
              <a:gd name="connsiteY10" fmla="*/ 319849 h 809625"/>
              <a:gd name="connsiteX11" fmla="*/ 428625 w 809625"/>
              <a:gd name="connsiteY11" fmla="*/ 368617 h 809625"/>
              <a:gd name="connsiteX12" fmla="*/ 426910 w 809625"/>
              <a:gd name="connsiteY12" fmla="*/ 368617 h 809625"/>
              <a:gd name="connsiteX13" fmla="*/ 426910 w 809625"/>
              <a:gd name="connsiteY13" fmla="*/ 327278 h 809625"/>
              <a:gd name="connsiteX14" fmla="*/ 336899 w 809625"/>
              <a:gd name="connsiteY14" fmla="*/ 327278 h 809625"/>
              <a:gd name="connsiteX15" fmla="*/ 336899 w 809625"/>
              <a:gd name="connsiteY15" fmla="*/ 629602 h 809625"/>
              <a:gd name="connsiteX16" fmla="*/ 430720 w 809625"/>
              <a:gd name="connsiteY16" fmla="*/ 629602 h 809625"/>
              <a:gd name="connsiteX17" fmla="*/ 430720 w 809625"/>
              <a:gd name="connsiteY17" fmla="*/ 480059 h 809625"/>
              <a:gd name="connsiteX18" fmla="*/ 487108 w 809625"/>
              <a:gd name="connsiteY18" fmla="*/ 402430 h 809625"/>
              <a:gd name="connsiteX19" fmla="*/ 535876 w 809625"/>
              <a:gd name="connsiteY19" fmla="*/ 482631 h 809625"/>
              <a:gd name="connsiteX20" fmla="*/ 535876 w 809625"/>
              <a:gd name="connsiteY20" fmla="*/ 629602 h 809625"/>
              <a:gd name="connsiteX21" fmla="*/ 630174 w 809625"/>
              <a:gd name="connsiteY21" fmla="*/ 629602 h 809625"/>
              <a:gd name="connsiteX22" fmla="*/ 630174 w 809625"/>
              <a:gd name="connsiteY22" fmla="*/ 463771 h 809625"/>
              <a:gd name="connsiteX23" fmla="*/ 517493 w 809625"/>
              <a:gd name="connsiteY23" fmla="*/ 319849 h 809625"/>
              <a:gd name="connsiteX24" fmla="*/ 183927 w 809625"/>
              <a:gd name="connsiteY24" fmla="*/ 327278 h 809625"/>
              <a:gd name="connsiteX25" fmla="*/ 183927 w 809625"/>
              <a:gd name="connsiteY25" fmla="*/ 629602 h 809625"/>
              <a:gd name="connsiteX26" fmla="*/ 277939 w 809625"/>
              <a:gd name="connsiteY26" fmla="*/ 629602 h 809625"/>
              <a:gd name="connsiteX27" fmla="*/ 277939 w 809625"/>
              <a:gd name="connsiteY27" fmla="*/ 327278 h 809625"/>
              <a:gd name="connsiteX28" fmla="*/ 183927 w 809625"/>
              <a:gd name="connsiteY28" fmla="*/ 327278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230981" y="177069"/>
                </a:moveTo>
                <a:cubicBezTo>
                  <a:pt x="200891" y="177069"/>
                  <a:pt x="176498" y="201462"/>
                  <a:pt x="176498" y="231552"/>
                </a:cubicBezTo>
                <a:cubicBezTo>
                  <a:pt x="176498" y="261642"/>
                  <a:pt x="200891" y="286035"/>
                  <a:pt x="230981" y="286035"/>
                </a:cubicBezTo>
                <a:cubicBezTo>
                  <a:pt x="261071" y="286035"/>
                  <a:pt x="285464" y="261642"/>
                  <a:pt x="285464" y="231552"/>
                </a:cubicBezTo>
                <a:cubicBezTo>
                  <a:pt x="285464" y="201462"/>
                  <a:pt x="261071" y="177069"/>
                  <a:pt x="230981" y="177069"/>
                </a:cubicBezTo>
                <a:close/>
                <a:moveTo>
                  <a:pt x="517493" y="319849"/>
                </a:moveTo>
                <a:cubicBezTo>
                  <a:pt x="481146" y="318484"/>
                  <a:pt x="446996" y="337225"/>
                  <a:pt x="428625" y="368617"/>
                </a:cubicBezTo>
                <a:lnTo>
                  <a:pt x="426910" y="368617"/>
                </a:lnTo>
                <a:lnTo>
                  <a:pt x="426910" y="327278"/>
                </a:lnTo>
                <a:lnTo>
                  <a:pt x="336899" y="327278"/>
                </a:lnTo>
                <a:lnTo>
                  <a:pt x="336899" y="629602"/>
                </a:lnTo>
                <a:lnTo>
                  <a:pt x="430720" y="629602"/>
                </a:lnTo>
                <a:lnTo>
                  <a:pt x="430720" y="480059"/>
                </a:lnTo>
                <a:cubicBezTo>
                  <a:pt x="430720" y="440530"/>
                  <a:pt x="438912" y="402430"/>
                  <a:pt x="487108" y="402430"/>
                </a:cubicBezTo>
                <a:cubicBezTo>
                  <a:pt x="535305" y="402430"/>
                  <a:pt x="535876" y="447579"/>
                  <a:pt x="535876" y="482631"/>
                </a:cubicBezTo>
                <a:lnTo>
                  <a:pt x="535876" y="629602"/>
                </a:lnTo>
                <a:lnTo>
                  <a:pt x="630174" y="629602"/>
                </a:lnTo>
                <a:lnTo>
                  <a:pt x="630174" y="463771"/>
                </a:lnTo>
                <a:cubicBezTo>
                  <a:pt x="630174" y="382428"/>
                  <a:pt x="612743" y="319849"/>
                  <a:pt x="517493" y="319849"/>
                </a:cubicBezTo>
                <a:close/>
                <a:moveTo>
                  <a:pt x="183927" y="327278"/>
                </a:moveTo>
                <a:lnTo>
                  <a:pt x="183927" y="629602"/>
                </a:lnTo>
                <a:lnTo>
                  <a:pt x="277939" y="629602"/>
                </a:lnTo>
                <a:lnTo>
                  <a:pt x="277939" y="327278"/>
                </a:lnTo>
                <a:lnTo>
                  <a:pt x="183927" y="32727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1" name="Freeform: Shape 10">
            <a:hlinkClick r:id="rId7"/>
            <a:extLst>
              <a:ext uri="{FF2B5EF4-FFF2-40B4-BE49-F238E27FC236}">
                <a16:creationId xmlns:a16="http://schemas.microsoft.com/office/drawing/2014/main" id="{F1F78FC3-536A-4C34-B2A3-95085DF38A8D}"/>
              </a:ext>
            </a:extLst>
          </p:cNvPr>
          <p:cNvSpPr>
            <a:spLocks noChangeAspect="1"/>
          </p:cNvSpPr>
          <p:nvPr/>
        </p:nvSpPr>
        <p:spPr>
          <a:xfrm>
            <a:off x="9063685" y="4591756"/>
            <a:ext cx="242382" cy="242382"/>
          </a:xfrm>
          <a:custGeom>
            <a:avLst/>
            <a:gdLst>
              <a:gd name="connsiteX0" fmla="*/ 404812 w 809625"/>
              <a:gd name="connsiteY0" fmla="*/ 288417 h 809625"/>
              <a:gd name="connsiteX1" fmla="*/ 288417 w 809625"/>
              <a:gd name="connsiteY1" fmla="*/ 404812 h 809625"/>
              <a:gd name="connsiteX2" fmla="*/ 404812 w 809625"/>
              <a:gd name="connsiteY2" fmla="*/ 521208 h 809625"/>
              <a:gd name="connsiteX3" fmla="*/ 521208 w 809625"/>
              <a:gd name="connsiteY3" fmla="*/ 404812 h 809625"/>
              <a:gd name="connsiteX4" fmla="*/ 404812 w 809625"/>
              <a:gd name="connsiteY4" fmla="*/ 288417 h 809625"/>
              <a:gd name="connsiteX5" fmla="*/ 525780 w 809625"/>
              <a:gd name="connsiteY5" fmla="*/ 256603 h 809625"/>
              <a:gd name="connsiteX6" fmla="*/ 498538 w 809625"/>
              <a:gd name="connsiteY6" fmla="*/ 283844 h 809625"/>
              <a:gd name="connsiteX7" fmla="*/ 525780 w 809625"/>
              <a:gd name="connsiteY7" fmla="*/ 311086 h 809625"/>
              <a:gd name="connsiteX8" fmla="*/ 553021 w 809625"/>
              <a:gd name="connsiteY8" fmla="*/ 283844 h 809625"/>
              <a:gd name="connsiteX9" fmla="*/ 525780 w 809625"/>
              <a:gd name="connsiteY9" fmla="*/ 256603 h 809625"/>
              <a:gd name="connsiteX10" fmla="*/ 404812 w 809625"/>
              <a:gd name="connsiteY10" fmla="*/ 219075 h 809625"/>
              <a:gd name="connsiteX11" fmla="*/ 496443 w 809625"/>
              <a:gd name="connsiteY11" fmla="*/ 220408 h 809625"/>
              <a:gd name="connsiteX12" fmla="*/ 538543 w 809625"/>
              <a:gd name="connsiteY12" fmla="*/ 228218 h 809625"/>
              <a:gd name="connsiteX13" fmla="*/ 581501 w 809625"/>
              <a:gd name="connsiteY13" fmla="*/ 271176 h 809625"/>
              <a:gd name="connsiteX14" fmla="*/ 589311 w 809625"/>
              <a:gd name="connsiteY14" fmla="*/ 313277 h 809625"/>
              <a:gd name="connsiteX15" fmla="*/ 590645 w 809625"/>
              <a:gd name="connsiteY15" fmla="*/ 404907 h 809625"/>
              <a:gd name="connsiteX16" fmla="*/ 589311 w 809625"/>
              <a:gd name="connsiteY16" fmla="*/ 496538 h 809625"/>
              <a:gd name="connsiteX17" fmla="*/ 581501 w 809625"/>
              <a:gd name="connsiteY17" fmla="*/ 538638 h 809625"/>
              <a:gd name="connsiteX18" fmla="*/ 538543 w 809625"/>
              <a:gd name="connsiteY18" fmla="*/ 581596 h 809625"/>
              <a:gd name="connsiteX19" fmla="*/ 496443 w 809625"/>
              <a:gd name="connsiteY19" fmla="*/ 589406 h 809625"/>
              <a:gd name="connsiteX20" fmla="*/ 404812 w 809625"/>
              <a:gd name="connsiteY20" fmla="*/ 590740 h 809625"/>
              <a:gd name="connsiteX21" fmla="*/ 313182 w 809625"/>
              <a:gd name="connsiteY21" fmla="*/ 589407 h 809625"/>
              <a:gd name="connsiteX22" fmla="*/ 271081 w 809625"/>
              <a:gd name="connsiteY22" fmla="*/ 581596 h 809625"/>
              <a:gd name="connsiteX23" fmla="*/ 228600 w 809625"/>
              <a:gd name="connsiteY23" fmla="*/ 538543 h 809625"/>
              <a:gd name="connsiteX24" fmla="*/ 220789 w 809625"/>
              <a:gd name="connsiteY24" fmla="*/ 496443 h 809625"/>
              <a:gd name="connsiteX25" fmla="*/ 219075 w 809625"/>
              <a:gd name="connsiteY25" fmla="*/ 404812 h 809625"/>
              <a:gd name="connsiteX26" fmla="*/ 220408 w 809625"/>
              <a:gd name="connsiteY26" fmla="*/ 313182 h 809625"/>
              <a:gd name="connsiteX27" fmla="*/ 228600 w 809625"/>
              <a:gd name="connsiteY27" fmla="*/ 271081 h 809625"/>
              <a:gd name="connsiteX28" fmla="*/ 271081 w 809625"/>
              <a:gd name="connsiteY28" fmla="*/ 228600 h 809625"/>
              <a:gd name="connsiteX29" fmla="*/ 313181 w 809625"/>
              <a:gd name="connsiteY29" fmla="*/ 220789 h 809625"/>
              <a:gd name="connsiteX30" fmla="*/ 404812 w 809625"/>
              <a:gd name="connsiteY30" fmla="*/ 219075 h 809625"/>
              <a:gd name="connsiteX31" fmla="*/ 405669 w 809625"/>
              <a:gd name="connsiteY31" fmla="*/ 177736 h 809625"/>
              <a:gd name="connsiteX32" fmla="*/ 404812 w 809625"/>
              <a:gd name="connsiteY32" fmla="*/ 178212 h 809625"/>
              <a:gd name="connsiteX33" fmla="*/ 311372 w 809625"/>
              <a:gd name="connsiteY33" fmla="*/ 179546 h 809625"/>
              <a:gd name="connsiteX34" fmla="*/ 256317 w 809625"/>
              <a:gd name="connsiteY34" fmla="*/ 190500 h 809625"/>
              <a:gd name="connsiteX35" fmla="*/ 189642 w 809625"/>
              <a:gd name="connsiteY35" fmla="*/ 257175 h 809625"/>
              <a:gd name="connsiteX36" fmla="*/ 179069 w 809625"/>
              <a:gd name="connsiteY36" fmla="*/ 312229 h 809625"/>
              <a:gd name="connsiteX37" fmla="*/ 177736 w 809625"/>
              <a:gd name="connsiteY37" fmla="*/ 405669 h 809625"/>
              <a:gd name="connsiteX38" fmla="*/ 179069 w 809625"/>
              <a:gd name="connsiteY38" fmla="*/ 499110 h 809625"/>
              <a:gd name="connsiteX39" fmla="*/ 190500 w 809625"/>
              <a:gd name="connsiteY39" fmla="*/ 553307 h 809625"/>
              <a:gd name="connsiteX40" fmla="*/ 257175 w 809625"/>
              <a:gd name="connsiteY40" fmla="*/ 619982 h 809625"/>
              <a:gd name="connsiteX41" fmla="*/ 312229 w 809625"/>
              <a:gd name="connsiteY41" fmla="*/ 630554 h 809625"/>
              <a:gd name="connsiteX42" fmla="*/ 405669 w 809625"/>
              <a:gd name="connsiteY42" fmla="*/ 631888 h 809625"/>
              <a:gd name="connsiteX43" fmla="*/ 499110 w 809625"/>
              <a:gd name="connsiteY43" fmla="*/ 630554 h 809625"/>
              <a:gd name="connsiteX44" fmla="*/ 554164 w 809625"/>
              <a:gd name="connsiteY44" fmla="*/ 619982 h 809625"/>
              <a:gd name="connsiteX45" fmla="*/ 620839 w 809625"/>
              <a:gd name="connsiteY45" fmla="*/ 553307 h 809625"/>
              <a:gd name="connsiteX46" fmla="*/ 631412 w 809625"/>
              <a:gd name="connsiteY46" fmla="*/ 498252 h 809625"/>
              <a:gd name="connsiteX47" fmla="*/ 632745 w 809625"/>
              <a:gd name="connsiteY47" fmla="*/ 404812 h 809625"/>
              <a:gd name="connsiteX48" fmla="*/ 631412 w 809625"/>
              <a:gd name="connsiteY48" fmla="*/ 311372 h 809625"/>
              <a:gd name="connsiteX49" fmla="*/ 620839 w 809625"/>
              <a:gd name="connsiteY49" fmla="*/ 256317 h 809625"/>
              <a:gd name="connsiteX50" fmla="*/ 554164 w 809625"/>
              <a:gd name="connsiteY50" fmla="*/ 189642 h 809625"/>
              <a:gd name="connsiteX51" fmla="*/ 499110 w 809625"/>
              <a:gd name="connsiteY51" fmla="*/ 179069 h 809625"/>
              <a:gd name="connsiteX52" fmla="*/ 405669 w 809625"/>
              <a:gd name="connsiteY52" fmla="*/ 177736 h 809625"/>
              <a:gd name="connsiteX53" fmla="*/ 404813 w 809625"/>
              <a:gd name="connsiteY53" fmla="*/ 0 h 809625"/>
              <a:gd name="connsiteX54" fmla="*/ 809625 w 809625"/>
              <a:gd name="connsiteY54" fmla="*/ 404813 h 809625"/>
              <a:gd name="connsiteX55" fmla="*/ 404813 w 809625"/>
              <a:gd name="connsiteY55" fmla="*/ 809625 h 809625"/>
              <a:gd name="connsiteX56" fmla="*/ 0 w 809625"/>
              <a:gd name="connsiteY56" fmla="*/ 404813 h 809625"/>
              <a:gd name="connsiteX57" fmla="*/ 404813 w 809625"/>
              <a:gd name="connsiteY57" fmla="*/ 0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809625" h="809625">
                <a:moveTo>
                  <a:pt x="404812" y="288417"/>
                </a:moveTo>
                <a:cubicBezTo>
                  <a:pt x="340529" y="288417"/>
                  <a:pt x="288417" y="340529"/>
                  <a:pt x="288417" y="404812"/>
                </a:cubicBezTo>
                <a:cubicBezTo>
                  <a:pt x="288417" y="469096"/>
                  <a:pt x="340529" y="521208"/>
                  <a:pt x="404812" y="521208"/>
                </a:cubicBezTo>
                <a:cubicBezTo>
                  <a:pt x="469096" y="521208"/>
                  <a:pt x="521208" y="469096"/>
                  <a:pt x="521208" y="404812"/>
                </a:cubicBezTo>
                <a:cubicBezTo>
                  <a:pt x="521208" y="340529"/>
                  <a:pt x="469096" y="288417"/>
                  <a:pt x="404812" y="288417"/>
                </a:cubicBezTo>
                <a:close/>
                <a:moveTo>
                  <a:pt x="525780" y="256603"/>
                </a:moveTo>
                <a:cubicBezTo>
                  <a:pt x="510734" y="256603"/>
                  <a:pt x="498538" y="268799"/>
                  <a:pt x="498538" y="283844"/>
                </a:cubicBezTo>
                <a:cubicBezTo>
                  <a:pt x="498538" y="298890"/>
                  <a:pt x="510734" y="311086"/>
                  <a:pt x="525780" y="311086"/>
                </a:cubicBezTo>
                <a:cubicBezTo>
                  <a:pt x="540825" y="311086"/>
                  <a:pt x="553021" y="298890"/>
                  <a:pt x="553021" y="283844"/>
                </a:cubicBezTo>
                <a:cubicBezTo>
                  <a:pt x="553021" y="268799"/>
                  <a:pt x="540825" y="256603"/>
                  <a:pt x="525780" y="256603"/>
                </a:cubicBezTo>
                <a:close/>
                <a:moveTo>
                  <a:pt x="404812" y="219075"/>
                </a:moveTo>
                <a:cubicBezTo>
                  <a:pt x="465296" y="219075"/>
                  <a:pt x="472535" y="219075"/>
                  <a:pt x="496443" y="220408"/>
                </a:cubicBezTo>
                <a:cubicBezTo>
                  <a:pt x="510824" y="220533"/>
                  <a:pt x="525073" y="223177"/>
                  <a:pt x="538543" y="228218"/>
                </a:cubicBezTo>
                <a:cubicBezTo>
                  <a:pt x="558257" y="235874"/>
                  <a:pt x="573845" y="251463"/>
                  <a:pt x="581501" y="271176"/>
                </a:cubicBezTo>
                <a:cubicBezTo>
                  <a:pt x="586542" y="284646"/>
                  <a:pt x="589186" y="298895"/>
                  <a:pt x="589311" y="313277"/>
                </a:cubicBezTo>
                <a:cubicBezTo>
                  <a:pt x="590454" y="337185"/>
                  <a:pt x="590645" y="344424"/>
                  <a:pt x="590645" y="404907"/>
                </a:cubicBezTo>
                <a:cubicBezTo>
                  <a:pt x="590645" y="465391"/>
                  <a:pt x="590645" y="472630"/>
                  <a:pt x="589311" y="496538"/>
                </a:cubicBezTo>
                <a:cubicBezTo>
                  <a:pt x="589186" y="510920"/>
                  <a:pt x="586543" y="525168"/>
                  <a:pt x="581501" y="538638"/>
                </a:cubicBezTo>
                <a:cubicBezTo>
                  <a:pt x="573845" y="558352"/>
                  <a:pt x="558257" y="573940"/>
                  <a:pt x="538543" y="581596"/>
                </a:cubicBezTo>
                <a:cubicBezTo>
                  <a:pt x="525073" y="586638"/>
                  <a:pt x="510824" y="589281"/>
                  <a:pt x="496443" y="589406"/>
                </a:cubicBezTo>
                <a:cubicBezTo>
                  <a:pt x="472535" y="590550"/>
                  <a:pt x="465391" y="590740"/>
                  <a:pt x="404812" y="590740"/>
                </a:cubicBezTo>
                <a:cubicBezTo>
                  <a:pt x="344233" y="590740"/>
                  <a:pt x="337089" y="590740"/>
                  <a:pt x="313182" y="589407"/>
                </a:cubicBezTo>
                <a:cubicBezTo>
                  <a:pt x="298800" y="589281"/>
                  <a:pt x="284551" y="586638"/>
                  <a:pt x="271081" y="581596"/>
                </a:cubicBezTo>
                <a:cubicBezTo>
                  <a:pt x="251529" y="573808"/>
                  <a:pt x="236125" y="558197"/>
                  <a:pt x="228600" y="538543"/>
                </a:cubicBezTo>
                <a:cubicBezTo>
                  <a:pt x="223558" y="525073"/>
                  <a:pt x="220914" y="510824"/>
                  <a:pt x="220789" y="496443"/>
                </a:cubicBezTo>
                <a:cubicBezTo>
                  <a:pt x="219075" y="472535"/>
                  <a:pt x="219075" y="465296"/>
                  <a:pt x="219075" y="404812"/>
                </a:cubicBezTo>
                <a:cubicBezTo>
                  <a:pt x="219075" y="344328"/>
                  <a:pt x="219075" y="337089"/>
                  <a:pt x="220408" y="313182"/>
                </a:cubicBezTo>
                <a:cubicBezTo>
                  <a:pt x="220655" y="298777"/>
                  <a:pt x="223428" y="284527"/>
                  <a:pt x="228600" y="271081"/>
                </a:cubicBezTo>
                <a:cubicBezTo>
                  <a:pt x="236258" y="251643"/>
                  <a:pt x="251643" y="236258"/>
                  <a:pt x="271081" y="228600"/>
                </a:cubicBezTo>
                <a:cubicBezTo>
                  <a:pt x="284551" y="223558"/>
                  <a:pt x="298800" y="220914"/>
                  <a:pt x="313181" y="220789"/>
                </a:cubicBezTo>
                <a:cubicBezTo>
                  <a:pt x="337089" y="219075"/>
                  <a:pt x="344328" y="219075"/>
                  <a:pt x="404812" y="219075"/>
                </a:cubicBezTo>
                <a:close/>
                <a:moveTo>
                  <a:pt x="405669" y="177736"/>
                </a:moveTo>
                <a:lnTo>
                  <a:pt x="404812" y="178212"/>
                </a:lnTo>
                <a:cubicBezTo>
                  <a:pt x="343281" y="178212"/>
                  <a:pt x="335565" y="178212"/>
                  <a:pt x="311372" y="179546"/>
                </a:cubicBezTo>
                <a:cubicBezTo>
                  <a:pt x="292533" y="180057"/>
                  <a:pt x="273917" y="183760"/>
                  <a:pt x="256317" y="190500"/>
                </a:cubicBezTo>
                <a:cubicBezTo>
                  <a:pt x="225602" y="202200"/>
                  <a:pt x="201343" y="226459"/>
                  <a:pt x="189642" y="257175"/>
                </a:cubicBezTo>
                <a:cubicBezTo>
                  <a:pt x="183033" y="274797"/>
                  <a:pt x="179458" y="293412"/>
                  <a:pt x="179069" y="312229"/>
                </a:cubicBezTo>
                <a:cubicBezTo>
                  <a:pt x="178022" y="336423"/>
                  <a:pt x="177736" y="344138"/>
                  <a:pt x="177736" y="405669"/>
                </a:cubicBezTo>
                <a:cubicBezTo>
                  <a:pt x="177736" y="467201"/>
                  <a:pt x="177736" y="474916"/>
                  <a:pt x="179069" y="499110"/>
                </a:cubicBezTo>
                <a:cubicBezTo>
                  <a:pt x="179828" y="517687"/>
                  <a:pt x="183692" y="536005"/>
                  <a:pt x="190500" y="553307"/>
                </a:cubicBezTo>
                <a:cubicBezTo>
                  <a:pt x="202200" y="584022"/>
                  <a:pt x="226459" y="608281"/>
                  <a:pt x="257175" y="619982"/>
                </a:cubicBezTo>
                <a:cubicBezTo>
                  <a:pt x="274797" y="626591"/>
                  <a:pt x="293412" y="630165"/>
                  <a:pt x="312229" y="630554"/>
                </a:cubicBezTo>
                <a:cubicBezTo>
                  <a:pt x="336423" y="631602"/>
                  <a:pt x="344138" y="631888"/>
                  <a:pt x="405669" y="631888"/>
                </a:cubicBezTo>
                <a:cubicBezTo>
                  <a:pt x="467201" y="631888"/>
                  <a:pt x="474916" y="631888"/>
                  <a:pt x="499110" y="630554"/>
                </a:cubicBezTo>
                <a:cubicBezTo>
                  <a:pt x="517927" y="630165"/>
                  <a:pt x="536542" y="626591"/>
                  <a:pt x="554164" y="619982"/>
                </a:cubicBezTo>
                <a:cubicBezTo>
                  <a:pt x="584880" y="608281"/>
                  <a:pt x="609138" y="584022"/>
                  <a:pt x="620839" y="553307"/>
                </a:cubicBezTo>
                <a:cubicBezTo>
                  <a:pt x="627448" y="535684"/>
                  <a:pt x="631023" y="517069"/>
                  <a:pt x="631412" y="498252"/>
                </a:cubicBezTo>
                <a:cubicBezTo>
                  <a:pt x="632460" y="474059"/>
                  <a:pt x="632745" y="466344"/>
                  <a:pt x="632745" y="404812"/>
                </a:cubicBezTo>
                <a:cubicBezTo>
                  <a:pt x="632745" y="343281"/>
                  <a:pt x="632745" y="335565"/>
                  <a:pt x="631412" y="311372"/>
                </a:cubicBezTo>
                <a:cubicBezTo>
                  <a:pt x="631023" y="292555"/>
                  <a:pt x="627448" y="273940"/>
                  <a:pt x="620839" y="256317"/>
                </a:cubicBezTo>
                <a:cubicBezTo>
                  <a:pt x="609138" y="225602"/>
                  <a:pt x="584880" y="201343"/>
                  <a:pt x="554164" y="189642"/>
                </a:cubicBezTo>
                <a:cubicBezTo>
                  <a:pt x="536542" y="183033"/>
                  <a:pt x="517927" y="179458"/>
                  <a:pt x="499110" y="179069"/>
                </a:cubicBezTo>
                <a:cubicBezTo>
                  <a:pt x="474916" y="178022"/>
                  <a:pt x="467201" y="177736"/>
                  <a:pt x="405669" y="177736"/>
                </a:cubicBezTo>
                <a:close/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2" name="Freeform: Shape 11">
            <a:hlinkClick r:id="rId8"/>
            <a:extLst>
              <a:ext uri="{FF2B5EF4-FFF2-40B4-BE49-F238E27FC236}">
                <a16:creationId xmlns:a16="http://schemas.microsoft.com/office/drawing/2014/main" id="{37645F6A-EDD9-42D2-A01C-F8414798D57C}"/>
              </a:ext>
            </a:extLst>
          </p:cNvPr>
          <p:cNvSpPr>
            <a:spLocks noChangeAspect="1"/>
          </p:cNvSpPr>
          <p:nvPr/>
        </p:nvSpPr>
        <p:spPr>
          <a:xfrm>
            <a:off x="9446029" y="4591756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207835 w 809625"/>
              <a:gd name="connsiteY5" fmla="*/ 183451 h 809625"/>
              <a:gd name="connsiteX6" fmla="*/ 183451 w 809625"/>
              <a:gd name="connsiteY6" fmla="*/ 207835 h 809625"/>
              <a:gd name="connsiteX7" fmla="*/ 183451 w 809625"/>
              <a:gd name="connsiteY7" fmla="*/ 601789 h 809625"/>
              <a:gd name="connsiteX8" fmla="*/ 207835 w 809625"/>
              <a:gd name="connsiteY8" fmla="*/ 626173 h 809625"/>
              <a:gd name="connsiteX9" fmla="*/ 419957 w 809625"/>
              <a:gd name="connsiteY9" fmla="*/ 626173 h 809625"/>
              <a:gd name="connsiteX10" fmla="*/ 419957 w 809625"/>
              <a:gd name="connsiteY10" fmla="*/ 454723 h 809625"/>
              <a:gd name="connsiteX11" fmla="*/ 361950 w 809625"/>
              <a:gd name="connsiteY11" fmla="*/ 454723 h 809625"/>
              <a:gd name="connsiteX12" fmla="*/ 361950 w 809625"/>
              <a:gd name="connsiteY12" fmla="*/ 388048 h 809625"/>
              <a:gd name="connsiteX13" fmla="*/ 419671 w 809625"/>
              <a:gd name="connsiteY13" fmla="*/ 388048 h 809625"/>
              <a:gd name="connsiteX14" fmla="*/ 419671 w 809625"/>
              <a:gd name="connsiteY14" fmla="*/ 338613 h 809625"/>
              <a:gd name="connsiteX15" fmla="*/ 505396 w 809625"/>
              <a:gd name="connsiteY15" fmla="*/ 250317 h 809625"/>
              <a:gd name="connsiteX16" fmla="*/ 556926 w 809625"/>
              <a:gd name="connsiteY16" fmla="*/ 252984 h 809625"/>
              <a:gd name="connsiteX17" fmla="*/ 556926 w 809625"/>
              <a:gd name="connsiteY17" fmla="*/ 312705 h 809625"/>
              <a:gd name="connsiteX18" fmla="*/ 522065 w 809625"/>
              <a:gd name="connsiteY18" fmla="*/ 312705 h 809625"/>
              <a:gd name="connsiteX19" fmla="*/ 488918 w 809625"/>
              <a:gd name="connsiteY19" fmla="*/ 345281 h 809625"/>
              <a:gd name="connsiteX20" fmla="*/ 488918 w 809625"/>
              <a:gd name="connsiteY20" fmla="*/ 387953 h 809625"/>
              <a:gd name="connsiteX21" fmla="*/ 555593 w 809625"/>
              <a:gd name="connsiteY21" fmla="*/ 387953 h 809625"/>
              <a:gd name="connsiteX22" fmla="*/ 546925 w 809625"/>
              <a:gd name="connsiteY22" fmla="*/ 454628 h 809625"/>
              <a:gd name="connsiteX23" fmla="*/ 489775 w 809625"/>
              <a:gd name="connsiteY23" fmla="*/ 454628 h 809625"/>
              <a:gd name="connsiteX24" fmla="*/ 489775 w 809625"/>
              <a:gd name="connsiteY24" fmla="*/ 626078 h 809625"/>
              <a:gd name="connsiteX25" fmla="*/ 601789 w 809625"/>
              <a:gd name="connsiteY25" fmla="*/ 626078 h 809625"/>
              <a:gd name="connsiteX26" fmla="*/ 626173 w 809625"/>
              <a:gd name="connsiteY26" fmla="*/ 601694 h 809625"/>
              <a:gd name="connsiteX27" fmla="*/ 626173 w 809625"/>
              <a:gd name="connsiteY27" fmla="*/ 207835 h 809625"/>
              <a:gd name="connsiteX28" fmla="*/ 601789 w 809625"/>
              <a:gd name="connsiteY28" fmla="*/ 183451 h 809625"/>
              <a:gd name="connsiteX29" fmla="*/ 207835 w 809625"/>
              <a:gd name="connsiteY29" fmla="*/ 183451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207835" y="183451"/>
                </a:moveTo>
                <a:cubicBezTo>
                  <a:pt x="194368" y="183451"/>
                  <a:pt x="183451" y="194368"/>
                  <a:pt x="183451" y="207835"/>
                </a:cubicBezTo>
                <a:lnTo>
                  <a:pt x="183451" y="601789"/>
                </a:lnTo>
                <a:cubicBezTo>
                  <a:pt x="183451" y="615256"/>
                  <a:pt x="194368" y="626173"/>
                  <a:pt x="207835" y="626173"/>
                </a:cubicBezTo>
                <a:lnTo>
                  <a:pt x="419957" y="626173"/>
                </a:lnTo>
                <a:lnTo>
                  <a:pt x="419957" y="454723"/>
                </a:lnTo>
                <a:lnTo>
                  <a:pt x="361950" y="454723"/>
                </a:lnTo>
                <a:lnTo>
                  <a:pt x="361950" y="388048"/>
                </a:lnTo>
                <a:lnTo>
                  <a:pt x="419671" y="388048"/>
                </a:lnTo>
                <a:lnTo>
                  <a:pt x="419671" y="338613"/>
                </a:lnTo>
                <a:cubicBezTo>
                  <a:pt x="419671" y="281463"/>
                  <a:pt x="454533" y="250317"/>
                  <a:pt x="505396" y="250317"/>
                </a:cubicBezTo>
                <a:cubicBezTo>
                  <a:pt x="522609" y="250238"/>
                  <a:pt x="539813" y="251128"/>
                  <a:pt x="556926" y="252984"/>
                </a:cubicBezTo>
                <a:lnTo>
                  <a:pt x="556926" y="312705"/>
                </a:lnTo>
                <a:lnTo>
                  <a:pt x="522065" y="312705"/>
                </a:lnTo>
                <a:cubicBezTo>
                  <a:pt x="494252" y="312705"/>
                  <a:pt x="488918" y="325945"/>
                  <a:pt x="488918" y="345281"/>
                </a:cubicBezTo>
                <a:lnTo>
                  <a:pt x="488918" y="387953"/>
                </a:lnTo>
                <a:lnTo>
                  <a:pt x="555593" y="387953"/>
                </a:lnTo>
                <a:lnTo>
                  <a:pt x="546925" y="454628"/>
                </a:lnTo>
                <a:lnTo>
                  <a:pt x="489775" y="454628"/>
                </a:lnTo>
                <a:lnTo>
                  <a:pt x="489775" y="626078"/>
                </a:lnTo>
                <a:lnTo>
                  <a:pt x="601789" y="626078"/>
                </a:lnTo>
                <a:cubicBezTo>
                  <a:pt x="615256" y="626078"/>
                  <a:pt x="626173" y="615161"/>
                  <a:pt x="626173" y="601694"/>
                </a:cubicBezTo>
                <a:lnTo>
                  <a:pt x="626173" y="207835"/>
                </a:lnTo>
                <a:cubicBezTo>
                  <a:pt x="626173" y="194368"/>
                  <a:pt x="615256" y="183451"/>
                  <a:pt x="601789" y="183451"/>
                </a:cubicBezTo>
                <a:lnTo>
                  <a:pt x="207835" y="183451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431142651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E9670259-4695-428B-A004-7FC80D7094B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1062000" tIns="3348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FCAC8505-DEDF-4C01-A608-94D176EC4352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7540580" y="1"/>
            <a:ext cx="4651420" cy="1673605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1740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BCEEC50-8D3D-4D30-A7E4-EB437433847B}"/>
              </a:ext>
            </a:extLst>
          </p:cNvPr>
          <p:cNvSpPr>
            <a:spLocks noGrp="1" noChangeAspect="1"/>
          </p:cNvSpPr>
          <p:nvPr>
            <p:ph type="body" sz="quarter" idx="16"/>
          </p:nvPr>
        </p:nvSpPr>
        <p:spPr>
          <a:xfrm>
            <a:off x="10849038" y="333375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5383366-B84A-4AF0-9ECA-0C40F072B9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89462278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D50AE23D-06D1-4F9E-B490-E50D424CE9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DFCCD94-C178-488E-A0A8-B9933C21C8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B6B25C7-EDE8-4C6A-A016-B0BC2F236A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3CEBA6-B1B6-4DE4-9914-AA9310C6B7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343485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E396722-86FB-4B61-980E-29BB1A84BF5F}"/>
              </a:ext>
            </a:extLst>
          </p:cNvPr>
          <p:cNvSpPr/>
          <p:nvPr userDrawn="1"/>
        </p:nvSpPr>
        <p:spPr>
          <a:xfrm>
            <a:off x="0" y="-1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D50AE23D-06D1-4F9E-B490-E50D424CE9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892E96-6CF9-4BCC-9A9B-CB94EC6D1A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97B376B-D4F9-4143-A8AE-817EB0EA6B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84A53671-41EC-45C8-A0C1-D1426C22F9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7422D2E5-CBB2-45B1-87F3-FD659C4275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849886" y="333375"/>
            <a:ext cx="1006304" cy="448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97117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87CEE9C-A8AE-431B-A0E0-C79E2E22CC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0C04917-818A-4A3D-87A1-5D1A3CEF6E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14D6DCE-44D6-472C-8A31-1D8DC27A62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3492226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E396722-86FB-4B61-980E-29BB1A84BF5F}"/>
              </a:ext>
            </a:extLst>
          </p:cNvPr>
          <p:cNvSpPr/>
          <p:nvPr userDrawn="1"/>
        </p:nvSpPr>
        <p:spPr>
          <a:xfrm>
            <a:off x="0" y="-1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D50AE23D-06D1-4F9E-B490-E50D424CE9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892E96-6CF9-4BCC-9A9B-CB94EC6D1A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97B376B-D4F9-4143-A8AE-817EB0EA6B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84A53671-41EC-45C8-A0C1-D1426C22F9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7422D2E5-CBB2-45B1-87F3-FD659C4275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849886" y="333375"/>
            <a:ext cx="1006304" cy="448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97117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E396722-86FB-4B61-980E-29BB1A84BF5F}"/>
              </a:ext>
            </a:extLst>
          </p:cNvPr>
          <p:cNvSpPr/>
          <p:nvPr userDrawn="1"/>
        </p:nvSpPr>
        <p:spPr>
          <a:xfrm>
            <a:off x="0" y="-1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892E96-6CF9-4BCC-9A9B-CB94EC6D1A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97B376B-D4F9-4143-A8AE-817EB0EA6B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84A53671-41EC-45C8-A0C1-D1426C22F9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8D9C795-633F-49DF-98A1-53A142CB8A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849886" y="333375"/>
            <a:ext cx="1006304" cy="448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2364360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728D5B-47A6-410E-AB5B-4D9E40D315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F858A31-1AFB-4CB9-B942-4C98216D0F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1352E8-908A-4D60-8922-B2A377918D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135BC-5F65-4D85-AC03-43D93BDCA6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Insert &gt; Header &amp;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9642C2-3AEC-4A4B-BE5A-BC13ADBAD3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3016D7-994B-4021-914D-F20CE138B798}" type="slidenum">
              <a:rPr lang="da-DK" smtClean="0"/>
              <a:t>‹N°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79980348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D7C96F-8BBD-4547-8FAF-E1C11A669B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7B75C8-EE4E-425E-9F6A-986C51DA63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2E46077-2300-4EEF-880C-1E67A4AAA2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sert &gt; Header &amp;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6C5049E-A3A4-44E2-BDFD-16B26032B9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65852-B72C-CB4D-980E-E202D86A797A}" type="slidenum">
              <a:rPr lang="en-US" smtClean="0"/>
              <a:t>‹N°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4817A8-662E-4571-BECF-2629B655AB2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579509" y="2059401"/>
            <a:ext cx="1219200" cy="1219200"/>
          </a:xfrm>
        </p:spPr>
        <p:txBody>
          <a:bodyPr/>
          <a:lstStyle/>
          <a:p>
            <a:endParaRPr lang="en-DE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4A5E44D9-2850-4791-86D1-74FE2C420C9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962225" y="2059401"/>
            <a:ext cx="1219200" cy="1219200"/>
          </a:xfrm>
        </p:spPr>
        <p:txBody>
          <a:bodyPr/>
          <a:lstStyle/>
          <a:p>
            <a:endParaRPr lang="en-DE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4194582A-CAB2-4ECC-B953-7E536061CE9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44941" y="2059401"/>
            <a:ext cx="1219200" cy="1219200"/>
          </a:xfrm>
        </p:spPr>
        <p:txBody>
          <a:bodyPr/>
          <a:lstStyle/>
          <a:p>
            <a:endParaRPr lang="en-DE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4BB922D-ABC8-4FE4-99CF-B262A9FA74B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727657" y="2068329"/>
            <a:ext cx="1219200" cy="1219200"/>
          </a:xfrm>
        </p:spPr>
        <p:txBody>
          <a:bodyPr/>
          <a:lstStyle/>
          <a:p>
            <a:endParaRPr lang="en-DE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2FE607B0-8F5C-46A5-8737-90721485513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110373" y="2068329"/>
            <a:ext cx="1219200" cy="1219200"/>
          </a:xfrm>
        </p:spPr>
        <p:txBody>
          <a:bodyPr/>
          <a:lstStyle/>
          <a:p>
            <a:endParaRPr lang="en-DE"/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DCD6E9E9-F75A-4E36-BA22-59D19FEE873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0493088" y="2068329"/>
            <a:ext cx="1219200" cy="1219200"/>
          </a:xfrm>
        </p:spPr>
        <p:txBody>
          <a:bodyPr/>
          <a:lstStyle/>
          <a:p>
            <a:endParaRPr lang="en-DE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099A279A-683F-44D1-A969-5EC3998D745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581400" y="3437928"/>
            <a:ext cx="1219200" cy="1219200"/>
          </a:xfrm>
        </p:spPr>
        <p:txBody>
          <a:bodyPr/>
          <a:lstStyle/>
          <a:p>
            <a:endParaRPr lang="en-DE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F7DBFB04-6908-4801-87E9-E00C511A0E8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964116" y="3437928"/>
            <a:ext cx="1219200" cy="1219200"/>
          </a:xfrm>
        </p:spPr>
        <p:txBody>
          <a:bodyPr/>
          <a:lstStyle/>
          <a:p>
            <a:endParaRPr lang="en-DE"/>
          </a:p>
        </p:txBody>
      </p:sp>
      <p:sp>
        <p:nvSpPr>
          <p:cNvPr id="16" name="Picture Placeholder 6">
            <a:extLst>
              <a:ext uri="{FF2B5EF4-FFF2-40B4-BE49-F238E27FC236}">
                <a16:creationId xmlns:a16="http://schemas.microsoft.com/office/drawing/2014/main" id="{04DB461C-9522-4CCA-ACE9-BC284EA749F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346832" y="3437928"/>
            <a:ext cx="1219200" cy="1219200"/>
          </a:xfrm>
        </p:spPr>
        <p:txBody>
          <a:bodyPr/>
          <a:lstStyle/>
          <a:p>
            <a:endParaRPr lang="en-DE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CC2DD7F4-66CA-41FE-9B5B-F5CC82F9FDA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729548" y="3446856"/>
            <a:ext cx="1219200" cy="1219200"/>
          </a:xfrm>
        </p:spPr>
        <p:txBody>
          <a:bodyPr/>
          <a:lstStyle/>
          <a:p>
            <a:endParaRPr lang="en-DE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733E48A3-AB63-4F10-88F9-5CC1D690B2A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112264" y="3446856"/>
            <a:ext cx="1219200" cy="1219200"/>
          </a:xfrm>
        </p:spPr>
        <p:txBody>
          <a:bodyPr/>
          <a:lstStyle/>
          <a:p>
            <a:endParaRPr lang="en-DE"/>
          </a:p>
        </p:txBody>
      </p:sp>
      <p:sp>
        <p:nvSpPr>
          <p:cNvPr id="19" name="Picture Placeholder 6">
            <a:extLst>
              <a:ext uri="{FF2B5EF4-FFF2-40B4-BE49-F238E27FC236}">
                <a16:creationId xmlns:a16="http://schemas.microsoft.com/office/drawing/2014/main" id="{6DD9E260-7018-49D8-859E-76FBA83453C4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0494979" y="3446856"/>
            <a:ext cx="1219200" cy="1219200"/>
          </a:xfrm>
        </p:spPr>
        <p:txBody>
          <a:bodyPr/>
          <a:lstStyle/>
          <a:p>
            <a:endParaRPr lang="en-DE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E642B786-BE1B-41FD-B350-B238AFA0FBBE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3579509" y="4827384"/>
            <a:ext cx="1219200" cy="1219200"/>
          </a:xfrm>
        </p:spPr>
        <p:txBody>
          <a:bodyPr/>
          <a:lstStyle/>
          <a:p>
            <a:endParaRPr lang="en-DE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2AC9EAE4-2808-4391-BFAB-DC20474E138A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962225" y="4827384"/>
            <a:ext cx="1219200" cy="1219200"/>
          </a:xfrm>
        </p:spPr>
        <p:txBody>
          <a:bodyPr/>
          <a:lstStyle/>
          <a:p>
            <a:endParaRPr lang="en-DE"/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C1957BD2-4542-4031-BC46-A0B5C112ECFD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344941" y="4827384"/>
            <a:ext cx="1219200" cy="1219200"/>
          </a:xfrm>
        </p:spPr>
        <p:txBody>
          <a:bodyPr/>
          <a:lstStyle/>
          <a:p>
            <a:endParaRPr lang="en-DE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6747F99D-FA38-4C65-A61B-D45599FBFBC7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7727657" y="4836312"/>
            <a:ext cx="1219200" cy="1219200"/>
          </a:xfrm>
        </p:spPr>
        <p:txBody>
          <a:bodyPr/>
          <a:lstStyle/>
          <a:p>
            <a:endParaRPr lang="en-DE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C4184E92-6CC8-4775-B1F5-3948AF1D3091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9110373" y="4836312"/>
            <a:ext cx="1219200" cy="1219200"/>
          </a:xfrm>
        </p:spPr>
        <p:txBody>
          <a:bodyPr/>
          <a:lstStyle/>
          <a:p>
            <a:endParaRPr lang="en-DE"/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770B1572-B1F9-4AEE-BA16-0E8D7AD79A02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10493088" y="4836312"/>
            <a:ext cx="1219200" cy="1219200"/>
          </a:xfrm>
        </p:spPr>
        <p:txBody>
          <a:bodyPr/>
          <a:lstStyle/>
          <a:p>
            <a:endParaRPr lang="en-DE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BA96DCBE-0295-44B3-BD6B-7595E4EF409A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376845" y="2059400"/>
            <a:ext cx="3039148" cy="4092019"/>
          </a:xfrm>
        </p:spPr>
        <p:txBody>
          <a:bodyPr/>
          <a:lstStyle/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751978343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DF839851-A68A-C848-851A-E634C05697E1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chemeClr val="bg2">
              <a:lumMod val="40000"/>
              <a:lumOff val="60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2667"/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1372" y="1412776"/>
            <a:ext cx="5376597" cy="1143000"/>
          </a:xfrm>
        </p:spPr>
        <p:txBody>
          <a:bodyPr anchor="b" anchorCtr="0"/>
          <a:lstStyle>
            <a:lvl1pPr>
              <a:lnSpc>
                <a:spcPts val="2667"/>
              </a:lnSpc>
              <a:defRPr sz="2667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372" y="2948947"/>
            <a:ext cx="5376597" cy="3177216"/>
          </a:xfrm>
        </p:spPr>
        <p:txBody>
          <a:bodyPr/>
          <a:lstStyle>
            <a:lvl1pPr marL="16933" indent="0">
              <a:lnSpc>
                <a:spcPts val="1833"/>
              </a:lnSpc>
              <a:buNone/>
              <a:tabLst/>
              <a:defRPr sz="1600">
                <a:solidFill>
                  <a:schemeClr val="tx2"/>
                </a:solidFill>
              </a:defRPr>
            </a:lvl1pPr>
            <a:lvl2pPr marL="16933" indent="0">
              <a:lnSpc>
                <a:spcPts val="1833"/>
              </a:lnSpc>
              <a:buNone/>
              <a:tabLst/>
              <a:defRPr sz="1600">
                <a:solidFill>
                  <a:schemeClr val="tx2"/>
                </a:solidFill>
              </a:defRPr>
            </a:lvl2pPr>
            <a:lvl3pPr marL="16933" indent="0">
              <a:lnSpc>
                <a:spcPts val="1833"/>
              </a:lnSpc>
              <a:buNone/>
              <a:tabLst/>
              <a:defRPr sz="1600">
                <a:solidFill>
                  <a:schemeClr val="tx2"/>
                </a:solidFill>
              </a:defRPr>
            </a:lvl3pPr>
            <a:lvl4pPr marL="16933" indent="0">
              <a:lnSpc>
                <a:spcPts val="1833"/>
              </a:lnSpc>
              <a:buNone/>
              <a:tabLst/>
              <a:defRPr sz="1600">
                <a:solidFill>
                  <a:schemeClr val="tx2"/>
                </a:solidFill>
              </a:defRPr>
            </a:lvl4pPr>
            <a:lvl5pPr marL="16933" indent="0">
              <a:lnSpc>
                <a:spcPts val="1833"/>
              </a:lnSpc>
              <a:buNone/>
              <a:tabLst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err="1"/>
              <a:t>Seconda</a:t>
            </a:r>
            <a:r>
              <a:rPr lang="en-US"/>
              <a:t>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4934235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DF839851-A68A-C848-851A-E634C05697E1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-11099" y="0"/>
            <a:ext cx="6096000" cy="6858000"/>
          </a:xfrm>
          <a:solidFill>
            <a:schemeClr val="bg2">
              <a:lumMod val="40000"/>
              <a:lumOff val="60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2667"/>
            </a:lvl1pPr>
          </a:lstStyle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2AEB8C0-6D5A-3642-9515-5FB7F4A247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27372" y="2084851"/>
            <a:ext cx="5237429" cy="4320480"/>
          </a:xfrm>
        </p:spPr>
        <p:txBody>
          <a:bodyPr numCol="2"/>
          <a:lstStyle>
            <a:lvl1pPr marL="12700" indent="0">
              <a:lnSpc>
                <a:spcPts val="1533"/>
              </a:lnSpc>
              <a:buNone/>
              <a:tabLst/>
              <a:defRPr sz="1300">
                <a:solidFill>
                  <a:schemeClr val="tx2"/>
                </a:solidFill>
              </a:defRPr>
            </a:lvl1pPr>
            <a:lvl2pPr marL="12700" indent="0">
              <a:lnSpc>
                <a:spcPts val="1533"/>
              </a:lnSpc>
              <a:buNone/>
              <a:tabLst/>
              <a:defRPr sz="1300">
                <a:solidFill>
                  <a:schemeClr val="tx2"/>
                </a:solidFill>
              </a:defRPr>
            </a:lvl2pPr>
            <a:lvl3pPr marL="12700" indent="0">
              <a:lnSpc>
                <a:spcPts val="1533"/>
              </a:lnSpc>
              <a:buNone/>
              <a:tabLst/>
              <a:defRPr sz="1300">
                <a:solidFill>
                  <a:schemeClr val="tx2"/>
                </a:solidFill>
              </a:defRPr>
            </a:lvl3pPr>
            <a:lvl4pPr marL="12700" indent="0">
              <a:lnSpc>
                <a:spcPts val="1533"/>
              </a:lnSpc>
              <a:buNone/>
              <a:tabLst/>
              <a:defRPr sz="1300">
                <a:solidFill>
                  <a:schemeClr val="tx2"/>
                </a:solidFill>
              </a:defRPr>
            </a:lvl4pPr>
            <a:lvl5pPr marL="12700" indent="0">
              <a:lnSpc>
                <a:spcPts val="1533"/>
              </a:lnSpc>
              <a:buNone/>
              <a:tabLst/>
              <a:defRPr sz="13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1381572-364A-324B-85C4-A4292327A8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371" y="504681"/>
            <a:ext cx="4896544" cy="1143000"/>
          </a:xfrm>
        </p:spPr>
        <p:txBody>
          <a:bodyPr anchor="b" anchorCtr="0"/>
          <a:lstStyle>
            <a:lvl1pPr>
              <a:lnSpc>
                <a:spcPts val="2667"/>
              </a:lnSpc>
              <a:defRPr sz="2667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A39C15B-91CD-134F-8F67-49BE70C14BD2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527372" y="740701"/>
            <a:ext cx="5237429" cy="960107"/>
          </a:xfrm>
        </p:spPr>
        <p:txBody>
          <a:bodyPr/>
          <a:lstStyle>
            <a:lvl1pPr marL="16933" indent="0">
              <a:lnSpc>
                <a:spcPts val="1833"/>
              </a:lnSpc>
              <a:buNone/>
              <a:tabLst/>
              <a:defRPr sz="1600">
                <a:solidFill>
                  <a:schemeClr val="tx2"/>
                </a:solidFill>
              </a:defRPr>
            </a:lvl1pPr>
            <a:lvl2pPr marL="16933" indent="0">
              <a:lnSpc>
                <a:spcPts val="1833"/>
              </a:lnSpc>
              <a:buNone/>
              <a:tabLst/>
              <a:defRPr sz="1600">
                <a:solidFill>
                  <a:schemeClr val="tx2"/>
                </a:solidFill>
              </a:defRPr>
            </a:lvl2pPr>
            <a:lvl3pPr marL="16933" indent="0">
              <a:lnSpc>
                <a:spcPts val="1833"/>
              </a:lnSpc>
              <a:buNone/>
              <a:tabLst/>
              <a:defRPr sz="1600">
                <a:solidFill>
                  <a:schemeClr val="tx2"/>
                </a:solidFill>
              </a:defRPr>
            </a:lvl3pPr>
            <a:lvl4pPr marL="16933" indent="0">
              <a:buNone/>
              <a:tabLst/>
              <a:defRPr sz="1600">
                <a:solidFill>
                  <a:schemeClr val="tx2"/>
                </a:solidFill>
              </a:defRPr>
            </a:lvl4pPr>
            <a:lvl5pPr marL="16933" indent="0">
              <a:buNone/>
              <a:tabLst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7548665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pen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E9670259-4695-428B-A004-7FC80D7094B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19400" y="1"/>
            <a:ext cx="107532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342000" tIns="342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C3F7B8-0B35-40FF-8CB7-4337CBF123A9}"/>
              </a:ext>
            </a:extLst>
          </p:cNvPr>
          <p:cNvSpPr/>
          <p:nvPr userDrawn="1"/>
        </p:nvSpPr>
        <p:spPr>
          <a:xfrm>
            <a:off x="0" y="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CCB27E3-026E-4103-AE04-0346F7EF5C2F}"/>
              </a:ext>
            </a:extLst>
          </p:cNvPr>
          <p:cNvSpPr/>
          <p:nvPr userDrawn="1"/>
        </p:nvSpPr>
        <p:spPr>
          <a:xfrm>
            <a:off x="11472000" y="-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BBACB491-67F7-1F7D-CE70-A4976D37EDF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8950" y="2628900"/>
            <a:ext cx="3594100" cy="1600200"/>
          </a:xfrm>
          <a:prstGeom prst="rect">
            <a:avLst/>
          </a:prstGeom>
          <a:effectLst>
            <a:glow rad="362464">
              <a:schemeClr val="tx1">
                <a:alpha val="18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506604384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Hea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E9670259-4695-428B-A004-7FC80D7094B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1062000" tIns="342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F9144E-5217-4B9A-B2C1-83385827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2619000"/>
            <a:ext cx="9000000" cy="1620000"/>
          </a:xfrm>
          <a:noFill/>
        </p:spPr>
        <p:txBody>
          <a:bodyPr lIns="342000" tIns="0" rIns="2160000" bIns="0" anchor="ctr" anchorCtr="0"/>
          <a:lstStyle>
            <a:lvl1pPr>
              <a:defRPr sz="4500" cap="all" baseline="0">
                <a:solidFill>
                  <a:schemeClr val="bg2"/>
                </a:solidFill>
                <a:effectLst>
                  <a:glow rad="292100">
                    <a:schemeClr val="tx1">
                      <a:alpha val="20000"/>
                    </a:schemeClr>
                  </a:glo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B286E1DF-60AE-400A-8B7B-7476D15C7D0C}"/>
              </a:ext>
            </a:extLst>
          </p:cNvPr>
          <p:cNvSpPr>
            <a:spLocks noGrp="1" noChangeAspect="1"/>
          </p:cNvSpPr>
          <p:nvPr>
            <p:ph type="body" sz="quarter" idx="21"/>
          </p:nvPr>
        </p:nvSpPr>
        <p:spPr>
          <a:xfrm>
            <a:off x="5588000" y="1"/>
            <a:ext cx="6604000" cy="2376153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1728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2889F3E-94C3-4A88-BF2F-F30E63351046}"/>
              </a:ext>
            </a:extLst>
          </p:cNvPr>
          <p:cNvSpPr>
            <a:spLocks noGrp="1" noChangeAspect="1"/>
          </p:cNvSpPr>
          <p:nvPr>
            <p:ph type="body" sz="quarter" idx="22"/>
          </p:nvPr>
        </p:nvSpPr>
        <p:spPr>
          <a:xfrm>
            <a:off x="10849038" y="333375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515777159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10794666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5EE857-4C7E-47C5-A433-5F303A10690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963" y="1413375"/>
            <a:ext cx="10794665" cy="72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3" name="Table Placeholder 12">
            <a:extLst>
              <a:ext uri="{FF2B5EF4-FFF2-40B4-BE49-F238E27FC236}">
                <a16:creationId xmlns:a16="http://schemas.microsoft.com/office/drawing/2014/main" id="{12720170-841B-4714-B671-AE40B2FE0283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334963" y="2243443"/>
            <a:ext cx="5400000" cy="3912658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table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4E7EDCB-670C-46CB-A20E-159535CC5C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D18779D-2EB2-4254-A93E-7459659F2BB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8B347AD-5E50-42AC-AFB4-7F625291AB6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0" name="Table Placeholder 12">
            <a:extLst>
              <a:ext uri="{FF2B5EF4-FFF2-40B4-BE49-F238E27FC236}">
                <a16:creationId xmlns:a16="http://schemas.microsoft.com/office/drawing/2014/main" id="{681F39F4-FFD4-4BE2-985A-DFC552D2E405}"/>
              </a:ext>
            </a:extLst>
          </p:cNvPr>
          <p:cNvSpPr>
            <a:spLocks noGrp="1"/>
          </p:cNvSpPr>
          <p:nvPr>
            <p:ph type="tbl" sz="quarter" idx="20"/>
          </p:nvPr>
        </p:nvSpPr>
        <p:spPr>
          <a:xfrm>
            <a:off x="6096000" y="2243443"/>
            <a:ext cx="5400000" cy="3912658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tab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93293079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E396722-86FB-4B61-980E-29BB1A84BF5F}"/>
              </a:ext>
            </a:extLst>
          </p:cNvPr>
          <p:cNvSpPr/>
          <p:nvPr userDrawn="1"/>
        </p:nvSpPr>
        <p:spPr>
          <a:xfrm>
            <a:off x="0" y="-1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892E96-6CF9-4BCC-9A9B-CB94EC6D1A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97B376B-D4F9-4143-A8AE-817EB0EA6B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84A53671-41EC-45C8-A0C1-D1426C22F9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8D9C795-633F-49DF-98A1-53A142CB8A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849886" y="333375"/>
            <a:ext cx="1006304" cy="448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2364360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rt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hart Placeholder 7">
            <a:extLst>
              <a:ext uri="{FF2B5EF4-FFF2-40B4-BE49-F238E27FC236}">
                <a16:creationId xmlns:a16="http://schemas.microsoft.com/office/drawing/2014/main" id="{4453905E-F3D8-46E8-B904-03A8DD092DA7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6096000" y="2243442"/>
            <a:ext cx="5400000" cy="3912658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10801351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5EE857-4C7E-47C5-A433-5F303A10690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964" y="1413375"/>
            <a:ext cx="10801350" cy="72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D1ECE4F1-33EB-4137-BED8-59885BB39C47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334963" y="2243442"/>
            <a:ext cx="5400000" cy="3912658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778F5DE-1344-42BD-82D0-6611DD7B1FC6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D0D518F-1062-474E-BA48-10EA56B2C55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2C63567-251B-4660-ADF6-37AB6DCF01D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621468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233375"/>
            <a:ext cx="3600000" cy="4563542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06AFE3-EE64-4522-825B-815C6A28E9F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CCCCDE7-B8EA-4773-A164-304D34F89D0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C4FDAA8-8585-4D16-87AD-3485D164648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FDCDC4E8-4AA2-47C5-B535-B59B68E2368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296001" y="1233375"/>
            <a:ext cx="3600000" cy="4563542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110DB712-DE37-4722-A5B4-8E5304EC2D74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8257040" y="1233375"/>
            <a:ext cx="3600000" cy="4563542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BB2BBBA-A0B7-4C68-BAAA-DBE124769F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5116011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ntent and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C85B94B1-0EB5-4E42-9E85-6E0B4655B7C9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16EF975B-AD72-4CB0-A546-757A6175A51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83255" y="1880314"/>
            <a:ext cx="5761038" cy="4644311"/>
          </a:xfrm>
          <a:prstGeom prst="roundRect">
            <a:avLst>
              <a:gd name="adj" fmla="val 1982"/>
            </a:avLst>
          </a:prstGeom>
          <a:solidFill>
            <a:schemeClr val="bg1">
              <a:lumMod val="85000"/>
            </a:schemeClr>
          </a:solidFill>
        </p:spPr>
        <p:txBody>
          <a:bodyPr lIns="342000" tIns="342000" rIns="342000" bIns="342000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AU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880315"/>
            <a:ext cx="4691628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7707" y="333375"/>
            <a:ext cx="10080000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C94176C4-3B30-43F2-91DE-33D09AEA7B5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A95B7BCF-DC6C-46BC-B3D2-2F18F9BC75D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0A06AD-F673-47FE-B249-A9A6CC304BB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7707" y="926565"/>
            <a:ext cx="10080000" cy="72000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cap="all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None/>
              <a:defRPr cap="all">
                <a:solidFill>
                  <a:schemeClr val="accent1"/>
                </a:solidFill>
                <a:latin typeface="+mj-lt"/>
              </a:defRPr>
            </a:lvl2pPr>
            <a:lvl3pPr marL="0" indent="0">
              <a:buNone/>
              <a:defRPr cap="all">
                <a:solidFill>
                  <a:schemeClr val="accent1"/>
                </a:solidFill>
                <a:latin typeface="+mj-lt"/>
              </a:defRPr>
            </a:lvl3pPr>
            <a:lvl4pPr marL="0" indent="0">
              <a:buNone/>
              <a:defRPr cap="all">
                <a:solidFill>
                  <a:schemeClr val="accent1"/>
                </a:solidFill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cap="all">
                <a:solidFill>
                  <a:schemeClr val="accent1"/>
                </a:solidFill>
                <a:latin typeface="+mj-lt"/>
              </a:defRPr>
            </a:lvl5pPr>
            <a:lvl6pPr marL="0" indent="0">
              <a:buFont typeface="Arial" panose="020B0604020202020204" pitchFamily="34" charset="0"/>
              <a:buNone/>
              <a:defRPr cap="all">
                <a:solidFill>
                  <a:schemeClr val="accent1"/>
                </a:solidFill>
                <a:latin typeface="+mj-lt"/>
              </a:defRPr>
            </a:lvl6pPr>
            <a:lvl7pPr marL="0" indent="0">
              <a:buFont typeface="Arial" panose="020B0604020202020204" pitchFamily="34" charset="0"/>
              <a:buNone/>
              <a:defRPr cap="all">
                <a:solidFill>
                  <a:schemeClr val="accent1"/>
                </a:solidFill>
                <a:latin typeface="+mj-lt"/>
              </a:defRPr>
            </a:lvl7pPr>
            <a:lvl8pPr marL="0" indent="0">
              <a:buFont typeface="Arial" panose="020B0604020202020204" pitchFamily="34" charset="0"/>
              <a:buNone/>
              <a:defRPr cap="all">
                <a:solidFill>
                  <a:schemeClr val="accent1"/>
                </a:solidFill>
                <a:latin typeface="+mj-lt"/>
              </a:defRPr>
            </a:lvl8pPr>
            <a:lvl9pPr marL="0" indent="0">
              <a:buFont typeface="Arial" panose="020B0604020202020204" pitchFamily="34" charset="0"/>
              <a:buNone/>
              <a:defRPr cap="all">
                <a:solidFill>
                  <a:schemeClr val="accent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add text</a:t>
            </a:r>
            <a:endParaRPr lang="en-AU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FBB7B1FD-9C36-4A7D-AFAD-EB2419C855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849038" y="333375"/>
            <a:ext cx="1008000" cy="448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2947300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our column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7F07ECCF-5EE7-4BA4-BD7C-50DF82C3F5BF}"/>
              </a:ext>
            </a:extLst>
          </p:cNvPr>
          <p:cNvSpPr/>
          <p:nvPr userDrawn="1"/>
        </p:nvSpPr>
        <p:spPr>
          <a:xfrm>
            <a:off x="0" y="0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10080000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08DD2E7-C8BF-4E45-AE9F-C1389B7B38D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963" y="2600315"/>
            <a:ext cx="2160000" cy="3240000"/>
          </a:xfrm>
        </p:spPr>
        <p:txBody>
          <a:bodyPr/>
          <a:lstStyle>
            <a:lvl1pPr>
              <a:defRPr sz="1600" cap="all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 b="0" cap="none" baseline="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D7BC8491-CCAE-458C-BD6D-862F904604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979212" y="2600315"/>
            <a:ext cx="2160000" cy="3240000"/>
          </a:xfrm>
        </p:spPr>
        <p:txBody>
          <a:bodyPr/>
          <a:lstStyle>
            <a:lvl1pPr>
              <a:defRPr sz="1600" cap="all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 b="0" cap="none" baseline="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B036190F-67DD-4555-BB1F-179E8E9C46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23461" y="2600315"/>
            <a:ext cx="2160000" cy="3240000"/>
          </a:xfrm>
        </p:spPr>
        <p:txBody>
          <a:bodyPr/>
          <a:lstStyle>
            <a:lvl1pPr>
              <a:defRPr sz="1600" cap="all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 b="0" cap="none" baseline="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F1044E10-4BD7-47DE-8A5A-57C9557A0B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67709" y="2600315"/>
            <a:ext cx="2160000" cy="3240000"/>
          </a:xfrm>
        </p:spPr>
        <p:txBody>
          <a:bodyPr/>
          <a:lstStyle>
            <a:lvl1pPr>
              <a:defRPr sz="1600" cap="all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 b="0" cap="none" baseline="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B900929-35E2-4B6A-A4BF-9E02733E3AB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6B47C34-75D5-42A4-8A99-FADDAF9BBA6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67B0344-E805-4D5F-B3FB-AF95BC74870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49792A8A-88CD-4947-B7C8-CF7FA124B20A}"/>
              </a:ext>
            </a:extLst>
          </p:cNvPr>
          <p:cNvSpPr>
            <a:spLocks noGrp="1" noChangeAspect="1"/>
          </p:cNvSpPr>
          <p:nvPr>
            <p:ph type="body" sz="quarter" idx="23"/>
          </p:nvPr>
        </p:nvSpPr>
        <p:spPr>
          <a:xfrm>
            <a:off x="10849038" y="333375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286250289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mage-full wid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8166547-372E-4215-A2D1-28413657AE73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23DD628-AE63-4907-AF4B-6B53C077707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4963" y="1880314"/>
            <a:ext cx="11509330" cy="4644311"/>
          </a:xfrm>
          <a:prstGeom prst="roundRect">
            <a:avLst>
              <a:gd name="adj" fmla="val 1982"/>
            </a:avLst>
          </a:prstGeom>
          <a:solidFill>
            <a:schemeClr val="bg1">
              <a:lumMod val="85000"/>
            </a:schemeClr>
          </a:solidFill>
        </p:spPr>
        <p:txBody>
          <a:bodyPr lIns="342000" tIns="342000" rIns="342000" bIns="342000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AU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6D4D6FD-7257-4C21-AAFC-7CC06BF77DD7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7797801" y="5080000"/>
            <a:ext cx="4046492" cy="1444625"/>
          </a:xfrm>
          <a:prstGeom prst="roundRect">
            <a:avLst>
              <a:gd name="adj" fmla="val 5336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45000"/>
                </a:schemeClr>
              </a:gs>
            </a:gsLst>
            <a:lin ang="432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6E7A7DD-8C14-4B85-B39F-1E990E1FFE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333375"/>
            <a:ext cx="5761038" cy="108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7750661B-4D22-41A7-8FA2-1E0D27586EF6}"/>
              </a:ext>
            </a:extLst>
          </p:cNvPr>
          <p:cNvSpPr>
            <a:spLocks noGrp="1" noChangeAspect="1"/>
          </p:cNvSpPr>
          <p:nvPr>
            <p:ph type="body" sz="quarter" idx="16"/>
          </p:nvPr>
        </p:nvSpPr>
        <p:spPr>
          <a:xfrm>
            <a:off x="10632313" y="5890388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7D8FAF2-858C-419E-A577-F0425218264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537038" y="333375"/>
            <a:ext cx="4320000" cy="126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D048DB48-6039-4A0D-ACBF-D5EB8DD358F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459140" y="6159500"/>
            <a:ext cx="727410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6987714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Partial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C85B94B1-0EB5-4E42-9E85-6E0B4655B7C9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16EF975B-AD72-4CB0-A546-757A6175A51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513120" y="1"/>
            <a:ext cx="4678880" cy="6856690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</p:spPr>
        <p:txBody>
          <a:bodyPr lIns="342000" tIns="342000" rIns="342000" bIns="342000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AU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47706" y="1210733"/>
            <a:ext cx="6827253" cy="4629582"/>
          </a:xfrm>
        </p:spPr>
        <p:txBody>
          <a:bodyPr/>
          <a:lstStyle>
            <a:lvl1pPr>
              <a:defRPr/>
            </a:lvl1pPr>
            <a:lvl5pPr>
              <a:defRPr/>
            </a:lvl5pPr>
            <a:lvl6pPr>
              <a:defRPr sz="1400"/>
            </a:lvl6pPr>
            <a:lvl7pPr marL="180000">
              <a:defRPr sz="1400"/>
            </a:lvl7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7707" y="333375"/>
            <a:ext cx="10080000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C94176C4-3B30-43F2-91DE-33D09AEA7B5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A95B7BCF-DC6C-46BC-B3D2-2F18F9BC75D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D24732DA-0FE7-4734-BA92-D340F800C44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509919" y="4313208"/>
            <a:ext cx="4682081" cy="2541619"/>
          </a:xfrm>
          <a:gradFill>
            <a:gsLst>
              <a:gs pos="73000">
                <a:srgbClr val="000000">
                  <a:alpha val="22000"/>
                </a:srgbClr>
              </a:gs>
              <a:gs pos="35000">
                <a:schemeClr val="tx1">
                  <a:alpha val="0"/>
                </a:schemeClr>
              </a:gs>
              <a:gs pos="100000">
                <a:schemeClr val="tx1">
                  <a:alpha val="62000"/>
                </a:schemeClr>
              </a:gs>
            </a:gsLst>
            <a:lin ang="6000000" scaled="0"/>
          </a:gradFill>
        </p:spPr>
        <p:txBody>
          <a:bodyPr lIns="360000" tIns="360000" rIns="1800000" bIns="432000" anchor="b" anchorCtr="0"/>
          <a:lstStyle>
            <a:lvl1pPr marL="0" indent="0">
              <a:buFont typeface="Arial" panose="020B0604020202020204" pitchFamily="34" charset="0"/>
              <a:buNone/>
              <a:defRPr sz="1000" cap="none">
                <a:solidFill>
                  <a:schemeClr val="bg2"/>
                </a:solidFill>
                <a:latin typeface="+mn-lt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None/>
              <a:defRPr sz="1000" cap="none">
                <a:solidFill>
                  <a:schemeClr val="bg2"/>
                </a:solidFill>
                <a:latin typeface="+mn-lt"/>
              </a:defRPr>
            </a:lvl2pPr>
            <a:lvl3pPr marL="0" indent="0">
              <a:buNone/>
              <a:defRPr sz="1000" cap="none">
                <a:solidFill>
                  <a:schemeClr val="bg2"/>
                </a:solidFill>
                <a:latin typeface="+mn-lt"/>
              </a:defRPr>
            </a:lvl3pPr>
            <a:lvl4pPr marL="0" indent="0">
              <a:buNone/>
              <a:defRPr sz="1000" cap="none">
                <a:solidFill>
                  <a:schemeClr val="bg2"/>
                </a:solidFill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defRPr sz="1000" cap="none">
                <a:solidFill>
                  <a:schemeClr val="bg2"/>
                </a:solidFill>
                <a:latin typeface="+mn-lt"/>
              </a:defRPr>
            </a:lvl5pPr>
            <a:lvl6pPr marL="0" indent="0">
              <a:buFont typeface="Arial" panose="020B0604020202020204" pitchFamily="34" charset="0"/>
              <a:buNone/>
              <a:defRPr sz="1000" cap="none">
                <a:solidFill>
                  <a:schemeClr val="bg2"/>
                </a:solidFill>
                <a:latin typeface="+mn-lt"/>
              </a:defRPr>
            </a:lvl6pPr>
            <a:lvl7pPr marL="0" indent="0">
              <a:buFont typeface="Arial" panose="020B0604020202020204" pitchFamily="34" charset="0"/>
              <a:buNone/>
              <a:defRPr sz="1000" cap="none">
                <a:solidFill>
                  <a:schemeClr val="bg2"/>
                </a:solidFill>
                <a:latin typeface="+mn-lt"/>
              </a:defRPr>
            </a:lvl7pPr>
            <a:lvl8pPr marL="0" indent="0">
              <a:buFont typeface="Arial" panose="020B0604020202020204" pitchFamily="34" charset="0"/>
              <a:buNone/>
              <a:defRPr sz="1000" cap="none">
                <a:solidFill>
                  <a:schemeClr val="bg2"/>
                </a:solidFill>
                <a:latin typeface="+mn-lt"/>
              </a:defRPr>
            </a:lvl8pPr>
            <a:lvl9pPr marL="0" indent="0">
              <a:buFont typeface="Arial" panose="020B0604020202020204" pitchFamily="34" charset="0"/>
              <a:buNone/>
              <a:defRPr sz="1000" cap="none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2</a:t>
            </a:r>
          </a:p>
          <a:p>
            <a:pPr lvl="2"/>
            <a:r>
              <a:rPr lang="en-US"/>
              <a:t>3</a:t>
            </a:r>
          </a:p>
          <a:p>
            <a:pPr lvl="3"/>
            <a:r>
              <a:rPr lang="en-US"/>
              <a:t>4</a:t>
            </a:r>
          </a:p>
          <a:p>
            <a:pPr lvl="4"/>
            <a:r>
              <a:rPr lang="en-US"/>
              <a:t>5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AU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5DCB89D-3AC5-44D9-B514-92E4E014EE0B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7509920" y="1"/>
            <a:ext cx="4682080" cy="2209799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1728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21523CDE-F139-4817-9BEA-E1B7B2E72461}"/>
              </a:ext>
            </a:extLst>
          </p:cNvPr>
          <p:cNvSpPr>
            <a:spLocks noGrp="1" noChangeAspect="1"/>
          </p:cNvSpPr>
          <p:nvPr>
            <p:ph type="body" sz="quarter" idx="24"/>
          </p:nvPr>
        </p:nvSpPr>
        <p:spPr>
          <a:xfrm>
            <a:off x="10849038" y="333375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684428850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0">
            <a:extLst>
              <a:ext uri="{FF2B5EF4-FFF2-40B4-BE49-F238E27FC236}">
                <a16:creationId xmlns:a16="http://schemas.microsoft.com/office/drawing/2014/main" id="{B4E51852-5101-48F7-8B58-1B847E23964B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1062000" tIns="792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D8AE3A4E-F9D7-4DE9-8409-5EE36E86AF3A}"/>
              </a:ext>
            </a:extLst>
          </p:cNvPr>
          <p:cNvSpPr>
            <a:spLocks noGrp="1" noChangeAspect="1"/>
          </p:cNvSpPr>
          <p:nvPr>
            <p:ph type="body" sz="quarter" idx="23"/>
          </p:nvPr>
        </p:nvSpPr>
        <p:spPr>
          <a:xfrm>
            <a:off x="5588000" y="1"/>
            <a:ext cx="6604000" cy="2376153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1728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EEFCBEF0-91F3-47D0-9F07-A40D48EDD246}"/>
              </a:ext>
            </a:extLst>
          </p:cNvPr>
          <p:cNvSpPr>
            <a:spLocks noGrp="1" noChangeAspect="1"/>
          </p:cNvSpPr>
          <p:nvPr>
            <p:ph type="body" sz="quarter" idx="16"/>
          </p:nvPr>
        </p:nvSpPr>
        <p:spPr>
          <a:xfrm>
            <a:off x="10849038" y="333375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25A78CB-C25F-477B-ACB8-7A8C3B33F7D7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0DC4922-3AFC-43D6-9996-17D5CAC06E9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54801EF-D4C3-4D21-A7DC-76D432B0F00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02576B30-62D5-46E1-8C3D-5439842664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297292" y="50802"/>
            <a:ext cx="7563552" cy="6722530"/>
          </a:xfrm>
          <a:gradFill flip="none" rotWithShape="1">
            <a:gsLst>
              <a:gs pos="51000">
                <a:schemeClr val="tx1">
                  <a:alpha val="0"/>
                </a:schemeClr>
              </a:gs>
              <a:gs pos="18819">
                <a:srgbClr val="000000">
                  <a:alpha val="38000"/>
                </a:srgbClr>
              </a:gs>
              <a:gs pos="0">
                <a:schemeClr val="tx1">
                  <a:alpha val="5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lIns="1548000" tIns="2052000" rIns="1548000" bIns="1800000"/>
          <a:lstStyle>
            <a:lvl1pPr>
              <a:defRPr sz="2800" cap="none" baseline="0">
                <a:solidFill>
                  <a:schemeClr val="accent1"/>
                </a:solidFill>
                <a:latin typeface="+mj-lt"/>
              </a:defRPr>
            </a:lvl1pPr>
            <a:lvl2pPr algn="l">
              <a:spcBef>
                <a:spcPts val="600"/>
              </a:spcBef>
              <a:defRPr sz="1600" b="0" cap="none" baseline="0">
                <a:solidFill>
                  <a:schemeClr val="accent1"/>
                </a:solidFill>
              </a:defRPr>
            </a:lvl2pPr>
            <a:lvl3pPr marL="0" indent="0" algn="l">
              <a:buNone/>
              <a:defRPr sz="2800" cap="none">
                <a:solidFill>
                  <a:schemeClr val="bg1"/>
                </a:solidFill>
                <a:latin typeface="+mj-lt"/>
              </a:defRPr>
            </a:lvl3pPr>
            <a:lvl4pPr marL="0" indent="0" algn="l">
              <a:buNone/>
              <a:defRPr sz="1600" cap="none">
                <a:solidFill>
                  <a:schemeClr val="bg1"/>
                </a:solidFill>
              </a:defRPr>
            </a:lvl4pPr>
            <a:lvl5pPr algn="l">
              <a:defRPr sz="1600" cap="none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0F9C0CBA-4F99-4EEF-9452-1D46CF641C24}"/>
              </a:ext>
            </a:extLst>
          </p:cNvPr>
          <p:cNvSpPr>
            <a:spLocks noGrp="1" noChangeAspect="1"/>
          </p:cNvSpPr>
          <p:nvPr>
            <p:ph type="body" sz="quarter" idx="24"/>
          </p:nvPr>
        </p:nvSpPr>
        <p:spPr>
          <a:xfrm>
            <a:off x="2781942" y="1515534"/>
            <a:ext cx="889086" cy="737420"/>
          </a:xfrm>
          <a:blipFill>
            <a:blip r:embed="rId4"/>
            <a:srcRect/>
            <a:stretch>
              <a:fillRect l="-92364" t="-81474" r="-87765" b="-241990"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C44BD95F-52D2-4592-97AC-691C98740D72}"/>
              </a:ext>
            </a:extLst>
          </p:cNvPr>
          <p:cNvSpPr>
            <a:spLocks noGrp="1" noChangeAspect="1"/>
          </p:cNvSpPr>
          <p:nvPr>
            <p:ph type="body" sz="quarter" idx="25"/>
          </p:nvPr>
        </p:nvSpPr>
        <p:spPr>
          <a:xfrm rot="10800000">
            <a:off x="8445457" y="3908179"/>
            <a:ext cx="889086" cy="737420"/>
          </a:xfrm>
          <a:blipFill>
            <a:blip r:embed="rId4"/>
            <a:srcRect/>
            <a:stretch>
              <a:fillRect l="-92364" t="-81474" r="-87765" b="-241990"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49642079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genda 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0">
            <a:extLst>
              <a:ext uri="{FF2B5EF4-FFF2-40B4-BE49-F238E27FC236}">
                <a16:creationId xmlns:a16="http://schemas.microsoft.com/office/drawing/2014/main" id="{132E30D2-B4D0-3CF3-7CAB-B656C82644CA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20000" y="1"/>
            <a:ext cx="1075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1062000" tIns="342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1173286-3DD3-2372-8FD1-9ACBF04D3739}"/>
              </a:ext>
            </a:extLst>
          </p:cNvPr>
          <p:cNvSpPr>
            <a:spLocks noGrp="1" noChangeAspect="1"/>
          </p:cNvSpPr>
          <p:nvPr>
            <p:ph type="body" sz="quarter" idx="22"/>
          </p:nvPr>
        </p:nvSpPr>
        <p:spPr>
          <a:xfrm>
            <a:off x="5588000" y="1"/>
            <a:ext cx="6604000" cy="2376153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1728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DB743F40-F6DB-A0BD-1F51-3F1714819BB3}"/>
              </a:ext>
            </a:extLst>
          </p:cNvPr>
          <p:cNvSpPr>
            <a:spLocks noGrp="1" noChangeAspect="1"/>
          </p:cNvSpPr>
          <p:nvPr>
            <p:ph type="body" sz="quarter" idx="23"/>
          </p:nvPr>
        </p:nvSpPr>
        <p:spPr>
          <a:xfrm>
            <a:off x="10128313" y="333375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9628" y="333375"/>
            <a:ext cx="10080000" cy="1080000"/>
          </a:xfrm>
        </p:spPr>
        <p:txBody>
          <a:bodyPr/>
          <a:lstStyle>
            <a:lvl1pPr>
              <a:defRPr cap="all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FEB565-49CC-408C-BDD2-C2590A4A642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49629" y="1880314"/>
            <a:ext cx="4320000" cy="3960000"/>
          </a:xfrm>
          <a:prstGeom prst="roundRect">
            <a:avLst>
              <a:gd name="adj" fmla="val 3032"/>
            </a:avLst>
          </a:prstGeom>
          <a:solidFill>
            <a:schemeClr val="bg2"/>
          </a:solidFill>
        </p:spPr>
        <p:txBody>
          <a:bodyPr lIns="144000" tIns="144000" rIns="144000" bIns="144000"/>
          <a:lstStyle>
            <a:lvl1pPr marL="288000" indent="-288000">
              <a:spcBef>
                <a:spcPts val="1200"/>
              </a:spcBef>
              <a:buFont typeface="+mj-lt"/>
              <a:buAutoNum type="arabicPeriod"/>
              <a:defRPr sz="2200"/>
            </a:lvl1pPr>
            <a:lvl2pPr marL="288000">
              <a:spcBef>
                <a:spcPts val="600"/>
              </a:spcBef>
              <a:spcAft>
                <a:spcPts val="600"/>
              </a:spcAft>
              <a:defRPr b="0" cap="none" baseline="0">
                <a:solidFill>
                  <a:schemeClr val="tx2"/>
                </a:solidFill>
              </a:defRPr>
            </a:lvl2pPr>
            <a:lvl3pPr marL="468000">
              <a:defRPr/>
            </a:lvl3pPr>
            <a:lvl4pPr marL="0" indent="0">
              <a:buNone/>
              <a:defRPr cap="all" baseline="0">
                <a:solidFill>
                  <a:schemeClr val="accent1"/>
                </a:solidFill>
                <a:latin typeface="+mj-lt"/>
              </a:defRPr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add Agenda item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98866983-58A4-4EC2-ADBC-AEEA6B9D69AB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8248903" y="6288257"/>
            <a:ext cx="1183557" cy="365125"/>
          </a:xfrm>
        </p:spPr>
        <p:txBody>
          <a:bodyPr/>
          <a:lstStyle/>
          <a:p>
            <a:endParaRPr lang="en-GB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F6B299B-0652-4E6B-BB65-0DE715526B4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55688" y="6288257"/>
            <a:ext cx="7193215" cy="365125"/>
          </a:xfrm>
        </p:spPr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42DCA20-AF8B-4853-AA2C-E5E7CD8D26F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8B1AC7E-46EA-441D-9455-6E65525B6A5A}"/>
              </a:ext>
            </a:extLst>
          </p:cNvPr>
          <p:cNvSpPr/>
          <p:nvPr userDrawn="1"/>
        </p:nvSpPr>
        <p:spPr>
          <a:xfrm>
            <a:off x="0" y="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C9469F0-045F-4A85-8721-359D41A43D06}"/>
              </a:ext>
            </a:extLst>
          </p:cNvPr>
          <p:cNvSpPr/>
          <p:nvPr userDrawn="1"/>
        </p:nvSpPr>
        <p:spPr>
          <a:xfrm>
            <a:off x="11472000" y="-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7005995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genda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61B3790-BDEB-43E5-BF9C-3E8D289EECE8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C59AD166-A33E-4D4B-BE9A-EF6978131E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128313" y="333375"/>
            <a:ext cx="1008000" cy="44879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9628" y="333375"/>
            <a:ext cx="10080000" cy="1080000"/>
          </a:xfrm>
        </p:spPr>
        <p:txBody>
          <a:bodyPr/>
          <a:lstStyle>
            <a:lvl1pPr>
              <a:defRPr cap="all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FEB565-49CC-408C-BDD2-C2590A4A642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49629" y="1880314"/>
            <a:ext cx="4320000" cy="3960000"/>
          </a:xfrm>
        </p:spPr>
        <p:txBody>
          <a:bodyPr/>
          <a:lstStyle>
            <a:lvl1pPr marL="288000" indent="-288000">
              <a:spcBef>
                <a:spcPts val="1200"/>
              </a:spcBef>
              <a:buFont typeface="+mj-lt"/>
              <a:buAutoNum type="arabicPeriod"/>
              <a:defRPr sz="2200"/>
            </a:lvl1pPr>
            <a:lvl2pPr marL="288000">
              <a:spcBef>
                <a:spcPts val="600"/>
              </a:spcBef>
              <a:spcAft>
                <a:spcPts val="600"/>
              </a:spcAft>
              <a:defRPr b="0" cap="none" baseline="0">
                <a:solidFill>
                  <a:schemeClr val="tx2"/>
                </a:solidFill>
              </a:defRPr>
            </a:lvl2pPr>
            <a:lvl3pPr marL="468000">
              <a:defRPr/>
            </a:lvl3pPr>
            <a:lvl4pPr marL="0" indent="0">
              <a:buNone/>
              <a:defRPr cap="all" baseline="0">
                <a:solidFill>
                  <a:schemeClr val="accent1"/>
                </a:solidFill>
                <a:latin typeface="+mj-lt"/>
              </a:defRPr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add Agenda item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98866983-58A4-4EC2-ADBC-AEEA6B9D69AB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8248903" y="6288257"/>
            <a:ext cx="1183557" cy="365125"/>
          </a:xfrm>
        </p:spPr>
        <p:txBody>
          <a:bodyPr/>
          <a:lstStyle/>
          <a:p>
            <a:endParaRPr lang="en-GB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F6B299B-0652-4E6B-BB65-0DE715526B4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55688" y="6288257"/>
            <a:ext cx="7193215" cy="365125"/>
          </a:xfrm>
        </p:spPr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42DCA20-AF8B-4853-AA2C-E5E7CD8D26F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8B1AC7E-46EA-441D-9455-6E65525B6A5A}"/>
              </a:ext>
            </a:extLst>
          </p:cNvPr>
          <p:cNvSpPr/>
          <p:nvPr userDrawn="1"/>
        </p:nvSpPr>
        <p:spPr>
          <a:xfrm>
            <a:off x="0" y="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C9469F0-045F-4A85-8721-359D41A43D06}"/>
              </a:ext>
            </a:extLst>
          </p:cNvPr>
          <p:cNvSpPr/>
          <p:nvPr userDrawn="1"/>
        </p:nvSpPr>
        <p:spPr>
          <a:xfrm>
            <a:off x="11472000" y="-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6" name="Picture Placeholder 7">
            <a:extLst>
              <a:ext uri="{FF2B5EF4-FFF2-40B4-BE49-F238E27FC236}">
                <a16:creationId xmlns:a16="http://schemas.microsoft.com/office/drawing/2014/main" id="{ECCDD9A2-88BD-288E-C2DE-C790334EEFD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083255" y="1880314"/>
            <a:ext cx="5046373" cy="4644311"/>
          </a:xfrm>
          <a:prstGeom prst="roundRect">
            <a:avLst>
              <a:gd name="adj" fmla="val 1982"/>
            </a:avLst>
          </a:prstGeom>
          <a:solidFill>
            <a:schemeClr val="bg1">
              <a:lumMod val="85000"/>
            </a:schemeClr>
          </a:solidFill>
        </p:spPr>
        <p:txBody>
          <a:bodyPr lIns="342000" tIns="342000" rIns="342000" bIns="342000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AU"/>
              <a:t>To insert an image, select ‘Insert Picture’, or click on icon. Select ‘Picture Format &gt; Crop’ to edit size and position of picture.</a:t>
            </a:r>
          </a:p>
        </p:txBody>
      </p:sp>
    </p:spTree>
    <p:extLst>
      <p:ext uri="{BB962C8B-B14F-4D97-AF65-F5344CB8AC3E}">
        <p14:creationId xmlns:p14="http://schemas.microsoft.com/office/powerpoint/2010/main" val="342924740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parti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1" y="1413375"/>
            <a:ext cx="6120000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06AFE3-EE64-4522-825B-815C6A28E9F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CCCCDE7-B8EA-4773-A164-304D34F89D0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C4FDAA8-8585-4D16-87AD-3485D164648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76987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l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E9670259-4695-428B-A004-7FC80D7094B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19400" y="1"/>
            <a:ext cx="107532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342000" tIns="342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F9144E-5217-4B9A-B2C1-83385827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1946566"/>
            <a:ext cx="10753200" cy="1620000"/>
          </a:xfrm>
          <a:noFill/>
        </p:spPr>
        <p:txBody>
          <a:bodyPr lIns="342000" tIns="342000" rIns="2160000" bIns="0" anchor="b" anchorCtr="0"/>
          <a:lstStyle>
            <a:lvl1pPr>
              <a:defRPr sz="4500" cap="all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113A054-12CB-4197-89CB-FBA21D5F89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5688" y="4097865"/>
            <a:ext cx="5040312" cy="14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800" b="1" cap="none">
                <a:solidFill>
                  <a:schemeClr val="bg2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6pPr>
            <a:lvl7pPr marL="0" indent="0" algn="l">
              <a:buNone/>
              <a:defRPr sz="1800" b="1">
                <a:solidFill>
                  <a:schemeClr val="bg2"/>
                </a:solidFill>
              </a:defRPr>
            </a:lvl7pPr>
            <a:lvl8pPr marL="0" indent="0" algn="l">
              <a:buNone/>
              <a:defRPr sz="1800" b="1">
                <a:solidFill>
                  <a:schemeClr val="bg2"/>
                </a:solidFill>
              </a:defRPr>
            </a:lvl8pPr>
            <a:lvl9pPr marL="0" indent="0" algn="l">
              <a:buNone/>
              <a:defRPr sz="1800" b="1">
                <a:solidFill>
                  <a:schemeClr val="bg2"/>
                </a:solidFill>
              </a:defRPr>
            </a:lvl9pPr>
          </a:lstStyle>
          <a:p>
            <a:r>
              <a:rPr lang="en-AU"/>
              <a:t>Subtitle or presenters name and date</a:t>
            </a:r>
            <a:endParaRPr lang="en-GB"/>
          </a:p>
          <a:p>
            <a:pPr lvl="1"/>
            <a:r>
              <a:rPr lang="en-US"/>
              <a:t>2</a:t>
            </a:r>
          </a:p>
          <a:p>
            <a:pPr lvl="2"/>
            <a:r>
              <a:rPr lang="en-US"/>
              <a:t>3</a:t>
            </a:r>
          </a:p>
          <a:p>
            <a:pPr lvl="3"/>
            <a:r>
              <a:rPr lang="en-US"/>
              <a:t>4</a:t>
            </a:r>
          </a:p>
          <a:p>
            <a:pPr lvl="4"/>
            <a:r>
              <a:rPr lang="en-US"/>
              <a:t>5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C3F7B8-0B35-40FF-8CB7-4337CBF123A9}"/>
              </a:ext>
            </a:extLst>
          </p:cNvPr>
          <p:cNvSpPr/>
          <p:nvPr userDrawn="1"/>
        </p:nvSpPr>
        <p:spPr>
          <a:xfrm>
            <a:off x="0" y="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CCB27E3-026E-4103-AE04-0346F7EF5C2F}"/>
              </a:ext>
            </a:extLst>
          </p:cNvPr>
          <p:cNvSpPr/>
          <p:nvPr userDrawn="1"/>
        </p:nvSpPr>
        <p:spPr>
          <a:xfrm>
            <a:off x="11472000" y="-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C4A1CEB9-11E9-4D44-B10D-C1106153B09E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6096000" y="3940935"/>
            <a:ext cx="5376000" cy="2917066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40000"/>
                </a:schemeClr>
              </a:gs>
            </a:gsLst>
            <a:lin ang="372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6F98E5-C772-4C1B-AEA2-5FA88430480D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F9F84E86-7BB5-462E-B8A8-80738E4A3D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69628" y="5537865"/>
            <a:ext cx="2285090" cy="1017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399982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D7C96F-8BBD-4547-8FAF-E1C11A669B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7B75C8-EE4E-425E-9F6A-986C51DA63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2E46077-2300-4EEF-880C-1E67A4AAA2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sert &gt; Header &amp;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6C5049E-A3A4-44E2-BDFD-16B26032B9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65852-B72C-CB4D-980E-E202D86A797A}" type="slidenum">
              <a:rPr lang="en-US" smtClean="0"/>
              <a:t>‹N°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4817A8-662E-4571-BECF-2629B655AB2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579509" y="2059401"/>
            <a:ext cx="1219200" cy="1219200"/>
          </a:xfrm>
        </p:spPr>
        <p:txBody>
          <a:bodyPr/>
          <a:lstStyle/>
          <a:p>
            <a:endParaRPr lang="en-DE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4A5E44D9-2850-4791-86D1-74FE2C420C9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962225" y="2059401"/>
            <a:ext cx="1219200" cy="1219200"/>
          </a:xfrm>
        </p:spPr>
        <p:txBody>
          <a:bodyPr/>
          <a:lstStyle/>
          <a:p>
            <a:endParaRPr lang="en-DE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4194582A-CAB2-4ECC-B953-7E536061CE9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44941" y="2059401"/>
            <a:ext cx="1219200" cy="1219200"/>
          </a:xfrm>
        </p:spPr>
        <p:txBody>
          <a:bodyPr/>
          <a:lstStyle/>
          <a:p>
            <a:endParaRPr lang="en-DE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4BB922D-ABC8-4FE4-99CF-B262A9FA74B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727657" y="2068329"/>
            <a:ext cx="1219200" cy="1219200"/>
          </a:xfrm>
        </p:spPr>
        <p:txBody>
          <a:bodyPr/>
          <a:lstStyle/>
          <a:p>
            <a:endParaRPr lang="en-DE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2FE607B0-8F5C-46A5-8737-90721485513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110373" y="2068329"/>
            <a:ext cx="1219200" cy="1219200"/>
          </a:xfrm>
        </p:spPr>
        <p:txBody>
          <a:bodyPr/>
          <a:lstStyle/>
          <a:p>
            <a:endParaRPr lang="en-DE"/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DCD6E9E9-F75A-4E36-BA22-59D19FEE873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0493088" y="2068329"/>
            <a:ext cx="1219200" cy="1219200"/>
          </a:xfrm>
        </p:spPr>
        <p:txBody>
          <a:bodyPr/>
          <a:lstStyle/>
          <a:p>
            <a:endParaRPr lang="en-DE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099A279A-683F-44D1-A969-5EC3998D745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581400" y="3437928"/>
            <a:ext cx="1219200" cy="1219200"/>
          </a:xfrm>
        </p:spPr>
        <p:txBody>
          <a:bodyPr/>
          <a:lstStyle/>
          <a:p>
            <a:endParaRPr lang="en-DE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F7DBFB04-6908-4801-87E9-E00C511A0E8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964116" y="3437928"/>
            <a:ext cx="1219200" cy="1219200"/>
          </a:xfrm>
        </p:spPr>
        <p:txBody>
          <a:bodyPr/>
          <a:lstStyle/>
          <a:p>
            <a:endParaRPr lang="en-DE"/>
          </a:p>
        </p:txBody>
      </p:sp>
      <p:sp>
        <p:nvSpPr>
          <p:cNvPr id="16" name="Picture Placeholder 6">
            <a:extLst>
              <a:ext uri="{FF2B5EF4-FFF2-40B4-BE49-F238E27FC236}">
                <a16:creationId xmlns:a16="http://schemas.microsoft.com/office/drawing/2014/main" id="{04DB461C-9522-4CCA-ACE9-BC284EA749F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346832" y="3437928"/>
            <a:ext cx="1219200" cy="1219200"/>
          </a:xfrm>
        </p:spPr>
        <p:txBody>
          <a:bodyPr/>
          <a:lstStyle/>
          <a:p>
            <a:endParaRPr lang="en-DE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CC2DD7F4-66CA-41FE-9B5B-F5CC82F9FDA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729548" y="3446856"/>
            <a:ext cx="1219200" cy="1219200"/>
          </a:xfrm>
        </p:spPr>
        <p:txBody>
          <a:bodyPr/>
          <a:lstStyle/>
          <a:p>
            <a:endParaRPr lang="en-DE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733E48A3-AB63-4F10-88F9-5CC1D690B2A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112264" y="3446856"/>
            <a:ext cx="1219200" cy="1219200"/>
          </a:xfrm>
        </p:spPr>
        <p:txBody>
          <a:bodyPr/>
          <a:lstStyle/>
          <a:p>
            <a:endParaRPr lang="en-DE"/>
          </a:p>
        </p:txBody>
      </p:sp>
      <p:sp>
        <p:nvSpPr>
          <p:cNvPr id="19" name="Picture Placeholder 6">
            <a:extLst>
              <a:ext uri="{FF2B5EF4-FFF2-40B4-BE49-F238E27FC236}">
                <a16:creationId xmlns:a16="http://schemas.microsoft.com/office/drawing/2014/main" id="{6DD9E260-7018-49D8-859E-76FBA83453C4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0494979" y="3446856"/>
            <a:ext cx="1219200" cy="1219200"/>
          </a:xfrm>
        </p:spPr>
        <p:txBody>
          <a:bodyPr/>
          <a:lstStyle/>
          <a:p>
            <a:endParaRPr lang="en-DE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E642B786-BE1B-41FD-B350-B238AFA0FBBE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3579509" y="4827384"/>
            <a:ext cx="1219200" cy="1219200"/>
          </a:xfrm>
        </p:spPr>
        <p:txBody>
          <a:bodyPr/>
          <a:lstStyle/>
          <a:p>
            <a:endParaRPr lang="en-DE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2AC9EAE4-2808-4391-BFAB-DC20474E138A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962225" y="4827384"/>
            <a:ext cx="1219200" cy="1219200"/>
          </a:xfrm>
        </p:spPr>
        <p:txBody>
          <a:bodyPr/>
          <a:lstStyle/>
          <a:p>
            <a:endParaRPr lang="en-DE"/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C1957BD2-4542-4031-BC46-A0B5C112ECFD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344941" y="4827384"/>
            <a:ext cx="1219200" cy="1219200"/>
          </a:xfrm>
        </p:spPr>
        <p:txBody>
          <a:bodyPr/>
          <a:lstStyle/>
          <a:p>
            <a:endParaRPr lang="en-DE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6747F99D-FA38-4C65-A61B-D45599FBFBC7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7727657" y="4836312"/>
            <a:ext cx="1219200" cy="1219200"/>
          </a:xfrm>
        </p:spPr>
        <p:txBody>
          <a:bodyPr/>
          <a:lstStyle/>
          <a:p>
            <a:endParaRPr lang="en-DE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C4184E92-6CC8-4775-B1F5-3948AF1D3091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9110373" y="4836312"/>
            <a:ext cx="1219200" cy="1219200"/>
          </a:xfrm>
        </p:spPr>
        <p:txBody>
          <a:bodyPr/>
          <a:lstStyle/>
          <a:p>
            <a:endParaRPr lang="en-DE"/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770B1572-B1F9-4AEE-BA16-0E8D7AD79A02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10493088" y="4836312"/>
            <a:ext cx="1219200" cy="1219200"/>
          </a:xfrm>
        </p:spPr>
        <p:txBody>
          <a:bodyPr/>
          <a:lstStyle/>
          <a:p>
            <a:endParaRPr lang="en-DE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BA96DCBE-0295-44B3-BD6B-7595E4EF409A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376845" y="2059400"/>
            <a:ext cx="3039148" cy="4092019"/>
          </a:xfrm>
        </p:spPr>
        <p:txBody>
          <a:bodyPr/>
          <a:lstStyle/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751978343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hree Content dar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EE12000-F088-E522-6304-0968384B94F3}"/>
              </a:ext>
            </a:extLst>
          </p:cNvPr>
          <p:cNvSpPr/>
          <p:nvPr userDrawn="1"/>
        </p:nvSpPr>
        <p:spPr>
          <a:xfrm>
            <a:off x="0" y="-1"/>
            <a:ext cx="12192000" cy="687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EC4A21E-807E-5FDD-8824-AF0D6394DA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Date Placeholder 2">
            <a:extLst>
              <a:ext uri="{FF2B5EF4-FFF2-40B4-BE49-F238E27FC236}">
                <a16:creationId xmlns:a16="http://schemas.microsoft.com/office/drawing/2014/main" id="{6B1662BB-CAD4-897E-19CF-EE6EA445564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8969628" y="6288257"/>
            <a:ext cx="1183557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Footer Placeholder 6">
            <a:extLst>
              <a:ext uri="{FF2B5EF4-FFF2-40B4-BE49-F238E27FC236}">
                <a16:creationId xmlns:a16="http://schemas.microsoft.com/office/drawing/2014/main" id="{6822986D-0E68-2C1D-2A4E-A0549061AD1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055688" y="6288257"/>
            <a:ext cx="7913940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17" name="Slide Number Placeholder 7">
            <a:extLst>
              <a:ext uri="{FF2B5EF4-FFF2-40B4-BE49-F238E27FC236}">
                <a16:creationId xmlns:a16="http://schemas.microsoft.com/office/drawing/2014/main" id="{D4B3B7CF-CA39-CFD8-F620-69024AEAFB0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334962" y="6288257"/>
            <a:ext cx="727410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D43D1DC4-1A25-CBD1-4721-AD3FDB16B73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849886" y="333375"/>
            <a:ext cx="1006304" cy="448782"/>
          </a:xfrm>
          <a:prstGeom prst="rect">
            <a:avLst/>
          </a:prstGeom>
        </p:spPr>
      </p:pic>
      <p:sp>
        <p:nvSpPr>
          <p:cNvPr id="19" name="Content Placeholder 8">
            <a:extLst>
              <a:ext uri="{FF2B5EF4-FFF2-40B4-BE49-F238E27FC236}">
                <a16:creationId xmlns:a16="http://schemas.microsoft.com/office/drawing/2014/main" id="{E5376368-AA05-79D8-A228-0DE09C4AF969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34962" y="1233375"/>
            <a:ext cx="3626079" cy="4563542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8">
            <a:extLst>
              <a:ext uri="{FF2B5EF4-FFF2-40B4-BE49-F238E27FC236}">
                <a16:creationId xmlns:a16="http://schemas.microsoft.com/office/drawing/2014/main" id="{78E0D5D8-781B-B006-D3CE-19F6F3976A5B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289481" y="1233375"/>
            <a:ext cx="3626079" cy="4563542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Content Placeholder 8">
            <a:extLst>
              <a:ext uri="{FF2B5EF4-FFF2-40B4-BE49-F238E27FC236}">
                <a16:creationId xmlns:a16="http://schemas.microsoft.com/office/drawing/2014/main" id="{3861165C-A187-994F-9836-39730BCEA67D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244000" y="1233375"/>
            <a:ext cx="3626079" cy="4563542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6958150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-dark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E9670259-4695-428B-A004-7FC80D7094B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19400" y="1"/>
            <a:ext cx="107532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342000" tIns="342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FC044026-2D0A-4F4C-B231-B0EF94B3258C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6096000" y="3940935"/>
            <a:ext cx="5376000" cy="2917066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40000"/>
                </a:schemeClr>
              </a:gs>
            </a:gsLst>
            <a:lin ang="372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F9144E-5217-4B9A-B2C1-83385827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1946566"/>
            <a:ext cx="10753200" cy="1620000"/>
          </a:xfrm>
          <a:noFill/>
        </p:spPr>
        <p:txBody>
          <a:bodyPr lIns="342000" tIns="342000" rIns="2160000" bIns="0" anchor="b" anchorCtr="0"/>
          <a:lstStyle>
            <a:lvl1pPr>
              <a:defRPr sz="4500" cap="all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113A054-12CB-4197-89CB-FBA21D5F89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5688" y="4097865"/>
            <a:ext cx="5040312" cy="14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800" b="1" cap="none">
                <a:solidFill>
                  <a:schemeClr val="bg2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6pPr>
            <a:lvl7pPr marL="0" indent="0" algn="l">
              <a:buNone/>
              <a:defRPr sz="1800" b="1">
                <a:solidFill>
                  <a:schemeClr val="bg2"/>
                </a:solidFill>
              </a:defRPr>
            </a:lvl7pPr>
            <a:lvl8pPr marL="0" indent="0" algn="l">
              <a:buNone/>
              <a:defRPr sz="1800" b="1">
                <a:solidFill>
                  <a:schemeClr val="bg2"/>
                </a:solidFill>
              </a:defRPr>
            </a:lvl8pPr>
            <a:lvl9pPr marL="0" indent="0" algn="l">
              <a:buNone/>
              <a:defRPr sz="1800" b="1">
                <a:solidFill>
                  <a:schemeClr val="bg2"/>
                </a:solidFill>
              </a:defRPr>
            </a:lvl9pPr>
          </a:lstStyle>
          <a:p>
            <a:r>
              <a:rPr lang="en-AU"/>
              <a:t>Subtitle or presenters name and date</a:t>
            </a:r>
            <a:endParaRPr lang="en-GB"/>
          </a:p>
          <a:p>
            <a:pPr lvl="1"/>
            <a:r>
              <a:rPr lang="en-US"/>
              <a:t>2</a:t>
            </a:r>
          </a:p>
          <a:p>
            <a:pPr lvl="2"/>
            <a:r>
              <a:rPr lang="en-US"/>
              <a:t>3</a:t>
            </a:r>
          </a:p>
          <a:p>
            <a:pPr lvl="3"/>
            <a:r>
              <a:rPr lang="en-US"/>
              <a:t>4</a:t>
            </a:r>
          </a:p>
          <a:p>
            <a:pPr lvl="4"/>
            <a:r>
              <a:rPr lang="en-US"/>
              <a:t>5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GB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552E04E-D25F-4B05-AD2F-C588430EFE7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16713" y="5624625"/>
            <a:ext cx="2019600" cy="900000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C3F7B8-0B35-40FF-8CB7-4337CBF123A9}"/>
              </a:ext>
            </a:extLst>
          </p:cNvPr>
          <p:cNvSpPr/>
          <p:nvPr userDrawn="1"/>
        </p:nvSpPr>
        <p:spPr>
          <a:xfrm>
            <a:off x="0" y="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CCB27E3-026E-4103-AE04-0346F7EF5C2F}"/>
              </a:ext>
            </a:extLst>
          </p:cNvPr>
          <p:cNvSpPr/>
          <p:nvPr userDrawn="1"/>
        </p:nvSpPr>
        <p:spPr>
          <a:xfrm>
            <a:off x="11472000" y="-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418456522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ing slide-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E9670259-4695-428B-A004-7FC80D7094B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19400" y="1"/>
            <a:ext cx="107532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342000" tIns="342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552E04E-D25F-4B05-AD2F-C588430EFE7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40308" y="2569331"/>
            <a:ext cx="3511384" cy="156478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>
            <a:glow rad="571500">
              <a:schemeClr val="tx1">
                <a:alpha val="20000"/>
              </a:schemeClr>
            </a:glow>
          </a:effectLst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C3F7B8-0B35-40FF-8CB7-4337CBF123A9}"/>
              </a:ext>
            </a:extLst>
          </p:cNvPr>
          <p:cNvSpPr/>
          <p:nvPr userDrawn="1"/>
        </p:nvSpPr>
        <p:spPr>
          <a:xfrm>
            <a:off x="0" y="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CCB27E3-026E-4103-AE04-0346F7EF5C2F}"/>
              </a:ext>
            </a:extLst>
          </p:cNvPr>
          <p:cNvSpPr/>
          <p:nvPr userDrawn="1"/>
        </p:nvSpPr>
        <p:spPr>
          <a:xfrm>
            <a:off x="11472000" y="-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018133485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3979AE5-365E-4EEB-8F4C-F4E45C728AEF}"/>
              </a:ext>
            </a:extLst>
          </p:cNvPr>
          <p:cNvSpPr/>
          <p:nvPr userDrawn="1"/>
        </p:nvSpPr>
        <p:spPr>
          <a:xfrm>
            <a:off x="719400" y="-2"/>
            <a:ext cx="107532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E31FF5A-63AE-45A7-AF45-BF707B1A337A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14726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472600 w 12192000"/>
              <a:gd name="connsiteY3" fmla="*/ 6858000 h 6858000"/>
              <a:gd name="connsiteX4" fmla="*/ 0 w 12192000"/>
              <a:gd name="connsiteY4" fmla="*/ 0 h 6858000"/>
              <a:gd name="connsiteX5" fmla="*/ 719400 w 12192000"/>
              <a:gd name="connsiteY5" fmla="*/ 0 h 6858000"/>
              <a:gd name="connsiteX6" fmla="*/ 7194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14726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472600" y="6858000"/>
                </a:lnTo>
                <a:close/>
                <a:moveTo>
                  <a:pt x="0" y="0"/>
                </a:moveTo>
                <a:lnTo>
                  <a:pt x="719400" y="0"/>
                </a:lnTo>
                <a:lnTo>
                  <a:pt x="7194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08000" tIns="108000" rIns="115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99E31010-2D9D-4F4E-9267-AD318E40DB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116752" y="5624625"/>
            <a:ext cx="2018068" cy="899999"/>
          </a:xfrm>
          <a:prstGeom prst="rect">
            <a:avLst/>
          </a:prstGeom>
        </p:spPr>
      </p:pic>
      <p:sp>
        <p:nvSpPr>
          <p:cNvPr id="6" name="Subtitle 2">
            <a:extLst>
              <a:ext uri="{FF2B5EF4-FFF2-40B4-BE49-F238E27FC236}">
                <a16:creationId xmlns:a16="http://schemas.microsoft.com/office/drawing/2014/main" id="{B113A054-12CB-4197-89CB-FBA21D5F89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5688" y="4097865"/>
            <a:ext cx="5040312" cy="14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800" b="1" cap="none">
                <a:solidFill>
                  <a:schemeClr val="bg1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6pPr>
            <a:lvl7pPr marL="0" indent="0" algn="l">
              <a:buNone/>
              <a:defRPr sz="1800" b="1">
                <a:solidFill>
                  <a:schemeClr val="bg1"/>
                </a:solidFill>
              </a:defRPr>
            </a:lvl7pPr>
            <a:lvl8pPr marL="0" indent="0" algn="l">
              <a:buNone/>
              <a:defRPr sz="1800" b="1">
                <a:solidFill>
                  <a:schemeClr val="bg1"/>
                </a:solidFill>
              </a:defRPr>
            </a:lvl8pPr>
            <a:lvl9pPr marL="0" indent="0" algn="l">
              <a:buNone/>
              <a:defRPr sz="1800" b="1">
                <a:solidFill>
                  <a:schemeClr val="bg1"/>
                </a:solidFill>
              </a:defRPr>
            </a:lvl9pPr>
          </a:lstStyle>
          <a:p>
            <a:r>
              <a:rPr lang="en-AU"/>
              <a:t>Subtitle or presenters name and date</a:t>
            </a:r>
            <a:endParaRPr lang="en-GB"/>
          </a:p>
          <a:p>
            <a:pPr lvl="1"/>
            <a:r>
              <a:rPr lang="en-US"/>
              <a:t>2</a:t>
            </a:r>
          </a:p>
          <a:p>
            <a:pPr lvl="2"/>
            <a:r>
              <a:rPr lang="en-US"/>
              <a:t>3</a:t>
            </a:r>
          </a:p>
          <a:p>
            <a:pPr lvl="3"/>
            <a:r>
              <a:rPr lang="en-US"/>
              <a:t>4</a:t>
            </a:r>
          </a:p>
          <a:p>
            <a:pPr lvl="4"/>
            <a:r>
              <a:rPr lang="en-US"/>
              <a:t>5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287AC88-A942-4E4F-A359-307B996A79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1946566"/>
            <a:ext cx="10753200" cy="1620000"/>
          </a:xfrm>
          <a:noFill/>
        </p:spPr>
        <p:txBody>
          <a:bodyPr lIns="342000" tIns="342000" rIns="2160000" bIns="0" anchor="b" anchorCtr="0"/>
          <a:lstStyle>
            <a:lvl1pPr>
              <a:defRPr sz="4500" cap="all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98BCAB1-59A8-4C66-87FD-A76DA0651EF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</p:spTree>
    <p:extLst>
      <p:ext uri="{BB962C8B-B14F-4D97-AF65-F5344CB8AC3E}">
        <p14:creationId xmlns:p14="http://schemas.microsoft.com/office/powerpoint/2010/main" val="2269290768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l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E9670259-4695-428B-A004-7FC80D7094B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19400" y="1"/>
            <a:ext cx="107532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342000" tIns="342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F9144E-5217-4B9A-B2C1-83385827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1946566"/>
            <a:ext cx="10753200" cy="1620000"/>
          </a:xfrm>
          <a:noFill/>
        </p:spPr>
        <p:txBody>
          <a:bodyPr lIns="342000" tIns="342000" rIns="2160000" bIns="0" anchor="b" anchorCtr="0"/>
          <a:lstStyle>
            <a:lvl1pPr>
              <a:defRPr sz="4500" cap="all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113A054-12CB-4197-89CB-FBA21D5F89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5688" y="4097865"/>
            <a:ext cx="5040312" cy="14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800" b="1" cap="none">
                <a:solidFill>
                  <a:schemeClr val="bg2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6pPr>
            <a:lvl7pPr marL="0" indent="0" algn="l">
              <a:buNone/>
              <a:defRPr sz="1800" b="1">
                <a:solidFill>
                  <a:schemeClr val="bg2"/>
                </a:solidFill>
              </a:defRPr>
            </a:lvl7pPr>
            <a:lvl8pPr marL="0" indent="0" algn="l">
              <a:buNone/>
              <a:defRPr sz="1800" b="1">
                <a:solidFill>
                  <a:schemeClr val="bg2"/>
                </a:solidFill>
              </a:defRPr>
            </a:lvl8pPr>
            <a:lvl9pPr marL="0" indent="0" algn="l">
              <a:buNone/>
              <a:defRPr sz="1800" b="1">
                <a:solidFill>
                  <a:schemeClr val="bg2"/>
                </a:solidFill>
              </a:defRPr>
            </a:lvl9pPr>
          </a:lstStyle>
          <a:p>
            <a:r>
              <a:rPr lang="en-AU"/>
              <a:t>Subtitle or presenters name and date</a:t>
            </a:r>
            <a:endParaRPr lang="en-GB"/>
          </a:p>
          <a:p>
            <a:pPr lvl="1"/>
            <a:r>
              <a:rPr lang="en-US"/>
              <a:t>2</a:t>
            </a:r>
          </a:p>
          <a:p>
            <a:pPr lvl="2"/>
            <a:r>
              <a:rPr lang="en-US"/>
              <a:t>3</a:t>
            </a:r>
          </a:p>
          <a:p>
            <a:pPr lvl="3"/>
            <a:r>
              <a:rPr lang="en-US"/>
              <a:t>4</a:t>
            </a:r>
          </a:p>
          <a:p>
            <a:pPr lvl="4"/>
            <a:r>
              <a:rPr lang="en-US"/>
              <a:t>5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C3F7B8-0B35-40FF-8CB7-4337CBF123A9}"/>
              </a:ext>
            </a:extLst>
          </p:cNvPr>
          <p:cNvSpPr/>
          <p:nvPr userDrawn="1"/>
        </p:nvSpPr>
        <p:spPr>
          <a:xfrm>
            <a:off x="0" y="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CCB27E3-026E-4103-AE04-0346F7EF5C2F}"/>
              </a:ext>
            </a:extLst>
          </p:cNvPr>
          <p:cNvSpPr/>
          <p:nvPr userDrawn="1"/>
        </p:nvSpPr>
        <p:spPr>
          <a:xfrm>
            <a:off x="11472000" y="-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C4A1CEB9-11E9-4D44-B10D-C1106153B09E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6096000" y="3940935"/>
            <a:ext cx="5376000" cy="2917066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40000"/>
                </a:schemeClr>
              </a:gs>
            </a:gsLst>
            <a:lin ang="372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552E04E-D25F-4B05-AD2F-C588430EFE7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16713" y="5624625"/>
            <a:ext cx="2019600" cy="900000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6F98E5-C772-4C1B-AEA2-5FA88430480D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</p:spTree>
    <p:extLst>
      <p:ext uri="{BB962C8B-B14F-4D97-AF65-F5344CB8AC3E}">
        <p14:creationId xmlns:p14="http://schemas.microsoft.com/office/powerpoint/2010/main" val="3311071111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dark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E9670259-4695-428B-A004-7FC80D7094B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19400" y="1"/>
            <a:ext cx="107532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342000" tIns="342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FC044026-2D0A-4F4C-B231-B0EF94B3258C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6096000" y="3940935"/>
            <a:ext cx="5376000" cy="2917066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40000"/>
                </a:schemeClr>
              </a:gs>
            </a:gsLst>
            <a:lin ang="372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F9144E-5217-4B9A-B2C1-83385827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1946566"/>
            <a:ext cx="10753200" cy="1620000"/>
          </a:xfrm>
          <a:noFill/>
        </p:spPr>
        <p:txBody>
          <a:bodyPr lIns="342000" tIns="342000" rIns="2160000" bIns="0" anchor="b" anchorCtr="0"/>
          <a:lstStyle>
            <a:lvl1pPr>
              <a:defRPr sz="4500" cap="all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113A054-12CB-4197-89CB-FBA21D5F89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5688" y="4097865"/>
            <a:ext cx="5040312" cy="14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800" b="1" cap="none">
                <a:solidFill>
                  <a:schemeClr val="bg2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6pPr>
            <a:lvl7pPr marL="0" indent="0" algn="l">
              <a:buNone/>
              <a:defRPr sz="1800" b="1">
                <a:solidFill>
                  <a:schemeClr val="bg2"/>
                </a:solidFill>
              </a:defRPr>
            </a:lvl7pPr>
            <a:lvl8pPr marL="0" indent="0" algn="l">
              <a:buNone/>
              <a:defRPr sz="1800" b="1">
                <a:solidFill>
                  <a:schemeClr val="bg2"/>
                </a:solidFill>
              </a:defRPr>
            </a:lvl8pPr>
            <a:lvl9pPr marL="0" indent="0" algn="l">
              <a:buNone/>
              <a:defRPr sz="1800" b="1">
                <a:solidFill>
                  <a:schemeClr val="bg2"/>
                </a:solidFill>
              </a:defRPr>
            </a:lvl9pPr>
          </a:lstStyle>
          <a:p>
            <a:r>
              <a:rPr lang="en-AU"/>
              <a:t>Subtitle or presenters name and date</a:t>
            </a:r>
            <a:endParaRPr lang="en-GB"/>
          </a:p>
          <a:p>
            <a:pPr lvl="1"/>
            <a:r>
              <a:rPr lang="en-US"/>
              <a:t>2</a:t>
            </a:r>
          </a:p>
          <a:p>
            <a:pPr lvl="2"/>
            <a:r>
              <a:rPr lang="en-US"/>
              <a:t>3</a:t>
            </a:r>
          </a:p>
          <a:p>
            <a:pPr lvl="3"/>
            <a:r>
              <a:rPr lang="en-US"/>
              <a:t>4</a:t>
            </a:r>
          </a:p>
          <a:p>
            <a:pPr lvl="4"/>
            <a:r>
              <a:rPr lang="en-US"/>
              <a:t>5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GB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552E04E-D25F-4B05-AD2F-C588430EFE7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16713" y="5624625"/>
            <a:ext cx="2019600" cy="900000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C3F7B8-0B35-40FF-8CB7-4337CBF123A9}"/>
              </a:ext>
            </a:extLst>
          </p:cNvPr>
          <p:cNvSpPr/>
          <p:nvPr userDrawn="1"/>
        </p:nvSpPr>
        <p:spPr>
          <a:xfrm>
            <a:off x="0" y="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CCB27E3-026E-4103-AE04-0346F7EF5C2F}"/>
              </a:ext>
            </a:extLst>
          </p:cNvPr>
          <p:cNvSpPr/>
          <p:nvPr userDrawn="1"/>
        </p:nvSpPr>
        <p:spPr>
          <a:xfrm>
            <a:off x="11472000" y="-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1C0FFFF4-D9E3-4A0E-BB93-6DCF367821CD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1055688" y="6288257"/>
            <a:ext cx="7913940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</p:spTree>
    <p:extLst>
      <p:ext uri="{BB962C8B-B14F-4D97-AF65-F5344CB8AC3E}">
        <p14:creationId xmlns:p14="http://schemas.microsoft.com/office/powerpoint/2010/main" val="2975625155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E9670259-4695-428B-A004-7FC80D7094B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1062000" tIns="342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A57D46A-D8D7-49BF-9479-240175CDBE8A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7540580" y="1"/>
            <a:ext cx="4651420" cy="1673605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1740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F9144E-5217-4B9A-B2C1-83385827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2619000"/>
            <a:ext cx="9000000" cy="1620000"/>
          </a:xfrm>
          <a:noFill/>
        </p:spPr>
        <p:txBody>
          <a:bodyPr lIns="342000" tIns="0" rIns="2160000" bIns="0" anchor="ctr" anchorCtr="0"/>
          <a:lstStyle>
            <a:lvl1pPr>
              <a:defRPr sz="4500" cap="all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DC10E613-8E2B-4D31-ABB0-5128576B7EE8}"/>
              </a:ext>
            </a:extLst>
          </p:cNvPr>
          <p:cNvSpPr>
            <a:spLocks noGrp="1" noChangeAspect="1"/>
          </p:cNvSpPr>
          <p:nvPr>
            <p:ph type="body" sz="quarter" idx="16"/>
          </p:nvPr>
        </p:nvSpPr>
        <p:spPr>
          <a:xfrm>
            <a:off x="10849038" y="333375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765992470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2DC463D-2F1B-4364-A3E4-F6CD28DDD6E5}"/>
              </a:ext>
            </a:extLst>
          </p:cNvPr>
          <p:cNvSpPr/>
          <p:nvPr userDrawn="1"/>
        </p:nvSpPr>
        <p:spPr>
          <a:xfrm>
            <a:off x="0" y="0"/>
            <a:ext cx="12192000" cy="687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F9144E-5217-4B9A-B2C1-83385827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2619000"/>
            <a:ext cx="9000000" cy="1620000"/>
          </a:xfrm>
          <a:noFill/>
        </p:spPr>
        <p:txBody>
          <a:bodyPr lIns="342000" tIns="0" rIns="2160000" bIns="0" anchor="ctr" anchorCtr="0"/>
          <a:lstStyle>
            <a:lvl1pPr>
              <a:defRPr sz="4500" cap="all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5DE51C8-82A3-E04F-8E00-64119A7BC465}"/>
              </a:ext>
            </a:extLst>
          </p:cNvPr>
          <p:cNvSpPr>
            <a:spLocks noGrp="1" noChangeAspect="1"/>
          </p:cNvSpPr>
          <p:nvPr>
            <p:ph type="body" sz="quarter" idx="16"/>
          </p:nvPr>
        </p:nvSpPr>
        <p:spPr>
          <a:xfrm>
            <a:off x="10849038" y="333375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273045392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61B3790-BDEB-43E5-BF9C-3E8D289EECE8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9628" y="333375"/>
            <a:ext cx="10080000" cy="1080000"/>
          </a:xfrm>
        </p:spPr>
        <p:txBody>
          <a:bodyPr/>
          <a:lstStyle>
            <a:lvl1pPr>
              <a:defRPr cap="all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FEB565-49CC-408C-BDD2-C2590A4A642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49629" y="1880314"/>
            <a:ext cx="4320000" cy="3960000"/>
          </a:xfrm>
        </p:spPr>
        <p:txBody>
          <a:bodyPr/>
          <a:lstStyle>
            <a:lvl1pPr marL="288000" indent="-288000">
              <a:spcBef>
                <a:spcPts val="1200"/>
              </a:spcBef>
              <a:buFont typeface="+mj-lt"/>
              <a:buAutoNum type="arabicPeriod"/>
              <a:defRPr sz="2200"/>
            </a:lvl1pPr>
            <a:lvl2pPr marL="288000">
              <a:spcBef>
                <a:spcPts val="600"/>
              </a:spcBef>
              <a:spcAft>
                <a:spcPts val="600"/>
              </a:spcAft>
              <a:defRPr b="0" cap="none" baseline="0">
                <a:solidFill>
                  <a:schemeClr val="tx2"/>
                </a:solidFill>
              </a:defRPr>
            </a:lvl2pPr>
            <a:lvl3pPr marL="468000">
              <a:defRPr/>
            </a:lvl3pPr>
            <a:lvl4pPr marL="0" indent="0">
              <a:buNone/>
              <a:defRPr cap="all" baseline="0">
                <a:solidFill>
                  <a:schemeClr val="accent1"/>
                </a:solidFill>
                <a:latin typeface="+mj-lt"/>
              </a:defRPr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add Agenda item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5E5FA15F-A1ED-4F06-8C67-E1D73CF85C8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1880314"/>
            <a:ext cx="4320000" cy="3960000"/>
          </a:xfrm>
        </p:spPr>
        <p:txBody>
          <a:bodyPr/>
          <a:lstStyle>
            <a:lvl1pPr marL="288000" indent="-288000">
              <a:spcBef>
                <a:spcPts val="1200"/>
              </a:spcBef>
              <a:buFont typeface="+mj-lt"/>
              <a:buAutoNum type="arabicPeriod"/>
              <a:defRPr sz="2200"/>
            </a:lvl1pPr>
            <a:lvl2pPr marL="288000">
              <a:spcBef>
                <a:spcPts val="600"/>
              </a:spcBef>
              <a:spcAft>
                <a:spcPts val="600"/>
              </a:spcAft>
              <a:defRPr b="0" cap="none" baseline="0">
                <a:solidFill>
                  <a:schemeClr val="tx2"/>
                </a:solidFill>
              </a:defRPr>
            </a:lvl2pPr>
            <a:lvl3pPr marL="468000">
              <a:defRPr/>
            </a:lvl3pPr>
            <a:lvl4pPr marL="0" indent="0">
              <a:buNone/>
              <a:defRPr cap="all" baseline="0">
                <a:solidFill>
                  <a:schemeClr val="accent1"/>
                </a:solidFill>
                <a:latin typeface="+mj-lt"/>
              </a:defRPr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add Agenda item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98866983-58A4-4EC2-ADBC-AEEA6B9D69AB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8248903" y="6288257"/>
            <a:ext cx="1183557" cy="365125"/>
          </a:xfrm>
        </p:spPr>
        <p:txBody>
          <a:bodyPr/>
          <a:lstStyle/>
          <a:p>
            <a:endParaRPr lang="en-GB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F6B299B-0652-4E6B-BB65-0DE715526B4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55688" y="6288257"/>
            <a:ext cx="7193215" cy="365125"/>
          </a:xfrm>
        </p:spPr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42DCA20-AF8B-4853-AA2C-E5E7CD8D26F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8B1AC7E-46EA-441D-9455-6E65525B6A5A}"/>
              </a:ext>
            </a:extLst>
          </p:cNvPr>
          <p:cNvSpPr/>
          <p:nvPr userDrawn="1"/>
        </p:nvSpPr>
        <p:spPr>
          <a:xfrm>
            <a:off x="0" y="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C9469F0-045F-4A85-8721-359D41A43D06}"/>
              </a:ext>
            </a:extLst>
          </p:cNvPr>
          <p:cNvSpPr/>
          <p:nvPr userDrawn="1"/>
        </p:nvSpPr>
        <p:spPr>
          <a:xfrm>
            <a:off x="11472000" y="-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2179EAA8-E18E-42F9-924F-98FF7A3E70C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128313" y="333375"/>
            <a:ext cx="1008000" cy="448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0521430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880315"/>
            <a:ext cx="10080000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06AFE3-EE64-4522-825B-815C6A28E9F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CCCCDE7-B8EA-4773-A164-304D34F89D0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C4FDAA8-8585-4D16-87AD-3485D164648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140485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DF839851-A68A-C848-851A-E634C05697E1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chemeClr val="bg2">
              <a:lumMod val="40000"/>
              <a:lumOff val="60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2667"/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1372" y="1412776"/>
            <a:ext cx="5376597" cy="1143000"/>
          </a:xfrm>
        </p:spPr>
        <p:txBody>
          <a:bodyPr anchor="b" anchorCtr="0"/>
          <a:lstStyle>
            <a:lvl1pPr>
              <a:lnSpc>
                <a:spcPts val="2667"/>
              </a:lnSpc>
              <a:defRPr sz="2667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372" y="2948947"/>
            <a:ext cx="5376597" cy="3177216"/>
          </a:xfrm>
        </p:spPr>
        <p:txBody>
          <a:bodyPr/>
          <a:lstStyle>
            <a:lvl1pPr marL="16933" indent="0">
              <a:lnSpc>
                <a:spcPts val="1833"/>
              </a:lnSpc>
              <a:buNone/>
              <a:tabLst/>
              <a:defRPr sz="1600">
                <a:solidFill>
                  <a:schemeClr val="tx2"/>
                </a:solidFill>
              </a:defRPr>
            </a:lvl1pPr>
            <a:lvl2pPr marL="16933" indent="0">
              <a:lnSpc>
                <a:spcPts val="1833"/>
              </a:lnSpc>
              <a:buNone/>
              <a:tabLst/>
              <a:defRPr sz="1600">
                <a:solidFill>
                  <a:schemeClr val="tx2"/>
                </a:solidFill>
              </a:defRPr>
            </a:lvl2pPr>
            <a:lvl3pPr marL="16933" indent="0">
              <a:lnSpc>
                <a:spcPts val="1833"/>
              </a:lnSpc>
              <a:buNone/>
              <a:tabLst/>
              <a:defRPr sz="1600">
                <a:solidFill>
                  <a:schemeClr val="tx2"/>
                </a:solidFill>
              </a:defRPr>
            </a:lvl3pPr>
            <a:lvl4pPr marL="16933" indent="0">
              <a:lnSpc>
                <a:spcPts val="1833"/>
              </a:lnSpc>
              <a:buNone/>
              <a:tabLst/>
              <a:defRPr sz="1600">
                <a:solidFill>
                  <a:schemeClr val="tx2"/>
                </a:solidFill>
              </a:defRPr>
            </a:lvl4pPr>
            <a:lvl5pPr marL="16933" indent="0">
              <a:lnSpc>
                <a:spcPts val="1833"/>
              </a:lnSpc>
              <a:buNone/>
              <a:tabLst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err="1"/>
              <a:t>Seconda</a:t>
            </a:r>
            <a:r>
              <a:rPr lang="en-US"/>
              <a:t>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4934235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1312C68-9CDC-4DDF-AFFD-F813984EE08A}"/>
              </a:ext>
            </a:extLst>
          </p:cNvPr>
          <p:cNvSpPr/>
          <p:nvPr userDrawn="1"/>
        </p:nvSpPr>
        <p:spPr>
          <a:xfrm>
            <a:off x="0" y="-11798"/>
            <a:ext cx="12192000" cy="690814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880315"/>
            <a:ext cx="10080000" cy="396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  <a:lvl6pPr>
              <a:defRPr>
                <a:solidFill>
                  <a:schemeClr val="bg2"/>
                </a:solidFill>
              </a:defRPr>
            </a:lvl6pPr>
            <a:lvl7pPr>
              <a:defRPr>
                <a:solidFill>
                  <a:schemeClr val="bg2"/>
                </a:solidFill>
              </a:defRPr>
            </a:lvl7pPr>
            <a:lvl8pPr>
              <a:defRPr>
                <a:solidFill>
                  <a:schemeClr val="bg2"/>
                </a:solidFill>
              </a:defRPr>
            </a:lvl8pPr>
            <a:lvl9pPr>
              <a:defRPr>
                <a:solidFill>
                  <a:schemeClr val="bg2"/>
                </a:solidFill>
              </a:defRPr>
            </a:lvl9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06AFE3-EE64-4522-825B-815C6A28E9F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CCCCDE7-B8EA-4773-A164-304D34F89D0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C4FDAA8-8585-4D16-87AD-3485D164648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13531284-6BE9-BD4E-988C-3BBCE7CCAE7F}"/>
              </a:ext>
            </a:extLst>
          </p:cNvPr>
          <p:cNvSpPr>
            <a:spLocks noGrp="1" noChangeAspect="1"/>
          </p:cNvSpPr>
          <p:nvPr>
            <p:ph type="body" sz="quarter" idx="18"/>
          </p:nvPr>
        </p:nvSpPr>
        <p:spPr>
          <a:xfrm>
            <a:off x="10849038" y="333375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56357055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880315"/>
            <a:ext cx="4680000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06AFE3-EE64-4522-825B-815C6A28E9F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CCCCDE7-B8EA-4773-A164-304D34F89D0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C4FDAA8-8585-4D16-87AD-3485D164648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9FAA2598-9FF1-4FD4-A0B9-1D5412ADF05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734962" y="1880315"/>
            <a:ext cx="4680000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68391712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F17809F-093D-4878-B686-CA14CFB80D98}"/>
              </a:ext>
            </a:extLst>
          </p:cNvPr>
          <p:cNvSpPr/>
          <p:nvPr userDrawn="1"/>
        </p:nvSpPr>
        <p:spPr>
          <a:xfrm>
            <a:off x="0" y="-1"/>
            <a:ext cx="12192000" cy="687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880315"/>
            <a:ext cx="4680000" cy="396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06AFE3-EE64-4522-825B-815C6A28E9F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CCCCDE7-B8EA-4773-A164-304D34F89D0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C4FDAA8-8585-4D16-87AD-3485D164648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9FAA2598-9FF1-4FD4-A0B9-1D5412ADF05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734962" y="1880315"/>
            <a:ext cx="4680000" cy="396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50471501-2B09-C34C-8512-8323391D9F9A}"/>
              </a:ext>
            </a:extLst>
          </p:cNvPr>
          <p:cNvSpPr>
            <a:spLocks noGrp="1" noChangeAspect="1"/>
          </p:cNvSpPr>
          <p:nvPr>
            <p:ph type="body" sz="quarter" idx="19"/>
          </p:nvPr>
        </p:nvSpPr>
        <p:spPr>
          <a:xfrm>
            <a:off x="10849038" y="333375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49236542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lef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450744" y="1880315"/>
            <a:ext cx="4691628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23DD628-AE63-4907-AF4B-6B53C077707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4963" y="1880314"/>
            <a:ext cx="5761037" cy="4644311"/>
          </a:xfrm>
          <a:prstGeom prst="roundRect">
            <a:avLst>
              <a:gd name="adj" fmla="val 1982"/>
            </a:avLst>
          </a:prstGeom>
          <a:solidFill>
            <a:schemeClr val="bg1">
              <a:lumMod val="85000"/>
            </a:schemeClr>
          </a:solidFill>
        </p:spPr>
        <p:txBody>
          <a:bodyPr lIns="342000" tIns="342000" rIns="342000" bIns="342000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AU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6453E03-EC16-4564-B43B-27855EB9BD2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450744" y="6288257"/>
            <a:ext cx="4320000" cy="365125"/>
          </a:xfrm>
        </p:spPr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A913BC-780A-4949-92A0-B5967D36080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459140" y="6159500"/>
            <a:ext cx="727410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3689459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16EF975B-AD72-4CB0-A546-757A6175A51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83255" y="1880314"/>
            <a:ext cx="5761038" cy="4644311"/>
          </a:xfrm>
          <a:prstGeom prst="roundRect">
            <a:avLst>
              <a:gd name="adj" fmla="val 1982"/>
            </a:avLst>
          </a:prstGeom>
          <a:solidFill>
            <a:schemeClr val="bg1">
              <a:lumMod val="85000"/>
            </a:schemeClr>
          </a:solidFill>
        </p:spPr>
        <p:txBody>
          <a:bodyPr lIns="342000" tIns="342000" rIns="342000" bIns="342000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AU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880315"/>
            <a:ext cx="4691628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C94176C4-3B30-43F2-91DE-33D09AEA7B5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A95B7BCF-DC6C-46BC-B3D2-2F18F9BC75D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547064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-full wid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23DD628-AE63-4907-AF4B-6B53C077707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4963" y="1880314"/>
            <a:ext cx="11509330" cy="4644311"/>
          </a:xfrm>
          <a:prstGeom prst="roundRect">
            <a:avLst>
              <a:gd name="adj" fmla="val 1982"/>
            </a:avLst>
          </a:prstGeom>
          <a:solidFill>
            <a:schemeClr val="bg1">
              <a:lumMod val="85000"/>
            </a:schemeClr>
          </a:solidFill>
        </p:spPr>
        <p:txBody>
          <a:bodyPr lIns="342000" tIns="342000" rIns="342000" bIns="342000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AU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6E7A7DD-8C14-4B85-B39F-1E990E1FFE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333375"/>
            <a:ext cx="5761038" cy="108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7D8FAF2-858C-419E-A577-F0425218264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15444" y="333375"/>
            <a:ext cx="3600000" cy="126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D048DB48-6039-4A0D-ACBF-D5EB8DD358F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459140" y="6159500"/>
            <a:ext cx="727410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39370715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-full ble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0">
            <a:extLst>
              <a:ext uri="{FF2B5EF4-FFF2-40B4-BE49-F238E27FC236}">
                <a16:creationId xmlns:a16="http://schemas.microsoft.com/office/drawing/2014/main" id="{5AF6F1E8-5ECE-4267-92B5-43C3523BCBE3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1062000" tIns="360000" rIns="4320000" bIns="360000" anchor="ctr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8390923A-6BDB-44C8-9456-CEB6E0A0A293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7540580" y="1"/>
            <a:ext cx="4651420" cy="1673605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1740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36FF9FCE-BF48-40F0-8FF3-3252AB1CF679}"/>
              </a:ext>
            </a:extLst>
          </p:cNvPr>
          <p:cNvSpPr>
            <a:spLocks noGrp="1" noChangeAspect="1"/>
          </p:cNvSpPr>
          <p:nvPr>
            <p:ph type="body" sz="quarter" idx="16"/>
          </p:nvPr>
        </p:nvSpPr>
        <p:spPr>
          <a:xfrm>
            <a:off x="10849038" y="333375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6E7A7DD-8C14-4B85-B39F-1E990E1FFE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333375"/>
            <a:ext cx="5761038" cy="108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7D8FAF2-858C-419E-A577-F0425218264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15444" y="333375"/>
            <a:ext cx="3600000" cy="126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  <a:lvl6pPr>
              <a:defRPr>
                <a:solidFill>
                  <a:schemeClr val="bg2"/>
                </a:solidFill>
              </a:defRPr>
            </a:lvl6pPr>
            <a:lvl7pPr>
              <a:defRPr>
                <a:solidFill>
                  <a:schemeClr val="bg2"/>
                </a:solidFill>
              </a:defRPr>
            </a:lvl7pPr>
            <a:lvl8pPr>
              <a:defRPr>
                <a:solidFill>
                  <a:schemeClr val="bg2"/>
                </a:solidFill>
              </a:defRPr>
            </a:lvl8pPr>
            <a:lvl9pPr>
              <a:defRPr>
                <a:solidFill>
                  <a:schemeClr val="bg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E0AD6A4-0D42-4CCD-B0CB-498EE201FE4E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21E9B0E-B319-4C6F-97AF-0F8D83942F0C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65D74DCF-D99B-4098-B297-0BD016160D35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16571394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right 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23DD628-AE63-4907-AF4B-6B53C077707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0"/>
            <a:ext cx="6096000" cy="6858000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</p:spPr>
        <p:txBody>
          <a:bodyPr lIns="342000" tIns="342000" rIns="1440000" bIns="342000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AU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EB2F477-266C-4C9D-A64F-287BA3F4CF3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4962" y="1880314"/>
            <a:ext cx="5220000" cy="396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771A36E-45E1-4553-9842-66EF392719C7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844884" y="1880314"/>
            <a:ext cx="2160000" cy="396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7D669EEE-6563-477F-A4CD-D425F6140F00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347256" y="1880314"/>
            <a:ext cx="2160000" cy="396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A5DE353-D720-4A1F-9ECC-89FB139059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2218" y="333375"/>
            <a:ext cx="5220000" cy="108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913AB32-E310-49A2-9A47-2348F6B61E52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6266A723-640D-4EFF-93D1-1E964694156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C4DEE883-581D-4AC9-9251-8929D0C8E380}"/>
              </a:ext>
            </a:extLst>
          </p:cNvPr>
          <p:cNvSpPr>
            <a:spLocks noGrp="1" noChangeAspect="1"/>
          </p:cNvSpPr>
          <p:nvPr>
            <p:ph type="body" sz="quarter" idx="25"/>
          </p:nvPr>
        </p:nvSpPr>
        <p:spPr>
          <a:xfrm>
            <a:off x="7540580" y="1"/>
            <a:ext cx="4651420" cy="1673605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1740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44C9A43E-093B-42AD-B427-BA16E45D56B6}"/>
              </a:ext>
            </a:extLst>
          </p:cNvPr>
          <p:cNvSpPr>
            <a:spLocks noGrp="1" noChangeAspect="1"/>
          </p:cNvSpPr>
          <p:nvPr>
            <p:ph type="body" sz="quarter" idx="26"/>
          </p:nvPr>
        </p:nvSpPr>
        <p:spPr>
          <a:xfrm>
            <a:off x="10849038" y="333375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290052413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7F07ECCF-5EE7-4BA4-BD7C-50DF82C3F5BF}"/>
              </a:ext>
            </a:extLst>
          </p:cNvPr>
          <p:cNvSpPr/>
          <p:nvPr userDrawn="1"/>
        </p:nvSpPr>
        <p:spPr>
          <a:xfrm>
            <a:off x="0" y="0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10080000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08DD2E7-C8BF-4E45-AE9F-C1389B7B38D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963" y="2600315"/>
            <a:ext cx="2160000" cy="3240000"/>
          </a:xfrm>
        </p:spPr>
        <p:txBody>
          <a:bodyPr/>
          <a:lstStyle>
            <a:lvl1pPr>
              <a:defRPr sz="1600" cap="all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 b="0" cap="none" baseline="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D7BC8491-CCAE-458C-BD6D-862F904604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979212" y="2600315"/>
            <a:ext cx="2160000" cy="3240000"/>
          </a:xfrm>
        </p:spPr>
        <p:txBody>
          <a:bodyPr/>
          <a:lstStyle>
            <a:lvl1pPr>
              <a:defRPr sz="1600" cap="all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 b="0" cap="none" baseline="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B036190F-67DD-4555-BB1F-179E8E9C46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23461" y="2600315"/>
            <a:ext cx="2160000" cy="3240000"/>
          </a:xfrm>
        </p:spPr>
        <p:txBody>
          <a:bodyPr/>
          <a:lstStyle>
            <a:lvl1pPr>
              <a:defRPr sz="1600" cap="all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 b="0" cap="none" baseline="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F1044E10-4BD7-47DE-8A5A-57C9557A0B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67709" y="2600315"/>
            <a:ext cx="2160000" cy="3240000"/>
          </a:xfrm>
        </p:spPr>
        <p:txBody>
          <a:bodyPr/>
          <a:lstStyle>
            <a:lvl1pPr>
              <a:defRPr sz="1600" cap="all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 b="0" cap="none" baseline="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B900929-35E2-4B6A-A4BF-9E02733E3AB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6B47C34-75D5-42A4-8A99-FADDAF9BBA6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67B0344-E805-4D5F-B3FB-AF95BC74870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49792A8A-88CD-4947-B7C8-CF7FA124B20A}"/>
              </a:ext>
            </a:extLst>
          </p:cNvPr>
          <p:cNvSpPr>
            <a:spLocks noGrp="1" noChangeAspect="1"/>
          </p:cNvSpPr>
          <p:nvPr>
            <p:ph type="body" sz="quarter" idx="23"/>
          </p:nvPr>
        </p:nvSpPr>
        <p:spPr>
          <a:xfrm>
            <a:off x="10849038" y="333375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822617426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7F07ECCF-5EE7-4BA4-BD7C-50DF82C3F5BF}"/>
              </a:ext>
            </a:extLst>
          </p:cNvPr>
          <p:cNvSpPr/>
          <p:nvPr userDrawn="1"/>
        </p:nvSpPr>
        <p:spPr>
          <a:xfrm>
            <a:off x="0" y="0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F1044E10-4BD7-47DE-8A5A-57C9557A0B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42214" y="2106271"/>
            <a:ext cx="4507572" cy="2281251"/>
          </a:xfrm>
        </p:spPr>
        <p:txBody>
          <a:bodyPr/>
          <a:lstStyle>
            <a:lvl1pPr>
              <a:defRPr sz="2800" cap="none" baseline="0">
                <a:solidFill>
                  <a:schemeClr val="accent1"/>
                </a:solidFill>
                <a:latin typeface="+mj-lt"/>
              </a:defRPr>
            </a:lvl1pPr>
            <a:lvl2pPr algn="l">
              <a:spcBef>
                <a:spcPts val="600"/>
              </a:spcBef>
              <a:defRPr sz="1600" b="0" cap="none" baseline="0">
                <a:solidFill>
                  <a:schemeClr val="accent1"/>
                </a:solidFill>
              </a:defRPr>
            </a:lvl2pPr>
            <a:lvl3pPr algn="l">
              <a:defRPr sz="1600" cap="none">
                <a:solidFill>
                  <a:schemeClr val="accent1"/>
                </a:solidFill>
              </a:defRPr>
            </a:lvl3pPr>
            <a:lvl4pPr algn="l">
              <a:defRPr sz="1600" cap="none">
                <a:solidFill>
                  <a:schemeClr val="accent1"/>
                </a:solidFill>
              </a:defRPr>
            </a:lvl4pPr>
            <a:lvl5pPr algn="l">
              <a:defRPr sz="1600" cap="none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CCFA2A9-BC18-4CF8-AD38-42B263119472}"/>
              </a:ext>
            </a:extLst>
          </p:cNvPr>
          <p:cNvSpPr txBox="1"/>
          <p:nvPr userDrawn="1"/>
        </p:nvSpPr>
        <p:spPr>
          <a:xfrm>
            <a:off x="2756995" y="1307904"/>
            <a:ext cx="914033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2000">
                <a:solidFill>
                  <a:schemeClr val="accent1"/>
                </a:solidFill>
                <a:latin typeface="+mj-lt"/>
              </a:rPr>
              <a:t>“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9C98CC0-E077-4ADE-8BC2-9559518E22D8}"/>
              </a:ext>
            </a:extLst>
          </p:cNvPr>
          <p:cNvSpPr txBox="1"/>
          <p:nvPr userDrawn="1"/>
        </p:nvSpPr>
        <p:spPr>
          <a:xfrm>
            <a:off x="7755716" y="3692995"/>
            <a:ext cx="1643399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2000">
                <a:solidFill>
                  <a:schemeClr val="tx2"/>
                </a:solidFill>
                <a:latin typeface="+mj-lt"/>
              </a:rPr>
              <a:t>“</a:t>
            </a:r>
            <a:r>
              <a:rPr lang="en-AU" sz="12000">
                <a:solidFill>
                  <a:schemeClr val="accent1"/>
                </a:solidFill>
                <a:latin typeface="+mj-lt"/>
              </a:rPr>
              <a:t>”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25A78CB-C25F-477B-ACB8-7A8C3B33F7D7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0DC4922-3AFC-43D6-9996-17D5CAC06E9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54801EF-D4C3-4D21-A7DC-76D432B0F00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7E00BA3E-95EC-1C47-9AC2-327806835F07}"/>
              </a:ext>
            </a:extLst>
          </p:cNvPr>
          <p:cNvSpPr>
            <a:spLocks noGrp="1" noChangeAspect="1"/>
          </p:cNvSpPr>
          <p:nvPr>
            <p:ph type="body" sz="quarter" idx="16"/>
          </p:nvPr>
        </p:nvSpPr>
        <p:spPr>
          <a:xfrm>
            <a:off x="10849038" y="333375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50448283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DF839851-A68A-C848-851A-E634C05697E1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-11099" y="0"/>
            <a:ext cx="6096000" cy="6858000"/>
          </a:xfrm>
          <a:solidFill>
            <a:schemeClr val="bg2">
              <a:lumMod val="40000"/>
              <a:lumOff val="60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 sz="2667"/>
            </a:lvl1pPr>
          </a:lstStyle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2AEB8C0-6D5A-3642-9515-5FB7F4A247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27372" y="2084851"/>
            <a:ext cx="5237429" cy="4320480"/>
          </a:xfrm>
        </p:spPr>
        <p:txBody>
          <a:bodyPr numCol="2"/>
          <a:lstStyle>
            <a:lvl1pPr marL="12700" indent="0">
              <a:lnSpc>
                <a:spcPts val="1533"/>
              </a:lnSpc>
              <a:buNone/>
              <a:tabLst/>
              <a:defRPr sz="1300">
                <a:solidFill>
                  <a:schemeClr val="tx2"/>
                </a:solidFill>
              </a:defRPr>
            </a:lvl1pPr>
            <a:lvl2pPr marL="12700" indent="0">
              <a:lnSpc>
                <a:spcPts val="1533"/>
              </a:lnSpc>
              <a:buNone/>
              <a:tabLst/>
              <a:defRPr sz="1300">
                <a:solidFill>
                  <a:schemeClr val="tx2"/>
                </a:solidFill>
              </a:defRPr>
            </a:lvl2pPr>
            <a:lvl3pPr marL="12700" indent="0">
              <a:lnSpc>
                <a:spcPts val="1533"/>
              </a:lnSpc>
              <a:buNone/>
              <a:tabLst/>
              <a:defRPr sz="1300">
                <a:solidFill>
                  <a:schemeClr val="tx2"/>
                </a:solidFill>
              </a:defRPr>
            </a:lvl3pPr>
            <a:lvl4pPr marL="12700" indent="0">
              <a:lnSpc>
                <a:spcPts val="1533"/>
              </a:lnSpc>
              <a:buNone/>
              <a:tabLst/>
              <a:defRPr sz="1300">
                <a:solidFill>
                  <a:schemeClr val="tx2"/>
                </a:solidFill>
              </a:defRPr>
            </a:lvl4pPr>
            <a:lvl5pPr marL="12700" indent="0">
              <a:lnSpc>
                <a:spcPts val="1533"/>
              </a:lnSpc>
              <a:buNone/>
              <a:tabLst/>
              <a:defRPr sz="13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1381572-364A-324B-85C4-A4292327A8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371" y="504681"/>
            <a:ext cx="4896544" cy="1143000"/>
          </a:xfrm>
        </p:spPr>
        <p:txBody>
          <a:bodyPr anchor="b" anchorCtr="0"/>
          <a:lstStyle>
            <a:lvl1pPr>
              <a:lnSpc>
                <a:spcPts val="2667"/>
              </a:lnSpc>
              <a:defRPr sz="2667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A39C15B-91CD-134F-8F67-49BE70C14BD2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527372" y="740701"/>
            <a:ext cx="5237429" cy="960107"/>
          </a:xfrm>
        </p:spPr>
        <p:txBody>
          <a:bodyPr/>
          <a:lstStyle>
            <a:lvl1pPr marL="16933" indent="0">
              <a:lnSpc>
                <a:spcPts val="1833"/>
              </a:lnSpc>
              <a:buNone/>
              <a:tabLst/>
              <a:defRPr sz="1600">
                <a:solidFill>
                  <a:schemeClr val="tx2"/>
                </a:solidFill>
              </a:defRPr>
            </a:lvl1pPr>
            <a:lvl2pPr marL="16933" indent="0">
              <a:lnSpc>
                <a:spcPts val="1833"/>
              </a:lnSpc>
              <a:buNone/>
              <a:tabLst/>
              <a:defRPr sz="1600">
                <a:solidFill>
                  <a:schemeClr val="tx2"/>
                </a:solidFill>
              </a:defRPr>
            </a:lvl2pPr>
            <a:lvl3pPr marL="16933" indent="0">
              <a:lnSpc>
                <a:spcPts val="1833"/>
              </a:lnSpc>
              <a:buNone/>
              <a:tabLst/>
              <a:defRPr sz="1600">
                <a:solidFill>
                  <a:schemeClr val="tx2"/>
                </a:solidFill>
              </a:defRPr>
            </a:lvl3pPr>
            <a:lvl4pPr marL="16933" indent="0">
              <a:buNone/>
              <a:tabLst/>
              <a:defRPr sz="1600">
                <a:solidFill>
                  <a:schemeClr val="tx2"/>
                </a:solidFill>
              </a:defRPr>
            </a:lvl4pPr>
            <a:lvl5pPr marL="16933" indent="0">
              <a:buNone/>
              <a:tabLst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7548665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10794666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5EE857-4C7E-47C5-A433-5F303A10690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963" y="1413375"/>
            <a:ext cx="10794665" cy="72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3" name="Table Placeholder 12">
            <a:extLst>
              <a:ext uri="{FF2B5EF4-FFF2-40B4-BE49-F238E27FC236}">
                <a16:creationId xmlns:a16="http://schemas.microsoft.com/office/drawing/2014/main" id="{12720170-841B-4714-B671-AE40B2FE0283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334963" y="2243443"/>
            <a:ext cx="10794665" cy="3600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table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4E7EDCB-670C-46CB-A20E-159535CC5C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D18779D-2EB2-4254-A93E-7459659F2BB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8B347AD-5E50-42AC-AFB4-7F625291AB6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0407963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10801351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5EE857-4C7E-47C5-A433-5F303A10690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964" y="1413375"/>
            <a:ext cx="10801350" cy="72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D1ECE4F1-33EB-4137-BED8-59885BB39C47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334963" y="2243442"/>
            <a:ext cx="10801350" cy="3599999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778F5DE-1344-42BD-82D0-6611DD7B1FC6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D0D518F-1062-474E-BA48-10EA56B2C55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2C63567-251B-4660-ADF6-37AB6DCF01D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20556134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D583ABC-22A1-400D-B5EB-018BF7A1B892}"/>
              </a:ext>
            </a:extLst>
          </p:cNvPr>
          <p:cNvSpPr/>
          <p:nvPr userDrawn="1"/>
        </p:nvSpPr>
        <p:spPr>
          <a:xfrm>
            <a:off x="0" y="0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10794666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5EE857-4C7E-47C5-A433-5F303A10690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963" y="1413375"/>
            <a:ext cx="10794665" cy="72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3" name="Table Placeholder 12">
            <a:extLst>
              <a:ext uri="{FF2B5EF4-FFF2-40B4-BE49-F238E27FC236}">
                <a16:creationId xmlns:a16="http://schemas.microsoft.com/office/drawing/2014/main" id="{12720170-841B-4714-B671-AE40B2FE0283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334963" y="2243443"/>
            <a:ext cx="10794665" cy="3600000"/>
          </a:xfrm>
        </p:spPr>
        <p:txBody>
          <a:bodyPr anchor="ctr" anchorCtr="0"/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4E7EDCB-670C-46CB-A20E-159535CC5C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D18779D-2EB2-4254-A93E-7459659F2BB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8B347AD-5E50-42AC-AFB4-7F625291AB6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37ADFEC-1009-E74F-BF45-0942A2AC8772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10849038" y="333375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6024917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C60C8A8-1B70-4653-94B4-DE00B5C785B3}"/>
              </a:ext>
            </a:extLst>
          </p:cNvPr>
          <p:cNvSpPr/>
          <p:nvPr userDrawn="1"/>
        </p:nvSpPr>
        <p:spPr>
          <a:xfrm>
            <a:off x="0" y="0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10801351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5EE857-4C7E-47C5-A433-5F303A10690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964" y="1413375"/>
            <a:ext cx="10801350" cy="72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D1ECE4F1-33EB-4137-BED8-59885BB39C47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334963" y="2243442"/>
            <a:ext cx="10801350" cy="3599999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778F5DE-1344-42BD-82D0-6611DD7B1FC6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D0D518F-1062-474E-BA48-10EA56B2C55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2C63567-251B-4660-ADF6-37AB6DCF01D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A3FF1CD0-9CAF-AC4A-8BD8-B3F2D6F6D323}"/>
              </a:ext>
            </a:extLst>
          </p:cNvPr>
          <p:cNvSpPr>
            <a:spLocks noGrp="1" noChangeAspect="1"/>
          </p:cNvSpPr>
          <p:nvPr>
            <p:ph type="body" sz="quarter" idx="16"/>
          </p:nvPr>
        </p:nvSpPr>
        <p:spPr>
          <a:xfrm>
            <a:off x="10849038" y="333375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38169285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76849F14-4971-4208-82A8-1F0513897926}"/>
              </a:ext>
            </a:extLst>
          </p:cNvPr>
          <p:cNvSpPr/>
          <p:nvPr userDrawn="1"/>
        </p:nvSpPr>
        <p:spPr>
          <a:xfrm>
            <a:off x="719400" y="-2"/>
            <a:ext cx="107532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096AA35B-6D3E-4809-9D78-9CF31081E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9400" y="-2"/>
            <a:ext cx="4680000" cy="4068000"/>
          </a:xfrm>
          <a:solidFill>
            <a:schemeClr val="tx2"/>
          </a:solidFill>
        </p:spPr>
        <p:txBody>
          <a:bodyPr lIns="342000" tIns="342000" rIns="0" bIns="504000" anchor="b" anchorCtr="0"/>
          <a:lstStyle>
            <a:lvl1pPr>
              <a:defRPr sz="4500">
                <a:solidFill>
                  <a:schemeClr val="accent1"/>
                </a:solidFill>
              </a:defRPr>
            </a:lvl1pPr>
          </a:lstStyle>
          <a:p>
            <a:r>
              <a:rPr lang="en-US"/>
              <a:t>Thank you</a:t>
            </a:r>
            <a:endParaRPr lang="en-AU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FD95F930-CD55-469B-9FD0-1150DA73B39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-2"/>
            <a:ext cx="12192000" cy="6876000"/>
          </a:xfrm>
          <a:custGeom>
            <a:avLst/>
            <a:gdLst>
              <a:gd name="connsiteX0" fmla="*/ 114726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472600 w 12192000"/>
              <a:gd name="connsiteY3" fmla="*/ 6858000 h 6858000"/>
              <a:gd name="connsiteX4" fmla="*/ 0 w 12192000"/>
              <a:gd name="connsiteY4" fmla="*/ 0 h 6858000"/>
              <a:gd name="connsiteX5" fmla="*/ 719400 w 12192000"/>
              <a:gd name="connsiteY5" fmla="*/ 0 h 6858000"/>
              <a:gd name="connsiteX6" fmla="*/ 7194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14726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472600" y="6858000"/>
                </a:lnTo>
                <a:close/>
                <a:moveTo>
                  <a:pt x="0" y="0"/>
                </a:moveTo>
                <a:lnTo>
                  <a:pt x="719400" y="0"/>
                </a:lnTo>
                <a:lnTo>
                  <a:pt x="7194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08000" tIns="108000" rIns="115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F8BC909C-567D-4F9C-A0DF-D05DE8F82075}"/>
              </a:ext>
            </a:extLst>
          </p:cNvPr>
          <p:cNvSpPr>
            <a:spLocks noChangeAspect="1"/>
          </p:cNvSpPr>
          <p:nvPr/>
        </p:nvSpPr>
        <p:spPr>
          <a:xfrm>
            <a:off x="7916652" y="4591756"/>
            <a:ext cx="242382" cy="242382"/>
          </a:xfrm>
          <a:custGeom>
            <a:avLst/>
            <a:gdLst>
              <a:gd name="connsiteX0" fmla="*/ 357950 w 809625"/>
              <a:gd name="connsiteY0" fmla="*/ 333375 h 809625"/>
              <a:gd name="connsiteX1" fmla="*/ 480537 w 809625"/>
              <a:gd name="connsiteY1" fmla="*/ 397002 h 809625"/>
              <a:gd name="connsiteX2" fmla="*/ 357950 w 809625"/>
              <a:gd name="connsiteY2" fmla="*/ 460439 h 809625"/>
              <a:gd name="connsiteX3" fmla="*/ 242887 w 809625"/>
              <a:gd name="connsiteY3" fmla="*/ 249555 h 809625"/>
              <a:gd name="connsiteX4" fmla="*/ 178117 w 809625"/>
              <a:gd name="connsiteY4" fmla="*/ 314325 h 809625"/>
              <a:gd name="connsiteX5" fmla="*/ 178117 w 809625"/>
              <a:gd name="connsiteY5" fmla="*/ 495300 h 809625"/>
              <a:gd name="connsiteX6" fmla="*/ 242887 w 809625"/>
              <a:gd name="connsiteY6" fmla="*/ 560070 h 809625"/>
              <a:gd name="connsiteX7" fmla="*/ 566737 w 809625"/>
              <a:gd name="connsiteY7" fmla="*/ 560070 h 809625"/>
              <a:gd name="connsiteX8" fmla="*/ 631507 w 809625"/>
              <a:gd name="connsiteY8" fmla="*/ 495300 h 809625"/>
              <a:gd name="connsiteX9" fmla="*/ 631507 w 809625"/>
              <a:gd name="connsiteY9" fmla="*/ 314325 h 809625"/>
              <a:gd name="connsiteX10" fmla="*/ 566737 w 809625"/>
              <a:gd name="connsiteY10" fmla="*/ 249555 h 809625"/>
              <a:gd name="connsiteX11" fmla="*/ 404813 w 809625"/>
              <a:gd name="connsiteY11" fmla="*/ 0 h 809625"/>
              <a:gd name="connsiteX12" fmla="*/ 809625 w 809625"/>
              <a:gd name="connsiteY12" fmla="*/ 404813 h 809625"/>
              <a:gd name="connsiteX13" fmla="*/ 404813 w 809625"/>
              <a:gd name="connsiteY13" fmla="*/ 809625 h 809625"/>
              <a:gd name="connsiteX14" fmla="*/ 0 w 809625"/>
              <a:gd name="connsiteY14" fmla="*/ 404813 h 809625"/>
              <a:gd name="connsiteX15" fmla="*/ 404813 w 809625"/>
              <a:gd name="connsiteY15" fmla="*/ 0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809625" h="809625">
                <a:moveTo>
                  <a:pt x="357950" y="333375"/>
                </a:moveTo>
                <a:lnTo>
                  <a:pt x="480537" y="397002"/>
                </a:lnTo>
                <a:lnTo>
                  <a:pt x="357950" y="460439"/>
                </a:lnTo>
                <a:close/>
                <a:moveTo>
                  <a:pt x="242887" y="249555"/>
                </a:moveTo>
                <a:cubicBezTo>
                  <a:pt x="207159" y="249660"/>
                  <a:pt x="178222" y="278597"/>
                  <a:pt x="178117" y="314325"/>
                </a:cubicBezTo>
                <a:lnTo>
                  <a:pt x="178117" y="495300"/>
                </a:lnTo>
                <a:cubicBezTo>
                  <a:pt x="178222" y="531028"/>
                  <a:pt x="207159" y="559965"/>
                  <a:pt x="242887" y="560070"/>
                </a:cubicBezTo>
                <a:lnTo>
                  <a:pt x="566737" y="560070"/>
                </a:lnTo>
                <a:cubicBezTo>
                  <a:pt x="602465" y="559965"/>
                  <a:pt x="631402" y="531028"/>
                  <a:pt x="631507" y="495300"/>
                </a:cubicBezTo>
                <a:lnTo>
                  <a:pt x="631507" y="314325"/>
                </a:lnTo>
                <a:cubicBezTo>
                  <a:pt x="631402" y="278597"/>
                  <a:pt x="602465" y="249660"/>
                  <a:pt x="566737" y="249555"/>
                </a:cubicBezTo>
                <a:close/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2487C176-18A9-4BB0-BD80-DEC34233A800}"/>
              </a:ext>
            </a:extLst>
          </p:cNvPr>
          <p:cNvSpPr>
            <a:spLocks noChangeAspect="1"/>
          </p:cNvSpPr>
          <p:nvPr/>
        </p:nvSpPr>
        <p:spPr>
          <a:xfrm>
            <a:off x="8298996" y="4591756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495146 w 809625"/>
              <a:gd name="connsiteY5" fmla="*/ 220645 h 809625"/>
              <a:gd name="connsiteX6" fmla="*/ 428527 w 809625"/>
              <a:gd name="connsiteY6" fmla="*/ 245841 h 809625"/>
              <a:gd name="connsiteX7" fmla="*/ 399192 w 809625"/>
              <a:gd name="connsiteY7" fmla="*/ 313563 h 809625"/>
              <a:gd name="connsiteX8" fmla="*/ 401573 w 809625"/>
              <a:gd name="connsiteY8" fmla="*/ 334803 h 809625"/>
              <a:gd name="connsiteX9" fmla="*/ 209549 w 809625"/>
              <a:gd name="connsiteY9" fmla="*/ 238125 h 809625"/>
              <a:gd name="connsiteX10" fmla="*/ 238124 w 809625"/>
              <a:gd name="connsiteY10" fmla="*/ 361950 h 809625"/>
              <a:gd name="connsiteX11" fmla="*/ 195928 w 809625"/>
              <a:gd name="connsiteY11" fmla="*/ 350329 h 809625"/>
              <a:gd name="connsiteX12" fmla="*/ 195929 w 809625"/>
              <a:gd name="connsiteY12" fmla="*/ 351567 h 809625"/>
              <a:gd name="connsiteX13" fmla="*/ 270605 w 809625"/>
              <a:gd name="connsiteY13" fmla="*/ 442722 h 809625"/>
              <a:gd name="connsiteX14" fmla="*/ 228599 w 809625"/>
              <a:gd name="connsiteY14" fmla="*/ 444341 h 809625"/>
              <a:gd name="connsiteX15" fmla="*/ 315467 w 809625"/>
              <a:gd name="connsiteY15" fmla="*/ 508920 h 809625"/>
              <a:gd name="connsiteX16" fmla="*/ 200024 w 809625"/>
              <a:gd name="connsiteY16" fmla="*/ 548544 h 809625"/>
              <a:gd name="connsiteX17" fmla="*/ 177831 w 809625"/>
              <a:gd name="connsiteY17" fmla="*/ 547211 h 809625"/>
              <a:gd name="connsiteX18" fmla="*/ 320706 w 809625"/>
              <a:gd name="connsiteY18" fmla="*/ 589026 h 809625"/>
              <a:gd name="connsiteX19" fmla="*/ 585406 w 809625"/>
              <a:gd name="connsiteY19" fmla="*/ 324421 h 809625"/>
              <a:gd name="connsiteX20" fmla="*/ 585406 w 809625"/>
              <a:gd name="connsiteY20" fmla="*/ 312324 h 809625"/>
              <a:gd name="connsiteX21" fmla="*/ 631507 w 809625"/>
              <a:gd name="connsiteY21" fmla="*/ 264223 h 809625"/>
              <a:gd name="connsiteX22" fmla="*/ 578072 w 809625"/>
              <a:gd name="connsiteY22" fmla="*/ 278892 h 809625"/>
              <a:gd name="connsiteX23" fmla="*/ 619124 w 809625"/>
              <a:gd name="connsiteY23" fmla="*/ 227361 h 809625"/>
              <a:gd name="connsiteX24" fmla="*/ 560069 w 809625"/>
              <a:gd name="connsiteY24" fmla="*/ 249936 h 809625"/>
              <a:gd name="connsiteX25" fmla="*/ 495146 w 809625"/>
              <a:gd name="connsiteY25" fmla="*/ 220645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495146" y="220645"/>
                </a:moveTo>
                <a:cubicBezTo>
                  <a:pt x="471342" y="219904"/>
                  <a:pt x="447255" y="228245"/>
                  <a:pt x="428527" y="245841"/>
                </a:cubicBezTo>
                <a:cubicBezTo>
                  <a:pt x="409833" y="263407"/>
                  <a:pt x="399219" y="287911"/>
                  <a:pt x="399192" y="313563"/>
                </a:cubicBezTo>
                <a:cubicBezTo>
                  <a:pt x="399204" y="320709"/>
                  <a:pt x="400003" y="327832"/>
                  <a:pt x="401573" y="334803"/>
                </a:cubicBezTo>
                <a:cubicBezTo>
                  <a:pt x="326768" y="331204"/>
                  <a:pt x="256991" y="296073"/>
                  <a:pt x="209549" y="238125"/>
                </a:cubicBezTo>
                <a:cubicBezTo>
                  <a:pt x="185023" y="280491"/>
                  <a:pt x="197513" y="334615"/>
                  <a:pt x="238124" y="361950"/>
                </a:cubicBezTo>
                <a:cubicBezTo>
                  <a:pt x="223336" y="361482"/>
                  <a:pt x="208871" y="357499"/>
                  <a:pt x="195928" y="350329"/>
                </a:cubicBezTo>
                <a:lnTo>
                  <a:pt x="195929" y="351567"/>
                </a:lnTo>
                <a:cubicBezTo>
                  <a:pt x="195962" y="395849"/>
                  <a:pt x="227195" y="433974"/>
                  <a:pt x="270605" y="442722"/>
                </a:cubicBezTo>
                <a:cubicBezTo>
                  <a:pt x="256901" y="446399"/>
                  <a:pt x="242546" y="446952"/>
                  <a:pt x="228599" y="444341"/>
                </a:cubicBezTo>
                <a:cubicBezTo>
                  <a:pt x="240745" y="482243"/>
                  <a:pt x="275672" y="508209"/>
                  <a:pt x="315467" y="508920"/>
                </a:cubicBezTo>
                <a:cubicBezTo>
                  <a:pt x="282513" y="534690"/>
                  <a:pt x="241858" y="548644"/>
                  <a:pt x="200024" y="548544"/>
                </a:cubicBezTo>
                <a:cubicBezTo>
                  <a:pt x="192607" y="548536"/>
                  <a:pt x="185196" y="548091"/>
                  <a:pt x="177831" y="547211"/>
                </a:cubicBezTo>
                <a:cubicBezTo>
                  <a:pt x="220421" y="574649"/>
                  <a:pt x="270043" y="589172"/>
                  <a:pt x="320706" y="589026"/>
                </a:cubicBezTo>
                <a:cubicBezTo>
                  <a:pt x="492156" y="589026"/>
                  <a:pt x="585406" y="447294"/>
                  <a:pt x="585406" y="324421"/>
                </a:cubicBezTo>
                <a:cubicBezTo>
                  <a:pt x="585406" y="320325"/>
                  <a:pt x="585406" y="316325"/>
                  <a:pt x="585406" y="312324"/>
                </a:cubicBezTo>
                <a:cubicBezTo>
                  <a:pt x="603503" y="299151"/>
                  <a:pt x="619113" y="282863"/>
                  <a:pt x="631507" y="264223"/>
                </a:cubicBezTo>
                <a:cubicBezTo>
                  <a:pt x="614513" y="271713"/>
                  <a:pt x="596508" y="276656"/>
                  <a:pt x="578072" y="278892"/>
                </a:cubicBezTo>
                <a:cubicBezTo>
                  <a:pt x="597588" y="267302"/>
                  <a:pt x="612190" y="248974"/>
                  <a:pt x="619124" y="227361"/>
                </a:cubicBezTo>
                <a:cubicBezTo>
                  <a:pt x="600877" y="238213"/>
                  <a:pt x="580902" y="245848"/>
                  <a:pt x="560069" y="249936"/>
                </a:cubicBezTo>
                <a:cubicBezTo>
                  <a:pt x="542473" y="231209"/>
                  <a:pt x="518951" y="221387"/>
                  <a:pt x="495146" y="22064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41393088-2A2D-4F19-A536-4C5B46718A69}"/>
              </a:ext>
            </a:extLst>
          </p:cNvPr>
          <p:cNvSpPr>
            <a:spLocks noChangeAspect="1"/>
          </p:cNvSpPr>
          <p:nvPr/>
        </p:nvSpPr>
        <p:spPr>
          <a:xfrm>
            <a:off x="8681340" y="4591756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230981 w 809625"/>
              <a:gd name="connsiteY5" fmla="*/ 177069 h 809625"/>
              <a:gd name="connsiteX6" fmla="*/ 176498 w 809625"/>
              <a:gd name="connsiteY6" fmla="*/ 231552 h 809625"/>
              <a:gd name="connsiteX7" fmla="*/ 230981 w 809625"/>
              <a:gd name="connsiteY7" fmla="*/ 286035 h 809625"/>
              <a:gd name="connsiteX8" fmla="*/ 285464 w 809625"/>
              <a:gd name="connsiteY8" fmla="*/ 231552 h 809625"/>
              <a:gd name="connsiteX9" fmla="*/ 230981 w 809625"/>
              <a:gd name="connsiteY9" fmla="*/ 177069 h 809625"/>
              <a:gd name="connsiteX10" fmla="*/ 517493 w 809625"/>
              <a:gd name="connsiteY10" fmla="*/ 319849 h 809625"/>
              <a:gd name="connsiteX11" fmla="*/ 428625 w 809625"/>
              <a:gd name="connsiteY11" fmla="*/ 368617 h 809625"/>
              <a:gd name="connsiteX12" fmla="*/ 426910 w 809625"/>
              <a:gd name="connsiteY12" fmla="*/ 368617 h 809625"/>
              <a:gd name="connsiteX13" fmla="*/ 426910 w 809625"/>
              <a:gd name="connsiteY13" fmla="*/ 327278 h 809625"/>
              <a:gd name="connsiteX14" fmla="*/ 336899 w 809625"/>
              <a:gd name="connsiteY14" fmla="*/ 327278 h 809625"/>
              <a:gd name="connsiteX15" fmla="*/ 336899 w 809625"/>
              <a:gd name="connsiteY15" fmla="*/ 629602 h 809625"/>
              <a:gd name="connsiteX16" fmla="*/ 430720 w 809625"/>
              <a:gd name="connsiteY16" fmla="*/ 629602 h 809625"/>
              <a:gd name="connsiteX17" fmla="*/ 430720 w 809625"/>
              <a:gd name="connsiteY17" fmla="*/ 480059 h 809625"/>
              <a:gd name="connsiteX18" fmla="*/ 487108 w 809625"/>
              <a:gd name="connsiteY18" fmla="*/ 402430 h 809625"/>
              <a:gd name="connsiteX19" fmla="*/ 535876 w 809625"/>
              <a:gd name="connsiteY19" fmla="*/ 482631 h 809625"/>
              <a:gd name="connsiteX20" fmla="*/ 535876 w 809625"/>
              <a:gd name="connsiteY20" fmla="*/ 629602 h 809625"/>
              <a:gd name="connsiteX21" fmla="*/ 630174 w 809625"/>
              <a:gd name="connsiteY21" fmla="*/ 629602 h 809625"/>
              <a:gd name="connsiteX22" fmla="*/ 630174 w 809625"/>
              <a:gd name="connsiteY22" fmla="*/ 463771 h 809625"/>
              <a:gd name="connsiteX23" fmla="*/ 517493 w 809625"/>
              <a:gd name="connsiteY23" fmla="*/ 319849 h 809625"/>
              <a:gd name="connsiteX24" fmla="*/ 183927 w 809625"/>
              <a:gd name="connsiteY24" fmla="*/ 327278 h 809625"/>
              <a:gd name="connsiteX25" fmla="*/ 183927 w 809625"/>
              <a:gd name="connsiteY25" fmla="*/ 629602 h 809625"/>
              <a:gd name="connsiteX26" fmla="*/ 277939 w 809625"/>
              <a:gd name="connsiteY26" fmla="*/ 629602 h 809625"/>
              <a:gd name="connsiteX27" fmla="*/ 277939 w 809625"/>
              <a:gd name="connsiteY27" fmla="*/ 327278 h 809625"/>
              <a:gd name="connsiteX28" fmla="*/ 183927 w 809625"/>
              <a:gd name="connsiteY28" fmla="*/ 327278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230981" y="177069"/>
                </a:moveTo>
                <a:cubicBezTo>
                  <a:pt x="200891" y="177069"/>
                  <a:pt x="176498" y="201462"/>
                  <a:pt x="176498" y="231552"/>
                </a:cubicBezTo>
                <a:cubicBezTo>
                  <a:pt x="176498" y="261642"/>
                  <a:pt x="200891" y="286035"/>
                  <a:pt x="230981" y="286035"/>
                </a:cubicBezTo>
                <a:cubicBezTo>
                  <a:pt x="261071" y="286035"/>
                  <a:pt x="285464" y="261642"/>
                  <a:pt x="285464" y="231552"/>
                </a:cubicBezTo>
                <a:cubicBezTo>
                  <a:pt x="285464" y="201462"/>
                  <a:pt x="261071" y="177069"/>
                  <a:pt x="230981" y="177069"/>
                </a:cubicBezTo>
                <a:close/>
                <a:moveTo>
                  <a:pt x="517493" y="319849"/>
                </a:moveTo>
                <a:cubicBezTo>
                  <a:pt x="481146" y="318484"/>
                  <a:pt x="446996" y="337225"/>
                  <a:pt x="428625" y="368617"/>
                </a:cubicBezTo>
                <a:lnTo>
                  <a:pt x="426910" y="368617"/>
                </a:lnTo>
                <a:lnTo>
                  <a:pt x="426910" y="327278"/>
                </a:lnTo>
                <a:lnTo>
                  <a:pt x="336899" y="327278"/>
                </a:lnTo>
                <a:lnTo>
                  <a:pt x="336899" y="629602"/>
                </a:lnTo>
                <a:lnTo>
                  <a:pt x="430720" y="629602"/>
                </a:lnTo>
                <a:lnTo>
                  <a:pt x="430720" y="480059"/>
                </a:lnTo>
                <a:cubicBezTo>
                  <a:pt x="430720" y="440530"/>
                  <a:pt x="438912" y="402430"/>
                  <a:pt x="487108" y="402430"/>
                </a:cubicBezTo>
                <a:cubicBezTo>
                  <a:pt x="535305" y="402430"/>
                  <a:pt x="535876" y="447579"/>
                  <a:pt x="535876" y="482631"/>
                </a:cubicBezTo>
                <a:lnTo>
                  <a:pt x="535876" y="629602"/>
                </a:lnTo>
                <a:lnTo>
                  <a:pt x="630174" y="629602"/>
                </a:lnTo>
                <a:lnTo>
                  <a:pt x="630174" y="463771"/>
                </a:lnTo>
                <a:cubicBezTo>
                  <a:pt x="630174" y="382428"/>
                  <a:pt x="612743" y="319849"/>
                  <a:pt x="517493" y="319849"/>
                </a:cubicBezTo>
                <a:close/>
                <a:moveTo>
                  <a:pt x="183927" y="327278"/>
                </a:moveTo>
                <a:lnTo>
                  <a:pt x="183927" y="629602"/>
                </a:lnTo>
                <a:lnTo>
                  <a:pt x="277939" y="629602"/>
                </a:lnTo>
                <a:lnTo>
                  <a:pt x="277939" y="327278"/>
                </a:lnTo>
                <a:lnTo>
                  <a:pt x="183927" y="32727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F1F78FC3-536A-4C34-B2A3-95085DF38A8D}"/>
              </a:ext>
            </a:extLst>
          </p:cNvPr>
          <p:cNvSpPr>
            <a:spLocks noChangeAspect="1"/>
          </p:cNvSpPr>
          <p:nvPr/>
        </p:nvSpPr>
        <p:spPr>
          <a:xfrm>
            <a:off x="9063685" y="4591756"/>
            <a:ext cx="242382" cy="242382"/>
          </a:xfrm>
          <a:custGeom>
            <a:avLst/>
            <a:gdLst>
              <a:gd name="connsiteX0" fmla="*/ 404812 w 809625"/>
              <a:gd name="connsiteY0" fmla="*/ 288417 h 809625"/>
              <a:gd name="connsiteX1" fmla="*/ 288417 w 809625"/>
              <a:gd name="connsiteY1" fmla="*/ 404812 h 809625"/>
              <a:gd name="connsiteX2" fmla="*/ 404812 w 809625"/>
              <a:gd name="connsiteY2" fmla="*/ 521208 h 809625"/>
              <a:gd name="connsiteX3" fmla="*/ 521208 w 809625"/>
              <a:gd name="connsiteY3" fmla="*/ 404812 h 809625"/>
              <a:gd name="connsiteX4" fmla="*/ 404812 w 809625"/>
              <a:gd name="connsiteY4" fmla="*/ 288417 h 809625"/>
              <a:gd name="connsiteX5" fmla="*/ 525780 w 809625"/>
              <a:gd name="connsiteY5" fmla="*/ 256603 h 809625"/>
              <a:gd name="connsiteX6" fmla="*/ 498538 w 809625"/>
              <a:gd name="connsiteY6" fmla="*/ 283844 h 809625"/>
              <a:gd name="connsiteX7" fmla="*/ 525780 w 809625"/>
              <a:gd name="connsiteY7" fmla="*/ 311086 h 809625"/>
              <a:gd name="connsiteX8" fmla="*/ 553021 w 809625"/>
              <a:gd name="connsiteY8" fmla="*/ 283844 h 809625"/>
              <a:gd name="connsiteX9" fmla="*/ 525780 w 809625"/>
              <a:gd name="connsiteY9" fmla="*/ 256603 h 809625"/>
              <a:gd name="connsiteX10" fmla="*/ 404812 w 809625"/>
              <a:gd name="connsiteY10" fmla="*/ 219075 h 809625"/>
              <a:gd name="connsiteX11" fmla="*/ 496443 w 809625"/>
              <a:gd name="connsiteY11" fmla="*/ 220408 h 809625"/>
              <a:gd name="connsiteX12" fmla="*/ 538543 w 809625"/>
              <a:gd name="connsiteY12" fmla="*/ 228218 h 809625"/>
              <a:gd name="connsiteX13" fmla="*/ 581501 w 809625"/>
              <a:gd name="connsiteY13" fmla="*/ 271176 h 809625"/>
              <a:gd name="connsiteX14" fmla="*/ 589311 w 809625"/>
              <a:gd name="connsiteY14" fmla="*/ 313277 h 809625"/>
              <a:gd name="connsiteX15" fmla="*/ 590645 w 809625"/>
              <a:gd name="connsiteY15" fmla="*/ 404907 h 809625"/>
              <a:gd name="connsiteX16" fmla="*/ 589311 w 809625"/>
              <a:gd name="connsiteY16" fmla="*/ 496538 h 809625"/>
              <a:gd name="connsiteX17" fmla="*/ 581501 w 809625"/>
              <a:gd name="connsiteY17" fmla="*/ 538638 h 809625"/>
              <a:gd name="connsiteX18" fmla="*/ 538543 w 809625"/>
              <a:gd name="connsiteY18" fmla="*/ 581596 h 809625"/>
              <a:gd name="connsiteX19" fmla="*/ 496443 w 809625"/>
              <a:gd name="connsiteY19" fmla="*/ 589406 h 809625"/>
              <a:gd name="connsiteX20" fmla="*/ 404812 w 809625"/>
              <a:gd name="connsiteY20" fmla="*/ 590740 h 809625"/>
              <a:gd name="connsiteX21" fmla="*/ 313182 w 809625"/>
              <a:gd name="connsiteY21" fmla="*/ 589407 h 809625"/>
              <a:gd name="connsiteX22" fmla="*/ 271081 w 809625"/>
              <a:gd name="connsiteY22" fmla="*/ 581596 h 809625"/>
              <a:gd name="connsiteX23" fmla="*/ 228600 w 809625"/>
              <a:gd name="connsiteY23" fmla="*/ 538543 h 809625"/>
              <a:gd name="connsiteX24" fmla="*/ 220789 w 809625"/>
              <a:gd name="connsiteY24" fmla="*/ 496443 h 809625"/>
              <a:gd name="connsiteX25" fmla="*/ 219075 w 809625"/>
              <a:gd name="connsiteY25" fmla="*/ 404812 h 809625"/>
              <a:gd name="connsiteX26" fmla="*/ 220408 w 809625"/>
              <a:gd name="connsiteY26" fmla="*/ 313182 h 809625"/>
              <a:gd name="connsiteX27" fmla="*/ 228600 w 809625"/>
              <a:gd name="connsiteY27" fmla="*/ 271081 h 809625"/>
              <a:gd name="connsiteX28" fmla="*/ 271081 w 809625"/>
              <a:gd name="connsiteY28" fmla="*/ 228600 h 809625"/>
              <a:gd name="connsiteX29" fmla="*/ 313181 w 809625"/>
              <a:gd name="connsiteY29" fmla="*/ 220789 h 809625"/>
              <a:gd name="connsiteX30" fmla="*/ 404812 w 809625"/>
              <a:gd name="connsiteY30" fmla="*/ 219075 h 809625"/>
              <a:gd name="connsiteX31" fmla="*/ 405669 w 809625"/>
              <a:gd name="connsiteY31" fmla="*/ 177736 h 809625"/>
              <a:gd name="connsiteX32" fmla="*/ 404812 w 809625"/>
              <a:gd name="connsiteY32" fmla="*/ 178212 h 809625"/>
              <a:gd name="connsiteX33" fmla="*/ 311372 w 809625"/>
              <a:gd name="connsiteY33" fmla="*/ 179546 h 809625"/>
              <a:gd name="connsiteX34" fmla="*/ 256317 w 809625"/>
              <a:gd name="connsiteY34" fmla="*/ 190500 h 809625"/>
              <a:gd name="connsiteX35" fmla="*/ 189642 w 809625"/>
              <a:gd name="connsiteY35" fmla="*/ 257175 h 809625"/>
              <a:gd name="connsiteX36" fmla="*/ 179069 w 809625"/>
              <a:gd name="connsiteY36" fmla="*/ 312229 h 809625"/>
              <a:gd name="connsiteX37" fmla="*/ 177736 w 809625"/>
              <a:gd name="connsiteY37" fmla="*/ 405669 h 809625"/>
              <a:gd name="connsiteX38" fmla="*/ 179069 w 809625"/>
              <a:gd name="connsiteY38" fmla="*/ 499110 h 809625"/>
              <a:gd name="connsiteX39" fmla="*/ 190500 w 809625"/>
              <a:gd name="connsiteY39" fmla="*/ 553307 h 809625"/>
              <a:gd name="connsiteX40" fmla="*/ 257175 w 809625"/>
              <a:gd name="connsiteY40" fmla="*/ 619982 h 809625"/>
              <a:gd name="connsiteX41" fmla="*/ 312229 w 809625"/>
              <a:gd name="connsiteY41" fmla="*/ 630554 h 809625"/>
              <a:gd name="connsiteX42" fmla="*/ 405669 w 809625"/>
              <a:gd name="connsiteY42" fmla="*/ 631888 h 809625"/>
              <a:gd name="connsiteX43" fmla="*/ 499110 w 809625"/>
              <a:gd name="connsiteY43" fmla="*/ 630554 h 809625"/>
              <a:gd name="connsiteX44" fmla="*/ 554164 w 809625"/>
              <a:gd name="connsiteY44" fmla="*/ 619982 h 809625"/>
              <a:gd name="connsiteX45" fmla="*/ 620839 w 809625"/>
              <a:gd name="connsiteY45" fmla="*/ 553307 h 809625"/>
              <a:gd name="connsiteX46" fmla="*/ 631412 w 809625"/>
              <a:gd name="connsiteY46" fmla="*/ 498252 h 809625"/>
              <a:gd name="connsiteX47" fmla="*/ 632745 w 809625"/>
              <a:gd name="connsiteY47" fmla="*/ 404812 h 809625"/>
              <a:gd name="connsiteX48" fmla="*/ 631412 w 809625"/>
              <a:gd name="connsiteY48" fmla="*/ 311372 h 809625"/>
              <a:gd name="connsiteX49" fmla="*/ 620839 w 809625"/>
              <a:gd name="connsiteY49" fmla="*/ 256317 h 809625"/>
              <a:gd name="connsiteX50" fmla="*/ 554164 w 809625"/>
              <a:gd name="connsiteY50" fmla="*/ 189642 h 809625"/>
              <a:gd name="connsiteX51" fmla="*/ 499110 w 809625"/>
              <a:gd name="connsiteY51" fmla="*/ 179069 h 809625"/>
              <a:gd name="connsiteX52" fmla="*/ 405669 w 809625"/>
              <a:gd name="connsiteY52" fmla="*/ 177736 h 809625"/>
              <a:gd name="connsiteX53" fmla="*/ 404813 w 809625"/>
              <a:gd name="connsiteY53" fmla="*/ 0 h 809625"/>
              <a:gd name="connsiteX54" fmla="*/ 809625 w 809625"/>
              <a:gd name="connsiteY54" fmla="*/ 404813 h 809625"/>
              <a:gd name="connsiteX55" fmla="*/ 404813 w 809625"/>
              <a:gd name="connsiteY55" fmla="*/ 809625 h 809625"/>
              <a:gd name="connsiteX56" fmla="*/ 0 w 809625"/>
              <a:gd name="connsiteY56" fmla="*/ 404813 h 809625"/>
              <a:gd name="connsiteX57" fmla="*/ 404813 w 809625"/>
              <a:gd name="connsiteY57" fmla="*/ 0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809625" h="809625">
                <a:moveTo>
                  <a:pt x="404812" y="288417"/>
                </a:moveTo>
                <a:cubicBezTo>
                  <a:pt x="340529" y="288417"/>
                  <a:pt x="288417" y="340529"/>
                  <a:pt x="288417" y="404812"/>
                </a:cubicBezTo>
                <a:cubicBezTo>
                  <a:pt x="288417" y="469096"/>
                  <a:pt x="340529" y="521208"/>
                  <a:pt x="404812" y="521208"/>
                </a:cubicBezTo>
                <a:cubicBezTo>
                  <a:pt x="469096" y="521208"/>
                  <a:pt x="521208" y="469096"/>
                  <a:pt x="521208" y="404812"/>
                </a:cubicBezTo>
                <a:cubicBezTo>
                  <a:pt x="521208" y="340529"/>
                  <a:pt x="469096" y="288417"/>
                  <a:pt x="404812" y="288417"/>
                </a:cubicBezTo>
                <a:close/>
                <a:moveTo>
                  <a:pt x="525780" y="256603"/>
                </a:moveTo>
                <a:cubicBezTo>
                  <a:pt x="510734" y="256603"/>
                  <a:pt x="498538" y="268799"/>
                  <a:pt x="498538" y="283844"/>
                </a:cubicBezTo>
                <a:cubicBezTo>
                  <a:pt x="498538" y="298890"/>
                  <a:pt x="510734" y="311086"/>
                  <a:pt x="525780" y="311086"/>
                </a:cubicBezTo>
                <a:cubicBezTo>
                  <a:pt x="540825" y="311086"/>
                  <a:pt x="553021" y="298890"/>
                  <a:pt x="553021" y="283844"/>
                </a:cubicBezTo>
                <a:cubicBezTo>
                  <a:pt x="553021" y="268799"/>
                  <a:pt x="540825" y="256603"/>
                  <a:pt x="525780" y="256603"/>
                </a:cubicBezTo>
                <a:close/>
                <a:moveTo>
                  <a:pt x="404812" y="219075"/>
                </a:moveTo>
                <a:cubicBezTo>
                  <a:pt x="465296" y="219075"/>
                  <a:pt x="472535" y="219075"/>
                  <a:pt x="496443" y="220408"/>
                </a:cubicBezTo>
                <a:cubicBezTo>
                  <a:pt x="510824" y="220533"/>
                  <a:pt x="525073" y="223177"/>
                  <a:pt x="538543" y="228218"/>
                </a:cubicBezTo>
                <a:cubicBezTo>
                  <a:pt x="558257" y="235874"/>
                  <a:pt x="573845" y="251463"/>
                  <a:pt x="581501" y="271176"/>
                </a:cubicBezTo>
                <a:cubicBezTo>
                  <a:pt x="586542" y="284646"/>
                  <a:pt x="589186" y="298895"/>
                  <a:pt x="589311" y="313277"/>
                </a:cubicBezTo>
                <a:cubicBezTo>
                  <a:pt x="590454" y="337185"/>
                  <a:pt x="590645" y="344424"/>
                  <a:pt x="590645" y="404907"/>
                </a:cubicBezTo>
                <a:cubicBezTo>
                  <a:pt x="590645" y="465391"/>
                  <a:pt x="590645" y="472630"/>
                  <a:pt x="589311" y="496538"/>
                </a:cubicBezTo>
                <a:cubicBezTo>
                  <a:pt x="589186" y="510920"/>
                  <a:pt x="586543" y="525168"/>
                  <a:pt x="581501" y="538638"/>
                </a:cubicBezTo>
                <a:cubicBezTo>
                  <a:pt x="573845" y="558352"/>
                  <a:pt x="558257" y="573940"/>
                  <a:pt x="538543" y="581596"/>
                </a:cubicBezTo>
                <a:cubicBezTo>
                  <a:pt x="525073" y="586638"/>
                  <a:pt x="510824" y="589281"/>
                  <a:pt x="496443" y="589406"/>
                </a:cubicBezTo>
                <a:cubicBezTo>
                  <a:pt x="472535" y="590550"/>
                  <a:pt x="465391" y="590740"/>
                  <a:pt x="404812" y="590740"/>
                </a:cubicBezTo>
                <a:cubicBezTo>
                  <a:pt x="344233" y="590740"/>
                  <a:pt x="337089" y="590740"/>
                  <a:pt x="313182" y="589407"/>
                </a:cubicBezTo>
                <a:cubicBezTo>
                  <a:pt x="298800" y="589281"/>
                  <a:pt x="284551" y="586638"/>
                  <a:pt x="271081" y="581596"/>
                </a:cubicBezTo>
                <a:cubicBezTo>
                  <a:pt x="251529" y="573808"/>
                  <a:pt x="236125" y="558197"/>
                  <a:pt x="228600" y="538543"/>
                </a:cubicBezTo>
                <a:cubicBezTo>
                  <a:pt x="223558" y="525073"/>
                  <a:pt x="220914" y="510824"/>
                  <a:pt x="220789" y="496443"/>
                </a:cubicBezTo>
                <a:cubicBezTo>
                  <a:pt x="219075" y="472535"/>
                  <a:pt x="219075" y="465296"/>
                  <a:pt x="219075" y="404812"/>
                </a:cubicBezTo>
                <a:cubicBezTo>
                  <a:pt x="219075" y="344328"/>
                  <a:pt x="219075" y="337089"/>
                  <a:pt x="220408" y="313182"/>
                </a:cubicBezTo>
                <a:cubicBezTo>
                  <a:pt x="220655" y="298777"/>
                  <a:pt x="223428" y="284527"/>
                  <a:pt x="228600" y="271081"/>
                </a:cubicBezTo>
                <a:cubicBezTo>
                  <a:pt x="236258" y="251643"/>
                  <a:pt x="251643" y="236258"/>
                  <a:pt x="271081" y="228600"/>
                </a:cubicBezTo>
                <a:cubicBezTo>
                  <a:pt x="284551" y="223558"/>
                  <a:pt x="298800" y="220914"/>
                  <a:pt x="313181" y="220789"/>
                </a:cubicBezTo>
                <a:cubicBezTo>
                  <a:pt x="337089" y="219075"/>
                  <a:pt x="344328" y="219075"/>
                  <a:pt x="404812" y="219075"/>
                </a:cubicBezTo>
                <a:close/>
                <a:moveTo>
                  <a:pt x="405669" y="177736"/>
                </a:moveTo>
                <a:lnTo>
                  <a:pt x="404812" y="178212"/>
                </a:lnTo>
                <a:cubicBezTo>
                  <a:pt x="343281" y="178212"/>
                  <a:pt x="335565" y="178212"/>
                  <a:pt x="311372" y="179546"/>
                </a:cubicBezTo>
                <a:cubicBezTo>
                  <a:pt x="292533" y="180057"/>
                  <a:pt x="273917" y="183760"/>
                  <a:pt x="256317" y="190500"/>
                </a:cubicBezTo>
                <a:cubicBezTo>
                  <a:pt x="225602" y="202200"/>
                  <a:pt x="201343" y="226459"/>
                  <a:pt x="189642" y="257175"/>
                </a:cubicBezTo>
                <a:cubicBezTo>
                  <a:pt x="183033" y="274797"/>
                  <a:pt x="179458" y="293412"/>
                  <a:pt x="179069" y="312229"/>
                </a:cubicBezTo>
                <a:cubicBezTo>
                  <a:pt x="178022" y="336423"/>
                  <a:pt x="177736" y="344138"/>
                  <a:pt x="177736" y="405669"/>
                </a:cubicBezTo>
                <a:cubicBezTo>
                  <a:pt x="177736" y="467201"/>
                  <a:pt x="177736" y="474916"/>
                  <a:pt x="179069" y="499110"/>
                </a:cubicBezTo>
                <a:cubicBezTo>
                  <a:pt x="179828" y="517687"/>
                  <a:pt x="183692" y="536005"/>
                  <a:pt x="190500" y="553307"/>
                </a:cubicBezTo>
                <a:cubicBezTo>
                  <a:pt x="202200" y="584022"/>
                  <a:pt x="226459" y="608281"/>
                  <a:pt x="257175" y="619982"/>
                </a:cubicBezTo>
                <a:cubicBezTo>
                  <a:pt x="274797" y="626591"/>
                  <a:pt x="293412" y="630165"/>
                  <a:pt x="312229" y="630554"/>
                </a:cubicBezTo>
                <a:cubicBezTo>
                  <a:pt x="336423" y="631602"/>
                  <a:pt x="344138" y="631888"/>
                  <a:pt x="405669" y="631888"/>
                </a:cubicBezTo>
                <a:cubicBezTo>
                  <a:pt x="467201" y="631888"/>
                  <a:pt x="474916" y="631888"/>
                  <a:pt x="499110" y="630554"/>
                </a:cubicBezTo>
                <a:cubicBezTo>
                  <a:pt x="517927" y="630165"/>
                  <a:pt x="536542" y="626591"/>
                  <a:pt x="554164" y="619982"/>
                </a:cubicBezTo>
                <a:cubicBezTo>
                  <a:pt x="584880" y="608281"/>
                  <a:pt x="609138" y="584022"/>
                  <a:pt x="620839" y="553307"/>
                </a:cubicBezTo>
                <a:cubicBezTo>
                  <a:pt x="627448" y="535684"/>
                  <a:pt x="631023" y="517069"/>
                  <a:pt x="631412" y="498252"/>
                </a:cubicBezTo>
                <a:cubicBezTo>
                  <a:pt x="632460" y="474059"/>
                  <a:pt x="632745" y="466344"/>
                  <a:pt x="632745" y="404812"/>
                </a:cubicBezTo>
                <a:cubicBezTo>
                  <a:pt x="632745" y="343281"/>
                  <a:pt x="632745" y="335565"/>
                  <a:pt x="631412" y="311372"/>
                </a:cubicBezTo>
                <a:cubicBezTo>
                  <a:pt x="631023" y="292555"/>
                  <a:pt x="627448" y="273940"/>
                  <a:pt x="620839" y="256317"/>
                </a:cubicBezTo>
                <a:cubicBezTo>
                  <a:pt x="609138" y="225602"/>
                  <a:pt x="584880" y="201343"/>
                  <a:pt x="554164" y="189642"/>
                </a:cubicBezTo>
                <a:cubicBezTo>
                  <a:pt x="536542" y="183033"/>
                  <a:pt x="517927" y="179458"/>
                  <a:pt x="499110" y="179069"/>
                </a:cubicBezTo>
                <a:cubicBezTo>
                  <a:pt x="474916" y="178022"/>
                  <a:pt x="467201" y="177736"/>
                  <a:pt x="405669" y="177736"/>
                </a:cubicBezTo>
                <a:close/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37645F6A-EDD9-42D2-A01C-F8414798D57C}"/>
              </a:ext>
            </a:extLst>
          </p:cNvPr>
          <p:cNvSpPr>
            <a:spLocks noChangeAspect="1"/>
          </p:cNvSpPr>
          <p:nvPr/>
        </p:nvSpPr>
        <p:spPr>
          <a:xfrm>
            <a:off x="9446029" y="4591756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207835 w 809625"/>
              <a:gd name="connsiteY5" fmla="*/ 183451 h 809625"/>
              <a:gd name="connsiteX6" fmla="*/ 183451 w 809625"/>
              <a:gd name="connsiteY6" fmla="*/ 207835 h 809625"/>
              <a:gd name="connsiteX7" fmla="*/ 183451 w 809625"/>
              <a:gd name="connsiteY7" fmla="*/ 601789 h 809625"/>
              <a:gd name="connsiteX8" fmla="*/ 207835 w 809625"/>
              <a:gd name="connsiteY8" fmla="*/ 626173 h 809625"/>
              <a:gd name="connsiteX9" fmla="*/ 419957 w 809625"/>
              <a:gd name="connsiteY9" fmla="*/ 626173 h 809625"/>
              <a:gd name="connsiteX10" fmla="*/ 419957 w 809625"/>
              <a:gd name="connsiteY10" fmla="*/ 454723 h 809625"/>
              <a:gd name="connsiteX11" fmla="*/ 361950 w 809625"/>
              <a:gd name="connsiteY11" fmla="*/ 454723 h 809625"/>
              <a:gd name="connsiteX12" fmla="*/ 361950 w 809625"/>
              <a:gd name="connsiteY12" fmla="*/ 388048 h 809625"/>
              <a:gd name="connsiteX13" fmla="*/ 419671 w 809625"/>
              <a:gd name="connsiteY13" fmla="*/ 388048 h 809625"/>
              <a:gd name="connsiteX14" fmla="*/ 419671 w 809625"/>
              <a:gd name="connsiteY14" fmla="*/ 338613 h 809625"/>
              <a:gd name="connsiteX15" fmla="*/ 505396 w 809625"/>
              <a:gd name="connsiteY15" fmla="*/ 250317 h 809625"/>
              <a:gd name="connsiteX16" fmla="*/ 556926 w 809625"/>
              <a:gd name="connsiteY16" fmla="*/ 252984 h 809625"/>
              <a:gd name="connsiteX17" fmla="*/ 556926 w 809625"/>
              <a:gd name="connsiteY17" fmla="*/ 312705 h 809625"/>
              <a:gd name="connsiteX18" fmla="*/ 522065 w 809625"/>
              <a:gd name="connsiteY18" fmla="*/ 312705 h 809625"/>
              <a:gd name="connsiteX19" fmla="*/ 488918 w 809625"/>
              <a:gd name="connsiteY19" fmla="*/ 345281 h 809625"/>
              <a:gd name="connsiteX20" fmla="*/ 488918 w 809625"/>
              <a:gd name="connsiteY20" fmla="*/ 387953 h 809625"/>
              <a:gd name="connsiteX21" fmla="*/ 555593 w 809625"/>
              <a:gd name="connsiteY21" fmla="*/ 387953 h 809625"/>
              <a:gd name="connsiteX22" fmla="*/ 546925 w 809625"/>
              <a:gd name="connsiteY22" fmla="*/ 454628 h 809625"/>
              <a:gd name="connsiteX23" fmla="*/ 489775 w 809625"/>
              <a:gd name="connsiteY23" fmla="*/ 454628 h 809625"/>
              <a:gd name="connsiteX24" fmla="*/ 489775 w 809625"/>
              <a:gd name="connsiteY24" fmla="*/ 626078 h 809625"/>
              <a:gd name="connsiteX25" fmla="*/ 601789 w 809625"/>
              <a:gd name="connsiteY25" fmla="*/ 626078 h 809625"/>
              <a:gd name="connsiteX26" fmla="*/ 626173 w 809625"/>
              <a:gd name="connsiteY26" fmla="*/ 601694 h 809625"/>
              <a:gd name="connsiteX27" fmla="*/ 626173 w 809625"/>
              <a:gd name="connsiteY27" fmla="*/ 207835 h 809625"/>
              <a:gd name="connsiteX28" fmla="*/ 601789 w 809625"/>
              <a:gd name="connsiteY28" fmla="*/ 183451 h 809625"/>
              <a:gd name="connsiteX29" fmla="*/ 207835 w 809625"/>
              <a:gd name="connsiteY29" fmla="*/ 183451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207835" y="183451"/>
                </a:moveTo>
                <a:cubicBezTo>
                  <a:pt x="194368" y="183451"/>
                  <a:pt x="183451" y="194368"/>
                  <a:pt x="183451" y="207835"/>
                </a:cubicBezTo>
                <a:lnTo>
                  <a:pt x="183451" y="601789"/>
                </a:lnTo>
                <a:cubicBezTo>
                  <a:pt x="183451" y="615256"/>
                  <a:pt x="194368" y="626173"/>
                  <a:pt x="207835" y="626173"/>
                </a:cubicBezTo>
                <a:lnTo>
                  <a:pt x="419957" y="626173"/>
                </a:lnTo>
                <a:lnTo>
                  <a:pt x="419957" y="454723"/>
                </a:lnTo>
                <a:lnTo>
                  <a:pt x="361950" y="454723"/>
                </a:lnTo>
                <a:lnTo>
                  <a:pt x="361950" y="388048"/>
                </a:lnTo>
                <a:lnTo>
                  <a:pt x="419671" y="388048"/>
                </a:lnTo>
                <a:lnTo>
                  <a:pt x="419671" y="338613"/>
                </a:lnTo>
                <a:cubicBezTo>
                  <a:pt x="419671" y="281463"/>
                  <a:pt x="454533" y="250317"/>
                  <a:pt x="505396" y="250317"/>
                </a:cubicBezTo>
                <a:cubicBezTo>
                  <a:pt x="522609" y="250238"/>
                  <a:pt x="539813" y="251128"/>
                  <a:pt x="556926" y="252984"/>
                </a:cubicBezTo>
                <a:lnTo>
                  <a:pt x="556926" y="312705"/>
                </a:lnTo>
                <a:lnTo>
                  <a:pt x="522065" y="312705"/>
                </a:lnTo>
                <a:cubicBezTo>
                  <a:pt x="494252" y="312705"/>
                  <a:pt x="488918" y="325945"/>
                  <a:pt x="488918" y="345281"/>
                </a:cubicBezTo>
                <a:lnTo>
                  <a:pt x="488918" y="387953"/>
                </a:lnTo>
                <a:lnTo>
                  <a:pt x="555593" y="387953"/>
                </a:lnTo>
                <a:lnTo>
                  <a:pt x="546925" y="454628"/>
                </a:lnTo>
                <a:lnTo>
                  <a:pt x="489775" y="454628"/>
                </a:lnTo>
                <a:lnTo>
                  <a:pt x="489775" y="626078"/>
                </a:lnTo>
                <a:lnTo>
                  <a:pt x="601789" y="626078"/>
                </a:lnTo>
                <a:cubicBezTo>
                  <a:pt x="615256" y="626078"/>
                  <a:pt x="626173" y="615161"/>
                  <a:pt x="626173" y="601694"/>
                </a:cubicBezTo>
                <a:lnTo>
                  <a:pt x="626173" y="207835"/>
                </a:lnTo>
                <a:cubicBezTo>
                  <a:pt x="626173" y="194368"/>
                  <a:pt x="615256" y="183451"/>
                  <a:pt x="601789" y="183451"/>
                </a:cubicBezTo>
                <a:lnTo>
                  <a:pt x="207835" y="183451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737EC4F3-8130-2F4D-B18F-7AF3E2C71869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7824743" y="2730825"/>
            <a:ext cx="1941914" cy="865381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" b="0" kern="1200" cap="none" baseline="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" b="1" kern="1200" cap="all" baseline="0">
                <a:noFill/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00" kern="1200">
                <a:noFill/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400" b="0" kern="1200">
                <a:noFill/>
                <a:latin typeface="+mn-lt"/>
                <a:ea typeface="+mn-ea"/>
                <a:cs typeface="+mn-cs"/>
              </a:defRPr>
            </a:lvl4pPr>
            <a:lvl5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 sz="400" kern="1200">
                <a:noFill/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00" kern="1200">
                <a:noFill/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00" kern="1200">
                <a:noFill/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00" kern="1200">
                <a:noFill/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00" kern="1200">
                <a:noFill/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45911884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76849F14-4971-4208-82A8-1F0513897926}"/>
              </a:ext>
            </a:extLst>
          </p:cNvPr>
          <p:cNvSpPr/>
          <p:nvPr userDrawn="1"/>
        </p:nvSpPr>
        <p:spPr>
          <a:xfrm>
            <a:off x="719400" y="-2"/>
            <a:ext cx="107532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096AA35B-6D3E-4809-9D78-9CF31081E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9400" y="-2"/>
            <a:ext cx="4680000" cy="4068000"/>
          </a:xfrm>
          <a:solidFill>
            <a:schemeClr val="tx2"/>
          </a:solidFill>
        </p:spPr>
        <p:txBody>
          <a:bodyPr lIns="342000" tIns="342000" rIns="0" bIns="504000" anchor="b" anchorCtr="0"/>
          <a:lstStyle>
            <a:lvl1pPr>
              <a:defRPr sz="4500">
                <a:solidFill>
                  <a:schemeClr val="accent1"/>
                </a:solidFill>
              </a:defRPr>
            </a:lvl1pPr>
          </a:lstStyle>
          <a:p>
            <a:r>
              <a:rPr lang="en-US"/>
              <a:t>Thank you</a:t>
            </a:r>
            <a:endParaRPr lang="en-AU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FD95F930-CD55-469B-9FD0-1150DA73B39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-2"/>
            <a:ext cx="12192000" cy="6876000"/>
          </a:xfrm>
          <a:custGeom>
            <a:avLst/>
            <a:gdLst>
              <a:gd name="connsiteX0" fmla="*/ 114726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472600 w 12192000"/>
              <a:gd name="connsiteY3" fmla="*/ 6858000 h 6858000"/>
              <a:gd name="connsiteX4" fmla="*/ 0 w 12192000"/>
              <a:gd name="connsiteY4" fmla="*/ 0 h 6858000"/>
              <a:gd name="connsiteX5" fmla="*/ 719400 w 12192000"/>
              <a:gd name="connsiteY5" fmla="*/ 0 h 6858000"/>
              <a:gd name="connsiteX6" fmla="*/ 7194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14726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472600" y="6858000"/>
                </a:lnTo>
                <a:close/>
                <a:moveTo>
                  <a:pt x="0" y="0"/>
                </a:moveTo>
                <a:lnTo>
                  <a:pt x="719400" y="0"/>
                </a:lnTo>
                <a:lnTo>
                  <a:pt x="7194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08000" tIns="108000" rIns="115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4417D20-4CB7-471C-A5C4-50706D404792}"/>
              </a:ext>
            </a:extLst>
          </p:cNvPr>
          <p:cNvSpPr txBox="1"/>
          <p:nvPr userDrawn="1"/>
        </p:nvSpPr>
        <p:spPr>
          <a:xfrm>
            <a:off x="7877158" y="3841087"/>
            <a:ext cx="3321238" cy="25564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 cap="none" baseline="0">
                <a:solidFill>
                  <a:schemeClr val="bg1"/>
                </a:solidFill>
              </a:defRPr>
            </a:lvl1pPr>
            <a:lvl2pPr marL="0" lvl="1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b="1" cap="all" baseline="0">
                <a:solidFill>
                  <a:schemeClr val="bg1"/>
                </a:solidFill>
              </a:defRPr>
            </a:lvl2pPr>
            <a:lvl3pPr marL="0" lvl="2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3pPr>
            <a:lvl4pPr marL="0" lvl="3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4pPr>
            <a:lvl5pPr marL="0" lvl="4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5pPr>
            <a:lvl6pPr marL="0" lvl="5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6pPr>
            <a:lvl7pPr marL="0" lvl="6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7pPr>
            <a:lvl8pPr marL="0" lvl="7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8pPr>
            <a:lvl9pPr marL="0" lvl="8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9pPr>
          </a:lstStyle>
          <a:p>
            <a:pPr lvl="0">
              <a:spcBef>
                <a:spcPts val="400"/>
              </a:spcBef>
            </a:pPr>
            <a:r>
              <a:rPr lang="en-US" altLang="en-US" sz="1600" b="0">
                <a:solidFill>
                  <a:schemeClr val="bg2"/>
                </a:solidFill>
                <a:latin typeface="+mj-lt"/>
              </a:rPr>
              <a:t>Forest Stewardship Council®</a:t>
            </a:r>
          </a:p>
          <a:p>
            <a:pPr lvl="0">
              <a:spcBef>
                <a:spcPts val="400"/>
              </a:spcBef>
              <a:spcAft>
                <a:spcPts val="1200"/>
              </a:spcAft>
            </a:pPr>
            <a:r>
              <a:rPr lang="en-US" altLang="en-US" sz="1500" b="1">
                <a:solidFill>
                  <a:schemeClr val="bg2"/>
                </a:solidFill>
              </a:rPr>
              <a:t>FSC® Asociación Civil </a:t>
            </a:r>
          </a:p>
          <a:p>
            <a:pPr lvl="0"/>
            <a:endParaRPr lang="en-US" altLang="en-US" sz="1600" b="0"/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Calle Margarita </a:t>
            </a:r>
            <a:r>
              <a:rPr lang="en-US" altLang="en-US" sz="1200" b="0" err="1">
                <a:solidFill>
                  <a:schemeClr val="bg2"/>
                </a:solidFill>
              </a:rPr>
              <a:t>Maza</a:t>
            </a:r>
            <a:r>
              <a:rPr lang="en-US" altLang="en-US" sz="1200" b="0">
                <a:solidFill>
                  <a:schemeClr val="bg2"/>
                </a:solidFill>
              </a:rPr>
              <a:t> de Juárez 422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Colonia Centro,  Oaxaca, México, CP. 68000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Phone: +52 951 502 6533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Fax: +52 951 502 6594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FSC Asociación Civil © All rights reserved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 err="1">
                <a:solidFill>
                  <a:schemeClr val="bg2"/>
                </a:solidFill>
              </a:rPr>
              <a:t>FSC</a:t>
            </a:r>
            <a:r>
              <a:rPr lang="en-US" altLang="en-US" sz="1200" b="0">
                <a:solidFill>
                  <a:schemeClr val="bg2"/>
                </a:solidFill>
              </a:rPr>
              <a:t>® </a:t>
            </a:r>
            <a:r>
              <a:rPr lang="en-US" altLang="en-US" sz="1200" b="0" err="1">
                <a:solidFill>
                  <a:schemeClr val="bg2"/>
                </a:solidFill>
              </a:rPr>
              <a:t>F000100</a:t>
            </a:r>
            <a:r>
              <a:rPr lang="en-US" altLang="en-US" sz="1200" b="0">
                <a:solidFill>
                  <a:schemeClr val="bg2"/>
                </a:solidFill>
              </a:rPr>
              <a:t> </a:t>
            </a:r>
          </a:p>
          <a:p>
            <a:pPr lvl="0"/>
            <a:r>
              <a:rPr lang="en-US" altLang="en-US" sz="1400" b="0" err="1">
                <a:solidFill>
                  <a:schemeClr val="bg2"/>
                </a:solidFill>
                <a:latin typeface="+mj-lt"/>
              </a:rPr>
              <a:t>www.fsc.org</a:t>
            </a:r>
            <a:endParaRPr lang="en-US" altLang="en-US" sz="1400" b="0">
              <a:solidFill>
                <a:schemeClr val="bg2"/>
              </a:solidFill>
              <a:latin typeface="+mj-lt"/>
            </a:endParaRPr>
          </a:p>
          <a:p>
            <a:pPr lvl="0"/>
            <a:endParaRPr lang="en-US" altLang="en-US" sz="1600" b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F8BC909C-567D-4F9C-A0DF-D05DE8F82075}"/>
              </a:ext>
            </a:extLst>
          </p:cNvPr>
          <p:cNvSpPr>
            <a:spLocks noChangeAspect="1"/>
          </p:cNvSpPr>
          <p:nvPr/>
        </p:nvSpPr>
        <p:spPr>
          <a:xfrm>
            <a:off x="7916652" y="4501548"/>
            <a:ext cx="242382" cy="242382"/>
          </a:xfrm>
          <a:custGeom>
            <a:avLst/>
            <a:gdLst>
              <a:gd name="connsiteX0" fmla="*/ 357950 w 809625"/>
              <a:gd name="connsiteY0" fmla="*/ 333375 h 809625"/>
              <a:gd name="connsiteX1" fmla="*/ 480537 w 809625"/>
              <a:gd name="connsiteY1" fmla="*/ 397002 h 809625"/>
              <a:gd name="connsiteX2" fmla="*/ 357950 w 809625"/>
              <a:gd name="connsiteY2" fmla="*/ 460439 h 809625"/>
              <a:gd name="connsiteX3" fmla="*/ 242887 w 809625"/>
              <a:gd name="connsiteY3" fmla="*/ 249555 h 809625"/>
              <a:gd name="connsiteX4" fmla="*/ 178117 w 809625"/>
              <a:gd name="connsiteY4" fmla="*/ 314325 h 809625"/>
              <a:gd name="connsiteX5" fmla="*/ 178117 w 809625"/>
              <a:gd name="connsiteY5" fmla="*/ 495300 h 809625"/>
              <a:gd name="connsiteX6" fmla="*/ 242887 w 809625"/>
              <a:gd name="connsiteY6" fmla="*/ 560070 h 809625"/>
              <a:gd name="connsiteX7" fmla="*/ 566737 w 809625"/>
              <a:gd name="connsiteY7" fmla="*/ 560070 h 809625"/>
              <a:gd name="connsiteX8" fmla="*/ 631507 w 809625"/>
              <a:gd name="connsiteY8" fmla="*/ 495300 h 809625"/>
              <a:gd name="connsiteX9" fmla="*/ 631507 w 809625"/>
              <a:gd name="connsiteY9" fmla="*/ 314325 h 809625"/>
              <a:gd name="connsiteX10" fmla="*/ 566737 w 809625"/>
              <a:gd name="connsiteY10" fmla="*/ 249555 h 809625"/>
              <a:gd name="connsiteX11" fmla="*/ 404813 w 809625"/>
              <a:gd name="connsiteY11" fmla="*/ 0 h 809625"/>
              <a:gd name="connsiteX12" fmla="*/ 809625 w 809625"/>
              <a:gd name="connsiteY12" fmla="*/ 404813 h 809625"/>
              <a:gd name="connsiteX13" fmla="*/ 404813 w 809625"/>
              <a:gd name="connsiteY13" fmla="*/ 809625 h 809625"/>
              <a:gd name="connsiteX14" fmla="*/ 0 w 809625"/>
              <a:gd name="connsiteY14" fmla="*/ 404813 h 809625"/>
              <a:gd name="connsiteX15" fmla="*/ 404813 w 809625"/>
              <a:gd name="connsiteY15" fmla="*/ 0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809625" h="809625">
                <a:moveTo>
                  <a:pt x="357950" y="333375"/>
                </a:moveTo>
                <a:lnTo>
                  <a:pt x="480537" y="397002"/>
                </a:lnTo>
                <a:lnTo>
                  <a:pt x="357950" y="460439"/>
                </a:lnTo>
                <a:close/>
                <a:moveTo>
                  <a:pt x="242887" y="249555"/>
                </a:moveTo>
                <a:cubicBezTo>
                  <a:pt x="207159" y="249660"/>
                  <a:pt x="178222" y="278597"/>
                  <a:pt x="178117" y="314325"/>
                </a:cubicBezTo>
                <a:lnTo>
                  <a:pt x="178117" y="495300"/>
                </a:lnTo>
                <a:cubicBezTo>
                  <a:pt x="178222" y="531028"/>
                  <a:pt x="207159" y="559965"/>
                  <a:pt x="242887" y="560070"/>
                </a:cubicBezTo>
                <a:lnTo>
                  <a:pt x="566737" y="560070"/>
                </a:lnTo>
                <a:cubicBezTo>
                  <a:pt x="602465" y="559965"/>
                  <a:pt x="631402" y="531028"/>
                  <a:pt x="631507" y="495300"/>
                </a:cubicBezTo>
                <a:lnTo>
                  <a:pt x="631507" y="314325"/>
                </a:lnTo>
                <a:cubicBezTo>
                  <a:pt x="631402" y="278597"/>
                  <a:pt x="602465" y="249660"/>
                  <a:pt x="566737" y="249555"/>
                </a:cubicBezTo>
                <a:close/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2487C176-18A9-4BB0-BD80-DEC34233A800}"/>
              </a:ext>
            </a:extLst>
          </p:cNvPr>
          <p:cNvSpPr>
            <a:spLocks noChangeAspect="1"/>
          </p:cNvSpPr>
          <p:nvPr/>
        </p:nvSpPr>
        <p:spPr>
          <a:xfrm>
            <a:off x="8298996" y="4501548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495146 w 809625"/>
              <a:gd name="connsiteY5" fmla="*/ 220645 h 809625"/>
              <a:gd name="connsiteX6" fmla="*/ 428527 w 809625"/>
              <a:gd name="connsiteY6" fmla="*/ 245841 h 809625"/>
              <a:gd name="connsiteX7" fmla="*/ 399192 w 809625"/>
              <a:gd name="connsiteY7" fmla="*/ 313563 h 809625"/>
              <a:gd name="connsiteX8" fmla="*/ 401573 w 809625"/>
              <a:gd name="connsiteY8" fmla="*/ 334803 h 809625"/>
              <a:gd name="connsiteX9" fmla="*/ 209549 w 809625"/>
              <a:gd name="connsiteY9" fmla="*/ 238125 h 809625"/>
              <a:gd name="connsiteX10" fmla="*/ 238124 w 809625"/>
              <a:gd name="connsiteY10" fmla="*/ 361950 h 809625"/>
              <a:gd name="connsiteX11" fmla="*/ 195928 w 809625"/>
              <a:gd name="connsiteY11" fmla="*/ 350329 h 809625"/>
              <a:gd name="connsiteX12" fmla="*/ 195929 w 809625"/>
              <a:gd name="connsiteY12" fmla="*/ 351567 h 809625"/>
              <a:gd name="connsiteX13" fmla="*/ 270605 w 809625"/>
              <a:gd name="connsiteY13" fmla="*/ 442722 h 809625"/>
              <a:gd name="connsiteX14" fmla="*/ 228599 w 809625"/>
              <a:gd name="connsiteY14" fmla="*/ 444341 h 809625"/>
              <a:gd name="connsiteX15" fmla="*/ 315467 w 809625"/>
              <a:gd name="connsiteY15" fmla="*/ 508920 h 809625"/>
              <a:gd name="connsiteX16" fmla="*/ 200024 w 809625"/>
              <a:gd name="connsiteY16" fmla="*/ 548544 h 809625"/>
              <a:gd name="connsiteX17" fmla="*/ 177831 w 809625"/>
              <a:gd name="connsiteY17" fmla="*/ 547211 h 809625"/>
              <a:gd name="connsiteX18" fmla="*/ 320706 w 809625"/>
              <a:gd name="connsiteY18" fmla="*/ 589026 h 809625"/>
              <a:gd name="connsiteX19" fmla="*/ 585406 w 809625"/>
              <a:gd name="connsiteY19" fmla="*/ 324421 h 809625"/>
              <a:gd name="connsiteX20" fmla="*/ 585406 w 809625"/>
              <a:gd name="connsiteY20" fmla="*/ 312324 h 809625"/>
              <a:gd name="connsiteX21" fmla="*/ 631507 w 809625"/>
              <a:gd name="connsiteY21" fmla="*/ 264223 h 809625"/>
              <a:gd name="connsiteX22" fmla="*/ 578072 w 809625"/>
              <a:gd name="connsiteY22" fmla="*/ 278892 h 809625"/>
              <a:gd name="connsiteX23" fmla="*/ 619124 w 809625"/>
              <a:gd name="connsiteY23" fmla="*/ 227361 h 809625"/>
              <a:gd name="connsiteX24" fmla="*/ 560069 w 809625"/>
              <a:gd name="connsiteY24" fmla="*/ 249936 h 809625"/>
              <a:gd name="connsiteX25" fmla="*/ 495146 w 809625"/>
              <a:gd name="connsiteY25" fmla="*/ 220645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495146" y="220645"/>
                </a:moveTo>
                <a:cubicBezTo>
                  <a:pt x="471342" y="219904"/>
                  <a:pt x="447255" y="228245"/>
                  <a:pt x="428527" y="245841"/>
                </a:cubicBezTo>
                <a:cubicBezTo>
                  <a:pt x="409833" y="263407"/>
                  <a:pt x="399219" y="287911"/>
                  <a:pt x="399192" y="313563"/>
                </a:cubicBezTo>
                <a:cubicBezTo>
                  <a:pt x="399204" y="320709"/>
                  <a:pt x="400003" y="327832"/>
                  <a:pt x="401573" y="334803"/>
                </a:cubicBezTo>
                <a:cubicBezTo>
                  <a:pt x="326768" y="331204"/>
                  <a:pt x="256991" y="296073"/>
                  <a:pt x="209549" y="238125"/>
                </a:cubicBezTo>
                <a:cubicBezTo>
                  <a:pt x="185023" y="280491"/>
                  <a:pt x="197513" y="334615"/>
                  <a:pt x="238124" y="361950"/>
                </a:cubicBezTo>
                <a:cubicBezTo>
                  <a:pt x="223336" y="361482"/>
                  <a:pt x="208871" y="357499"/>
                  <a:pt x="195928" y="350329"/>
                </a:cubicBezTo>
                <a:lnTo>
                  <a:pt x="195929" y="351567"/>
                </a:lnTo>
                <a:cubicBezTo>
                  <a:pt x="195962" y="395849"/>
                  <a:pt x="227195" y="433974"/>
                  <a:pt x="270605" y="442722"/>
                </a:cubicBezTo>
                <a:cubicBezTo>
                  <a:pt x="256901" y="446399"/>
                  <a:pt x="242546" y="446952"/>
                  <a:pt x="228599" y="444341"/>
                </a:cubicBezTo>
                <a:cubicBezTo>
                  <a:pt x="240745" y="482243"/>
                  <a:pt x="275672" y="508209"/>
                  <a:pt x="315467" y="508920"/>
                </a:cubicBezTo>
                <a:cubicBezTo>
                  <a:pt x="282513" y="534690"/>
                  <a:pt x="241858" y="548644"/>
                  <a:pt x="200024" y="548544"/>
                </a:cubicBezTo>
                <a:cubicBezTo>
                  <a:pt x="192607" y="548536"/>
                  <a:pt x="185196" y="548091"/>
                  <a:pt x="177831" y="547211"/>
                </a:cubicBezTo>
                <a:cubicBezTo>
                  <a:pt x="220421" y="574649"/>
                  <a:pt x="270043" y="589172"/>
                  <a:pt x="320706" y="589026"/>
                </a:cubicBezTo>
                <a:cubicBezTo>
                  <a:pt x="492156" y="589026"/>
                  <a:pt x="585406" y="447294"/>
                  <a:pt x="585406" y="324421"/>
                </a:cubicBezTo>
                <a:cubicBezTo>
                  <a:pt x="585406" y="320325"/>
                  <a:pt x="585406" y="316325"/>
                  <a:pt x="585406" y="312324"/>
                </a:cubicBezTo>
                <a:cubicBezTo>
                  <a:pt x="603503" y="299151"/>
                  <a:pt x="619113" y="282863"/>
                  <a:pt x="631507" y="264223"/>
                </a:cubicBezTo>
                <a:cubicBezTo>
                  <a:pt x="614513" y="271713"/>
                  <a:pt x="596508" y="276656"/>
                  <a:pt x="578072" y="278892"/>
                </a:cubicBezTo>
                <a:cubicBezTo>
                  <a:pt x="597588" y="267302"/>
                  <a:pt x="612190" y="248974"/>
                  <a:pt x="619124" y="227361"/>
                </a:cubicBezTo>
                <a:cubicBezTo>
                  <a:pt x="600877" y="238213"/>
                  <a:pt x="580902" y="245848"/>
                  <a:pt x="560069" y="249936"/>
                </a:cubicBezTo>
                <a:cubicBezTo>
                  <a:pt x="542473" y="231209"/>
                  <a:pt x="518951" y="221387"/>
                  <a:pt x="495146" y="22064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41393088-2A2D-4F19-A536-4C5B46718A69}"/>
              </a:ext>
            </a:extLst>
          </p:cNvPr>
          <p:cNvSpPr>
            <a:spLocks noChangeAspect="1"/>
          </p:cNvSpPr>
          <p:nvPr/>
        </p:nvSpPr>
        <p:spPr>
          <a:xfrm>
            <a:off x="8681340" y="4501548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230981 w 809625"/>
              <a:gd name="connsiteY5" fmla="*/ 177069 h 809625"/>
              <a:gd name="connsiteX6" fmla="*/ 176498 w 809625"/>
              <a:gd name="connsiteY6" fmla="*/ 231552 h 809625"/>
              <a:gd name="connsiteX7" fmla="*/ 230981 w 809625"/>
              <a:gd name="connsiteY7" fmla="*/ 286035 h 809625"/>
              <a:gd name="connsiteX8" fmla="*/ 285464 w 809625"/>
              <a:gd name="connsiteY8" fmla="*/ 231552 h 809625"/>
              <a:gd name="connsiteX9" fmla="*/ 230981 w 809625"/>
              <a:gd name="connsiteY9" fmla="*/ 177069 h 809625"/>
              <a:gd name="connsiteX10" fmla="*/ 517493 w 809625"/>
              <a:gd name="connsiteY10" fmla="*/ 319849 h 809625"/>
              <a:gd name="connsiteX11" fmla="*/ 428625 w 809625"/>
              <a:gd name="connsiteY11" fmla="*/ 368617 h 809625"/>
              <a:gd name="connsiteX12" fmla="*/ 426910 w 809625"/>
              <a:gd name="connsiteY12" fmla="*/ 368617 h 809625"/>
              <a:gd name="connsiteX13" fmla="*/ 426910 w 809625"/>
              <a:gd name="connsiteY13" fmla="*/ 327278 h 809625"/>
              <a:gd name="connsiteX14" fmla="*/ 336899 w 809625"/>
              <a:gd name="connsiteY14" fmla="*/ 327278 h 809625"/>
              <a:gd name="connsiteX15" fmla="*/ 336899 w 809625"/>
              <a:gd name="connsiteY15" fmla="*/ 629602 h 809625"/>
              <a:gd name="connsiteX16" fmla="*/ 430720 w 809625"/>
              <a:gd name="connsiteY16" fmla="*/ 629602 h 809625"/>
              <a:gd name="connsiteX17" fmla="*/ 430720 w 809625"/>
              <a:gd name="connsiteY17" fmla="*/ 480059 h 809625"/>
              <a:gd name="connsiteX18" fmla="*/ 487108 w 809625"/>
              <a:gd name="connsiteY18" fmla="*/ 402430 h 809625"/>
              <a:gd name="connsiteX19" fmla="*/ 535876 w 809625"/>
              <a:gd name="connsiteY19" fmla="*/ 482631 h 809625"/>
              <a:gd name="connsiteX20" fmla="*/ 535876 w 809625"/>
              <a:gd name="connsiteY20" fmla="*/ 629602 h 809625"/>
              <a:gd name="connsiteX21" fmla="*/ 630174 w 809625"/>
              <a:gd name="connsiteY21" fmla="*/ 629602 h 809625"/>
              <a:gd name="connsiteX22" fmla="*/ 630174 w 809625"/>
              <a:gd name="connsiteY22" fmla="*/ 463771 h 809625"/>
              <a:gd name="connsiteX23" fmla="*/ 517493 w 809625"/>
              <a:gd name="connsiteY23" fmla="*/ 319849 h 809625"/>
              <a:gd name="connsiteX24" fmla="*/ 183927 w 809625"/>
              <a:gd name="connsiteY24" fmla="*/ 327278 h 809625"/>
              <a:gd name="connsiteX25" fmla="*/ 183927 w 809625"/>
              <a:gd name="connsiteY25" fmla="*/ 629602 h 809625"/>
              <a:gd name="connsiteX26" fmla="*/ 277939 w 809625"/>
              <a:gd name="connsiteY26" fmla="*/ 629602 h 809625"/>
              <a:gd name="connsiteX27" fmla="*/ 277939 w 809625"/>
              <a:gd name="connsiteY27" fmla="*/ 327278 h 809625"/>
              <a:gd name="connsiteX28" fmla="*/ 183927 w 809625"/>
              <a:gd name="connsiteY28" fmla="*/ 327278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230981" y="177069"/>
                </a:moveTo>
                <a:cubicBezTo>
                  <a:pt x="200891" y="177069"/>
                  <a:pt x="176498" y="201462"/>
                  <a:pt x="176498" y="231552"/>
                </a:cubicBezTo>
                <a:cubicBezTo>
                  <a:pt x="176498" y="261642"/>
                  <a:pt x="200891" y="286035"/>
                  <a:pt x="230981" y="286035"/>
                </a:cubicBezTo>
                <a:cubicBezTo>
                  <a:pt x="261071" y="286035"/>
                  <a:pt x="285464" y="261642"/>
                  <a:pt x="285464" y="231552"/>
                </a:cubicBezTo>
                <a:cubicBezTo>
                  <a:pt x="285464" y="201462"/>
                  <a:pt x="261071" y="177069"/>
                  <a:pt x="230981" y="177069"/>
                </a:cubicBezTo>
                <a:close/>
                <a:moveTo>
                  <a:pt x="517493" y="319849"/>
                </a:moveTo>
                <a:cubicBezTo>
                  <a:pt x="481146" y="318484"/>
                  <a:pt x="446996" y="337225"/>
                  <a:pt x="428625" y="368617"/>
                </a:cubicBezTo>
                <a:lnTo>
                  <a:pt x="426910" y="368617"/>
                </a:lnTo>
                <a:lnTo>
                  <a:pt x="426910" y="327278"/>
                </a:lnTo>
                <a:lnTo>
                  <a:pt x="336899" y="327278"/>
                </a:lnTo>
                <a:lnTo>
                  <a:pt x="336899" y="629602"/>
                </a:lnTo>
                <a:lnTo>
                  <a:pt x="430720" y="629602"/>
                </a:lnTo>
                <a:lnTo>
                  <a:pt x="430720" y="480059"/>
                </a:lnTo>
                <a:cubicBezTo>
                  <a:pt x="430720" y="440530"/>
                  <a:pt x="438912" y="402430"/>
                  <a:pt x="487108" y="402430"/>
                </a:cubicBezTo>
                <a:cubicBezTo>
                  <a:pt x="535305" y="402430"/>
                  <a:pt x="535876" y="447579"/>
                  <a:pt x="535876" y="482631"/>
                </a:cubicBezTo>
                <a:lnTo>
                  <a:pt x="535876" y="629602"/>
                </a:lnTo>
                <a:lnTo>
                  <a:pt x="630174" y="629602"/>
                </a:lnTo>
                <a:lnTo>
                  <a:pt x="630174" y="463771"/>
                </a:lnTo>
                <a:cubicBezTo>
                  <a:pt x="630174" y="382428"/>
                  <a:pt x="612743" y="319849"/>
                  <a:pt x="517493" y="319849"/>
                </a:cubicBezTo>
                <a:close/>
                <a:moveTo>
                  <a:pt x="183927" y="327278"/>
                </a:moveTo>
                <a:lnTo>
                  <a:pt x="183927" y="629602"/>
                </a:lnTo>
                <a:lnTo>
                  <a:pt x="277939" y="629602"/>
                </a:lnTo>
                <a:lnTo>
                  <a:pt x="277939" y="327278"/>
                </a:lnTo>
                <a:lnTo>
                  <a:pt x="183927" y="32727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F1F78FC3-536A-4C34-B2A3-95085DF38A8D}"/>
              </a:ext>
            </a:extLst>
          </p:cNvPr>
          <p:cNvSpPr>
            <a:spLocks noChangeAspect="1"/>
          </p:cNvSpPr>
          <p:nvPr/>
        </p:nvSpPr>
        <p:spPr>
          <a:xfrm>
            <a:off x="9063685" y="4501548"/>
            <a:ext cx="242382" cy="242382"/>
          </a:xfrm>
          <a:custGeom>
            <a:avLst/>
            <a:gdLst>
              <a:gd name="connsiteX0" fmla="*/ 404812 w 809625"/>
              <a:gd name="connsiteY0" fmla="*/ 288417 h 809625"/>
              <a:gd name="connsiteX1" fmla="*/ 288417 w 809625"/>
              <a:gd name="connsiteY1" fmla="*/ 404812 h 809625"/>
              <a:gd name="connsiteX2" fmla="*/ 404812 w 809625"/>
              <a:gd name="connsiteY2" fmla="*/ 521208 h 809625"/>
              <a:gd name="connsiteX3" fmla="*/ 521208 w 809625"/>
              <a:gd name="connsiteY3" fmla="*/ 404812 h 809625"/>
              <a:gd name="connsiteX4" fmla="*/ 404812 w 809625"/>
              <a:gd name="connsiteY4" fmla="*/ 288417 h 809625"/>
              <a:gd name="connsiteX5" fmla="*/ 525780 w 809625"/>
              <a:gd name="connsiteY5" fmla="*/ 256603 h 809625"/>
              <a:gd name="connsiteX6" fmla="*/ 498538 w 809625"/>
              <a:gd name="connsiteY6" fmla="*/ 283844 h 809625"/>
              <a:gd name="connsiteX7" fmla="*/ 525780 w 809625"/>
              <a:gd name="connsiteY7" fmla="*/ 311086 h 809625"/>
              <a:gd name="connsiteX8" fmla="*/ 553021 w 809625"/>
              <a:gd name="connsiteY8" fmla="*/ 283844 h 809625"/>
              <a:gd name="connsiteX9" fmla="*/ 525780 w 809625"/>
              <a:gd name="connsiteY9" fmla="*/ 256603 h 809625"/>
              <a:gd name="connsiteX10" fmla="*/ 404812 w 809625"/>
              <a:gd name="connsiteY10" fmla="*/ 219075 h 809625"/>
              <a:gd name="connsiteX11" fmla="*/ 496443 w 809625"/>
              <a:gd name="connsiteY11" fmla="*/ 220408 h 809625"/>
              <a:gd name="connsiteX12" fmla="*/ 538543 w 809625"/>
              <a:gd name="connsiteY12" fmla="*/ 228218 h 809625"/>
              <a:gd name="connsiteX13" fmla="*/ 581501 w 809625"/>
              <a:gd name="connsiteY13" fmla="*/ 271176 h 809625"/>
              <a:gd name="connsiteX14" fmla="*/ 589311 w 809625"/>
              <a:gd name="connsiteY14" fmla="*/ 313277 h 809625"/>
              <a:gd name="connsiteX15" fmla="*/ 590645 w 809625"/>
              <a:gd name="connsiteY15" fmla="*/ 404907 h 809625"/>
              <a:gd name="connsiteX16" fmla="*/ 589311 w 809625"/>
              <a:gd name="connsiteY16" fmla="*/ 496538 h 809625"/>
              <a:gd name="connsiteX17" fmla="*/ 581501 w 809625"/>
              <a:gd name="connsiteY17" fmla="*/ 538638 h 809625"/>
              <a:gd name="connsiteX18" fmla="*/ 538543 w 809625"/>
              <a:gd name="connsiteY18" fmla="*/ 581596 h 809625"/>
              <a:gd name="connsiteX19" fmla="*/ 496443 w 809625"/>
              <a:gd name="connsiteY19" fmla="*/ 589406 h 809625"/>
              <a:gd name="connsiteX20" fmla="*/ 404812 w 809625"/>
              <a:gd name="connsiteY20" fmla="*/ 590740 h 809625"/>
              <a:gd name="connsiteX21" fmla="*/ 313182 w 809625"/>
              <a:gd name="connsiteY21" fmla="*/ 589407 h 809625"/>
              <a:gd name="connsiteX22" fmla="*/ 271081 w 809625"/>
              <a:gd name="connsiteY22" fmla="*/ 581596 h 809625"/>
              <a:gd name="connsiteX23" fmla="*/ 228600 w 809625"/>
              <a:gd name="connsiteY23" fmla="*/ 538543 h 809625"/>
              <a:gd name="connsiteX24" fmla="*/ 220789 w 809625"/>
              <a:gd name="connsiteY24" fmla="*/ 496443 h 809625"/>
              <a:gd name="connsiteX25" fmla="*/ 219075 w 809625"/>
              <a:gd name="connsiteY25" fmla="*/ 404812 h 809625"/>
              <a:gd name="connsiteX26" fmla="*/ 220408 w 809625"/>
              <a:gd name="connsiteY26" fmla="*/ 313182 h 809625"/>
              <a:gd name="connsiteX27" fmla="*/ 228600 w 809625"/>
              <a:gd name="connsiteY27" fmla="*/ 271081 h 809625"/>
              <a:gd name="connsiteX28" fmla="*/ 271081 w 809625"/>
              <a:gd name="connsiteY28" fmla="*/ 228600 h 809625"/>
              <a:gd name="connsiteX29" fmla="*/ 313181 w 809625"/>
              <a:gd name="connsiteY29" fmla="*/ 220789 h 809625"/>
              <a:gd name="connsiteX30" fmla="*/ 404812 w 809625"/>
              <a:gd name="connsiteY30" fmla="*/ 219075 h 809625"/>
              <a:gd name="connsiteX31" fmla="*/ 405669 w 809625"/>
              <a:gd name="connsiteY31" fmla="*/ 177736 h 809625"/>
              <a:gd name="connsiteX32" fmla="*/ 404812 w 809625"/>
              <a:gd name="connsiteY32" fmla="*/ 178212 h 809625"/>
              <a:gd name="connsiteX33" fmla="*/ 311372 w 809625"/>
              <a:gd name="connsiteY33" fmla="*/ 179546 h 809625"/>
              <a:gd name="connsiteX34" fmla="*/ 256317 w 809625"/>
              <a:gd name="connsiteY34" fmla="*/ 190500 h 809625"/>
              <a:gd name="connsiteX35" fmla="*/ 189642 w 809625"/>
              <a:gd name="connsiteY35" fmla="*/ 257175 h 809625"/>
              <a:gd name="connsiteX36" fmla="*/ 179069 w 809625"/>
              <a:gd name="connsiteY36" fmla="*/ 312229 h 809625"/>
              <a:gd name="connsiteX37" fmla="*/ 177736 w 809625"/>
              <a:gd name="connsiteY37" fmla="*/ 405669 h 809625"/>
              <a:gd name="connsiteX38" fmla="*/ 179069 w 809625"/>
              <a:gd name="connsiteY38" fmla="*/ 499110 h 809625"/>
              <a:gd name="connsiteX39" fmla="*/ 190500 w 809625"/>
              <a:gd name="connsiteY39" fmla="*/ 553307 h 809625"/>
              <a:gd name="connsiteX40" fmla="*/ 257175 w 809625"/>
              <a:gd name="connsiteY40" fmla="*/ 619982 h 809625"/>
              <a:gd name="connsiteX41" fmla="*/ 312229 w 809625"/>
              <a:gd name="connsiteY41" fmla="*/ 630554 h 809625"/>
              <a:gd name="connsiteX42" fmla="*/ 405669 w 809625"/>
              <a:gd name="connsiteY42" fmla="*/ 631888 h 809625"/>
              <a:gd name="connsiteX43" fmla="*/ 499110 w 809625"/>
              <a:gd name="connsiteY43" fmla="*/ 630554 h 809625"/>
              <a:gd name="connsiteX44" fmla="*/ 554164 w 809625"/>
              <a:gd name="connsiteY44" fmla="*/ 619982 h 809625"/>
              <a:gd name="connsiteX45" fmla="*/ 620839 w 809625"/>
              <a:gd name="connsiteY45" fmla="*/ 553307 h 809625"/>
              <a:gd name="connsiteX46" fmla="*/ 631412 w 809625"/>
              <a:gd name="connsiteY46" fmla="*/ 498252 h 809625"/>
              <a:gd name="connsiteX47" fmla="*/ 632745 w 809625"/>
              <a:gd name="connsiteY47" fmla="*/ 404812 h 809625"/>
              <a:gd name="connsiteX48" fmla="*/ 631412 w 809625"/>
              <a:gd name="connsiteY48" fmla="*/ 311372 h 809625"/>
              <a:gd name="connsiteX49" fmla="*/ 620839 w 809625"/>
              <a:gd name="connsiteY49" fmla="*/ 256317 h 809625"/>
              <a:gd name="connsiteX50" fmla="*/ 554164 w 809625"/>
              <a:gd name="connsiteY50" fmla="*/ 189642 h 809625"/>
              <a:gd name="connsiteX51" fmla="*/ 499110 w 809625"/>
              <a:gd name="connsiteY51" fmla="*/ 179069 h 809625"/>
              <a:gd name="connsiteX52" fmla="*/ 405669 w 809625"/>
              <a:gd name="connsiteY52" fmla="*/ 177736 h 809625"/>
              <a:gd name="connsiteX53" fmla="*/ 404813 w 809625"/>
              <a:gd name="connsiteY53" fmla="*/ 0 h 809625"/>
              <a:gd name="connsiteX54" fmla="*/ 809625 w 809625"/>
              <a:gd name="connsiteY54" fmla="*/ 404813 h 809625"/>
              <a:gd name="connsiteX55" fmla="*/ 404813 w 809625"/>
              <a:gd name="connsiteY55" fmla="*/ 809625 h 809625"/>
              <a:gd name="connsiteX56" fmla="*/ 0 w 809625"/>
              <a:gd name="connsiteY56" fmla="*/ 404813 h 809625"/>
              <a:gd name="connsiteX57" fmla="*/ 404813 w 809625"/>
              <a:gd name="connsiteY57" fmla="*/ 0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809625" h="809625">
                <a:moveTo>
                  <a:pt x="404812" y="288417"/>
                </a:moveTo>
                <a:cubicBezTo>
                  <a:pt x="340529" y="288417"/>
                  <a:pt x="288417" y="340529"/>
                  <a:pt x="288417" y="404812"/>
                </a:cubicBezTo>
                <a:cubicBezTo>
                  <a:pt x="288417" y="469096"/>
                  <a:pt x="340529" y="521208"/>
                  <a:pt x="404812" y="521208"/>
                </a:cubicBezTo>
                <a:cubicBezTo>
                  <a:pt x="469096" y="521208"/>
                  <a:pt x="521208" y="469096"/>
                  <a:pt x="521208" y="404812"/>
                </a:cubicBezTo>
                <a:cubicBezTo>
                  <a:pt x="521208" y="340529"/>
                  <a:pt x="469096" y="288417"/>
                  <a:pt x="404812" y="288417"/>
                </a:cubicBezTo>
                <a:close/>
                <a:moveTo>
                  <a:pt x="525780" y="256603"/>
                </a:moveTo>
                <a:cubicBezTo>
                  <a:pt x="510734" y="256603"/>
                  <a:pt x="498538" y="268799"/>
                  <a:pt x="498538" y="283844"/>
                </a:cubicBezTo>
                <a:cubicBezTo>
                  <a:pt x="498538" y="298890"/>
                  <a:pt x="510734" y="311086"/>
                  <a:pt x="525780" y="311086"/>
                </a:cubicBezTo>
                <a:cubicBezTo>
                  <a:pt x="540825" y="311086"/>
                  <a:pt x="553021" y="298890"/>
                  <a:pt x="553021" y="283844"/>
                </a:cubicBezTo>
                <a:cubicBezTo>
                  <a:pt x="553021" y="268799"/>
                  <a:pt x="540825" y="256603"/>
                  <a:pt x="525780" y="256603"/>
                </a:cubicBezTo>
                <a:close/>
                <a:moveTo>
                  <a:pt x="404812" y="219075"/>
                </a:moveTo>
                <a:cubicBezTo>
                  <a:pt x="465296" y="219075"/>
                  <a:pt x="472535" y="219075"/>
                  <a:pt x="496443" y="220408"/>
                </a:cubicBezTo>
                <a:cubicBezTo>
                  <a:pt x="510824" y="220533"/>
                  <a:pt x="525073" y="223177"/>
                  <a:pt x="538543" y="228218"/>
                </a:cubicBezTo>
                <a:cubicBezTo>
                  <a:pt x="558257" y="235874"/>
                  <a:pt x="573845" y="251463"/>
                  <a:pt x="581501" y="271176"/>
                </a:cubicBezTo>
                <a:cubicBezTo>
                  <a:pt x="586542" y="284646"/>
                  <a:pt x="589186" y="298895"/>
                  <a:pt x="589311" y="313277"/>
                </a:cubicBezTo>
                <a:cubicBezTo>
                  <a:pt x="590454" y="337185"/>
                  <a:pt x="590645" y="344424"/>
                  <a:pt x="590645" y="404907"/>
                </a:cubicBezTo>
                <a:cubicBezTo>
                  <a:pt x="590645" y="465391"/>
                  <a:pt x="590645" y="472630"/>
                  <a:pt x="589311" y="496538"/>
                </a:cubicBezTo>
                <a:cubicBezTo>
                  <a:pt x="589186" y="510920"/>
                  <a:pt x="586543" y="525168"/>
                  <a:pt x="581501" y="538638"/>
                </a:cubicBezTo>
                <a:cubicBezTo>
                  <a:pt x="573845" y="558352"/>
                  <a:pt x="558257" y="573940"/>
                  <a:pt x="538543" y="581596"/>
                </a:cubicBezTo>
                <a:cubicBezTo>
                  <a:pt x="525073" y="586638"/>
                  <a:pt x="510824" y="589281"/>
                  <a:pt x="496443" y="589406"/>
                </a:cubicBezTo>
                <a:cubicBezTo>
                  <a:pt x="472535" y="590550"/>
                  <a:pt x="465391" y="590740"/>
                  <a:pt x="404812" y="590740"/>
                </a:cubicBezTo>
                <a:cubicBezTo>
                  <a:pt x="344233" y="590740"/>
                  <a:pt x="337089" y="590740"/>
                  <a:pt x="313182" y="589407"/>
                </a:cubicBezTo>
                <a:cubicBezTo>
                  <a:pt x="298800" y="589281"/>
                  <a:pt x="284551" y="586638"/>
                  <a:pt x="271081" y="581596"/>
                </a:cubicBezTo>
                <a:cubicBezTo>
                  <a:pt x="251529" y="573808"/>
                  <a:pt x="236125" y="558197"/>
                  <a:pt x="228600" y="538543"/>
                </a:cubicBezTo>
                <a:cubicBezTo>
                  <a:pt x="223558" y="525073"/>
                  <a:pt x="220914" y="510824"/>
                  <a:pt x="220789" y="496443"/>
                </a:cubicBezTo>
                <a:cubicBezTo>
                  <a:pt x="219075" y="472535"/>
                  <a:pt x="219075" y="465296"/>
                  <a:pt x="219075" y="404812"/>
                </a:cubicBezTo>
                <a:cubicBezTo>
                  <a:pt x="219075" y="344328"/>
                  <a:pt x="219075" y="337089"/>
                  <a:pt x="220408" y="313182"/>
                </a:cubicBezTo>
                <a:cubicBezTo>
                  <a:pt x="220655" y="298777"/>
                  <a:pt x="223428" y="284527"/>
                  <a:pt x="228600" y="271081"/>
                </a:cubicBezTo>
                <a:cubicBezTo>
                  <a:pt x="236258" y="251643"/>
                  <a:pt x="251643" y="236258"/>
                  <a:pt x="271081" y="228600"/>
                </a:cubicBezTo>
                <a:cubicBezTo>
                  <a:pt x="284551" y="223558"/>
                  <a:pt x="298800" y="220914"/>
                  <a:pt x="313181" y="220789"/>
                </a:cubicBezTo>
                <a:cubicBezTo>
                  <a:pt x="337089" y="219075"/>
                  <a:pt x="344328" y="219075"/>
                  <a:pt x="404812" y="219075"/>
                </a:cubicBezTo>
                <a:close/>
                <a:moveTo>
                  <a:pt x="405669" y="177736"/>
                </a:moveTo>
                <a:lnTo>
                  <a:pt x="404812" y="178212"/>
                </a:lnTo>
                <a:cubicBezTo>
                  <a:pt x="343281" y="178212"/>
                  <a:pt x="335565" y="178212"/>
                  <a:pt x="311372" y="179546"/>
                </a:cubicBezTo>
                <a:cubicBezTo>
                  <a:pt x="292533" y="180057"/>
                  <a:pt x="273917" y="183760"/>
                  <a:pt x="256317" y="190500"/>
                </a:cubicBezTo>
                <a:cubicBezTo>
                  <a:pt x="225602" y="202200"/>
                  <a:pt x="201343" y="226459"/>
                  <a:pt x="189642" y="257175"/>
                </a:cubicBezTo>
                <a:cubicBezTo>
                  <a:pt x="183033" y="274797"/>
                  <a:pt x="179458" y="293412"/>
                  <a:pt x="179069" y="312229"/>
                </a:cubicBezTo>
                <a:cubicBezTo>
                  <a:pt x="178022" y="336423"/>
                  <a:pt x="177736" y="344138"/>
                  <a:pt x="177736" y="405669"/>
                </a:cubicBezTo>
                <a:cubicBezTo>
                  <a:pt x="177736" y="467201"/>
                  <a:pt x="177736" y="474916"/>
                  <a:pt x="179069" y="499110"/>
                </a:cubicBezTo>
                <a:cubicBezTo>
                  <a:pt x="179828" y="517687"/>
                  <a:pt x="183692" y="536005"/>
                  <a:pt x="190500" y="553307"/>
                </a:cubicBezTo>
                <a:cubicBezTo>
                  <a:pt x="202200" y="584022"/>
                  <a:pt x="226459" y="608281"/>
                  <a:pt x="257175" y="619982"/>
                </a:cubicBezTo>
                <a:cubicBezTo>
                  <a:pt x="274797" y="626591"/>
                  <a:pt x="293412" y="630165"/>
                  <a:pt x="312229" y="630554"/>
                </a:cubicBezTo>
                <a:cubicBezTo>
                  <a:pt x="336423" y="631602"/>
                  <a:pt x="344138" y="631888"/>
                  <a:pt x="405669" y="631888"/>
                </a:cubicBezTo>
                <a:cubicBezTo>
                  <a:pt x="467201" y="631888"/>
                  <a:pt x="474916" y="631888"/>
                  <a:pt x="499110" y="630554"/>
                </a:cubicBezTo>
                <a:cubicBezTo>
                  <a:pt x="517927" y="630165"/>
                  <a:pt x="536542" y="626591"/>
                  <a:pt x="554164" y="619982"/>
                </a:cubicBezTo>
                <a:cubicBezTo>
                  <a:pt x="584880" y="608281"/>
                  <a:pt x="609138" y="584022"/>
                  <a:pt x="620839" y="553307"/>
                </a:cubicBezTo>
                <a:cubicBezTo>
                  <a:pt x="627448" y="535684"/>
                  <a:pt x="631023" y="517069"/>
                  <a:pt x="631412" y="498252"/>
                </a:cubicBezTo>
                <a:cubicBezTo>
                  <a:pt x="632460" y="474059"/>
                  <a:pt x="632745" y="466344"/>
                  <a:pt x="632745" y="404812"/>
                </a:cubicBezTo>
                <a:cubicBezTo>
                  <a:pt x="632745" y="343281"/>
                  <a:pt x="632745" y="335565"/>
                  <a:pt x="631412" y="311372"/>
                </a:cubicBezTo>
                <a:cubicBezTo>
                  <a:pt x="631023" y="292555"/>
                  <a:pt x="627448" y="273940"/>
                  <a:pt x="620839" y="256317"/>
                </a:cubicBezTo>
                <a:cubicBezTo>
                  <a:pt x="609138" y="225602"/>
                  <a:pt x="584880" y="201343"/>
                  <a:pt x="554164" y="189642"/>
                </a:cubicBezTo>
                <a:cubicBezTo>
                  <a:pt x="536542" y="183033"/>
                  <a:pt x="517927" y="179458"/>
                  <a:pt x="499110" y="179069"/>
                </a:cubicBezTo>
                <a:cubicBezTo>
                  <a:pt x="474916" y="178022"/>
                  <a:pt x="467201" y="177736"/>
                  <a:pt x="405669" y="177736"/>
                </a:cubicBezTo>
                <a:close/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37645F6A-EDD9-42D2-A01C-F8414798D57C}"/>
              </a:ext>
            </a:extLst>
          </p:cNvPr>
          <p:cNvSpPr>
            <a:spLocks noChangeAspect="1"/>
          </p:cNvSpPr>
          <p:nvPr/>
        </p:nvSpPr>
        <p:spPr>
          <a:xfrm>
            <a:off x="9446029" y="4501548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207835 w 809625"/>
              <a:gd name="connsiteY5" fmla="*/ 183451 h 809625"/>
              <a:gd name="connsiteX6" fmla="*/ 183451 w 809625"/>
              <a:gd name="connsiteY6" fmla="*/ 207835 h 809625"/>
              <a:gd name="connsiteX7" fmla="*/ 183451 w 809625"/>
              <a:gd name="connsiteY7" fmla="*/ 601789 h 809625"/>
              <a:gd name="connsiteX8" fmla="*/ 207835 w 809625"/>
              <a:gd name="connsiteY8" fmla="*/ 626173 h 809625"/>
              <a:gd name="connsiteX9" fmla="*/ 419957 w 809625"/>
              <a:gd name="connsiteY9" fmla="*/ 626173 h 809625"/>
              <a:gd name="connsiteX10" fmla="*/ 419957 w 809625"/>
              <a:gd name="connsiteY10" fmla="*/ 454723 h 809625"/>
              <a:gd name="connsiteX11" fmla="*/ 361950 w 809625"/>
              <a:gd name="connsiteY11" fmla="*/ 454723 h 809625"/>
              <a:gd name="connsiteX12" fmla="*/ 361950 w 809625"/>
              <a:gd name="connsiteY12" fmla="*/ 388048 h 809625"/>
              <a:gd name="connsiteX13" fmla="*/ 419671 w 809625"/>
              <a:gd name="connsiteY13" fmla="*/ 388048 h 809625"/>
              <a:gd name="connsiteX14" fmla="*/ 419671 w 809625"/>
              <a:gd name="connsiteY14" fmla="*/ 338613 h 809625"/>
              <a:gd name="connsiteX15" fmla="*/ 505396 w 809625"/>
              <a:gd name="connsiteY15" fmla="*/ 250317 h 809625"/>
              <a:gd name="connsiteX16" fmla="*/ 556926 w 809625"/>
              <a:gd name="connsiteY16" fmla="*/ 252984 h 809625"/>
              <a:gd name="connsiteX17" fmla="*/ 556926 w 809625"/>
              <a:gd name="connsiteY17" fmla="*/ 312705 h 809625"/>
              <a:gd name="connsiteX18" fmla="*/ 522065 w 809625"/>
              <a:gd name="connsiteY18" fmla="*/ 312705 h 809625"/>
              <a:gd name="connsiteX19" fmla="*/ 488918 w 809625"/>
              <a:gd name="connsiteY19" fmla="*/ 345281 h 809625"/>
              <a:gd name="connsiteX20" fmla="*/ 488918 w 809625"/>
              <a:gd name="connsiteY20" fmla="*/ 387953 h 809625"/>
              <a:gd name="connsiteX21" fmla="*/ 555593 w 809625"/>
              <a:gd name="connsiteY21" fmla="*/ 387953 h 809625"/>
              <a:gd name="connsiteX22" fmla="*/ 546925 w 809625"/>
              <a:gd name="connsiteY22" fmla="*/ 454628 h 809625"/>
              <a:gd name="connsiteX23" fmla="*/ 489775 w 809625"/>
              <a:gd name="connsiteY23" fmla="*/ 454628 h 809625"/>
              <a:gd name="connsiteX24" fmla="*/ 489775 w 809625"/>
              <a:gd name="connsiteY24" fmla="*/ 626078 h 809625"/>
              <a:gd name="connsiteX25" fmla="*/ 601789 w 809625"/>
              <a:gd name="connsiteY25" fmla="*/ 626078 h 809625"/>
              <a:gd name="connsiteX26" fmla="*/ 626173 w 809625"/>
              <a:gd name="connsiteY26" fmla="*/ 601694 h 809625"/>
              <a:gd name="connsiteX27" fmla="*/ 626173 w 809625"/>
              <a:gd name="connsiteY27" fmla="*/ 207835 h 809625"/>
              <a:gd name="connsiteX28" fmla="*/ 601789 w 809625"/>
              <a:gd name="connsiteY28" fmla="*/ 183451 h 809625"/>
              <a:gd name="connsiteX29" fmla="*/ 207835 w 809625"/>
              <a:gd name="connsiteY29" fmla="*/ 183451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207835" y="183451"/>
                </a:moveTo>
                <a:cubicBezTo>
                  <a:pt x="194368" y="183451"/>
                  <a:pt x="183451" y="194368"/>
                  <a:pt x="183451" y="207835"/>
                </a:cubicBezTo>
                <a:lnTo>
                  <a:pt x="183451" y="601789"/>
                </a:lnTo>
                <a:cubicBezTo>
                  <a:pt x="183451" y="615256"/>
                  <a:pt x="194368" y="626173"/>
                  <a:pt x="207835" y="626173"/>
                </a:cubicBezTo>
                <a:lnTo>
                  <a:pt x="419957" y="626173"/>
                </a:lnTo>
                <a:lnTo>
                  <a:pt x="419957" y="454723"/>
                </a:lnTo>
                <a:lnTo>
                  <a:pt x="361950" y="454723"/>
                </a:lnTo>
                <a:lnTo>
                  <a:pt x="361950" y="388048"/>
                </a:lnTo>
                <a:lnTo>
                  <a:pt x="419671" y="388048"/>
                </a:lnTo>
                <a:lnTo>
                  <a:pt x="419671" y="338613"/>
                </a:lnTo>
                <a:cubicBezTo>
                  <a:pt x="419671" y="281463"/>
                  <a:pt x="454533" y="250317"/>
                  <a:pt x="505396" y="250317"/>
                </a:cubicBezTo>
                <a:cubicBezTo>
                  <a:pt x="522609" y="250238"/>
                  <a:pt x="539813" y="251128"/>
                  <a:pt x="556926" y="252984"/>
                </a:cubicBezTo>
                <a:lnTo>
                  <a:pt x="556926" y="312705"/>
                </a:lnTo>
                <a:lnTo>
                  <a:pt x="522065" y="312705"/>
                </a:lnTo>
                <a:cubicBezTo>
                  <a:pt x="494252" y="312705"/>
                  <a:pt x="488918" y="325945"/>
                  <a:pt x="488918" y="345281"/>
                </a:cubicBezTo>
                <a:lnTo>
                  <a:pt x="488918" y="387953"/>
                </a:lnTo>
                <a:lnTo>
                  <a:pt x="555593" y="387953"/>
                </a:lnTo>
                <a:lnTo>
                  <a:pt x="546925" y="454628"/>
                </a:lnTo>
                <a:lnTo>
                  <a:pt x="489775" y="454628"/>
                </a:lnTo>
                <a:lnTo>
                  <a:pt x="489775" y="626078"/>
                </a:lnTo>
                <a:lnTo>
                  <a:pt x="601789" y="626078"/>
                </a:lnTo>
                <a:cubicBezTo>
                  <a:pt x="615256" y="626078"/>
                  <a:pt x="626173" y="615161"/>
                  <a:pt x="626173" y="601694"/>
                </a:cubicBezTo>
                <a:lnTo>
                  <a:pt x="626173" y="207835"/>
                </a:lnTo>
                <a:cubicBezTo>
                  <a:pt x="626173" y="194368"/>
                  <a:pt x="615256" y="183451"/>
                  <a:pt x="601789" y="183451"/>
                </a:cubicBezTo>
                <a:lnTo>
                  <a:pt x="207835" y="183451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737EC4F3-8130-2F4D-B18F-7AF3E2C71869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7877158" y="2497253"/>
            <a:ext cx="1941914" cy="865381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" b="0" kern="1200" cap="none" baseline="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" b="1" kern="1200" cap="all" baseline="0">
                <a:noFill/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00" kern="1200">
                <a:noFill/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400" b="0" kern="1200">
                <a:noFill/>
                <a:latin typeface="+mn-lt"/>
                <a:ea typeface="+mn-ea"/>
                <a:cs typeface="+mn-cs"/>
              </a:defRPr>
            </a:lvl4pPr>
            <a:lvl5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 sz="400" kern="1200">
                <a:noFill/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00" kern="1200">
                <a:noFill/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00" kern="1200">
                <a:noFill/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00" kern="1200">
                <a:noFill/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00" kern="1200">
                <a:noFill/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559258725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76849F14-4971-4208-82A8-1F0513897926}"/>
              </a:ext>
            </a:extLst>
          </p:cNvPr>
          <p:cNvSpPr/>
          <p:nvPr userDrawn="1"/>
        </p:nvSpPr>
        <p:spPr>
          <a:xfrm>
            <a:off x="719400" y="-2"/>
            <a:ext cx="107532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096AA35B-6D3E-4809-9D78-9CF31081E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9400" y="-2"/>
            <a:ext cx="4680000" cy="4068000"/>
          </a:xfrm>
          <a:solidFill>
            <a:schemeClr val="tx2"/>
          </a:solidFill>
        </p:spPr>
        <p:txBody>
          <a:bodyPr lIns="342000" tIns="342000" rIns="0" bIns="504000" anchor="b" anchorCtr="0"/>
          <a:lstStyle>
            <a:lvl1pPr>
              <a:defRPr sz="4500">
                <a:solidFill>
                  <a:schemeClr val="accent1"/>
                </a:solidFill>
              </a:defRPr>
            </a:lvl1pPr>
          </a:lstStyle>
          <a:p>
            <a:r>
              <a:rPr lang="en-US"/>
              <a:t>Thank you</a:t>
            </a:r>
            <a:endParaRPr lang="en-AU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FD95F930-CD55-469B-9FD0-1150DA73B39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-2"/>
            <a:ext cx="12192000" cy="6876000"/>
          </a:xfrm>
          <a:custGeom>
            <a:avLst/>
            <a:gdLst>
              <a:gd name="connsiteX0" fmla="*/ 114726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472600 w 12192000"/>
              <a:gd name="connsiteY3" fmla="*/ 6858000 h 6858000"/>
              <a:gd name="connsiteX4" fmla="*/ 0 w 12192000"/>
              <a:gd name="connsiteY4" fmla="*/ 0 h 6858000"/>
              <a:gd name="connsiteX5" fmla="*/ 719400 w 12192000"/>
              <a:gd name="connsiteY5" fmla="*/ 0 h 6858000"/>
              <a:gd name="connsiteX6" fmla="*/ 7194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14726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472600" y="6858000"/>
                </a:lnTo>
                <a:close/>
                <a:moveTo>
                  <a:pt x="0" y="0"/>
                </a:moveTo>
                <a:lnTo>
                  <a:pt x="719400" y="0"/>
                </a:lnTo>
                <a:lnTo>
                  <a:pt x="7194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08000" tIns="108000" rIns="115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4417D20-4CB7-471C-A5C4-50706D404792}"/>
              </a:ext>
            </a:extLst>
          </p:cNvPr>
          <p:cNvSpPr txBox="1"/>
          <p:nvPr userDrawn="1"/>
        </p:nvSpPr>
        <p:spPr>
          <a:xfrm>
            <a:off x="7877158" y="3841087"/>
            <a:ext cx="3321238" cy="25564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 cap="none" baseline="0">
                <a:solidFill>
                  <a:schemeClr val="bg1"/>
                </a:solidFill>
              </a:defRPr>
            </a:lvl1pPr>
            <a:lvl2pPr marL="0" lvl="1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b="1" cap="all" baseline="0">
                <a:solidFill>
                  <a:schemeClr val="bg1"/>
                </a:solidFill>
              </a:defRPr>
            </a:lvl2pPr>
            <a:lvl3pPr marL="0" lvl="2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3pPr>
            <a:lvl4pPr marL="0" lvl="3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4pPr>
            <a:lvl5pPr marL="0" lvl="4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5pPr>
            <a:lvl6pPr marL="0" lvl="5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6pPr>
            <a:lvl7pPr marL="0" lvl="6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7pPr>
            <a:lvl8pPr marL="0" lvl="7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8pPr>
            <a:lvl9pPr marL="0" lvl="8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9pPr>
          </a:lstStyle>
          <a:p>
            <a:pPr lvl="0">
              <a:spcBef>
                <a:spcPts val="400"/>
              </a:spcBef>
            </a:pPr>
            <a:r>
              <a:rPr lang="en-US" altLang="en-US" sz="1600" b="0">
                <a:solidFill>
                  <a:schemeClr val="bg2"/>
                </a:solidFill>
                <a:latin typeface="+mj-lt"/>
              </a:rPr>
              <a:t>Forest Stewardship Council®</a:t>
            </a:r>
          </a:p>
          <a:p>
            <a:pPr lvl="0">
              <a:spcBef>
                <a:spcPts val="400"/>
              </a:spcBef>
              <a:spcAft>
                <a:spcPts val="1200"/>
              </a:spcAft>
            </a:pPr>
            <a:r>
              <a:rPr lang="en-US" altLang="en-US" sz="1500" b="1">
                <a:solidFill>
                  <a:schemeClr val="bg2"/>
                </a:solidFill>
              </a:rPr>
              <a:t>FSC® Asociación Civil </a:t>
            </a:r>
          </a:p>
          <a:p>
            <a:pPr lvl="0"/>
            <a:endParaRPr lang="en-US" altLang="en-US" sz="1600" b="0"/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Calle Margarita </a:t>
            </a:r>
            <a:r>
              <a:rPr lang="en-US" altLang="en-US" sz="1200" b="0" err="1">
                <a:solidFill>
                  <a:schemeClr val="bg2"/>
                </a:solidFill>
              </a:rPr>
              <a:t>Maza</a:t>
            </a:r>
            <a:r>
              <a:rPr lang="en-US" altLang="en-US" sz="1200" b="0">
                <a:solidFill>
                  <a:schemeClr val="bg2"/>
                </a:solidFill>
              </a:rPr>
              <a:t> de Juárez 422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Colonia Centro,  Oaxaca, México, CP. 68000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Phone: +52 951 502 6533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Fax: +52 951 502 6594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FSC Asociación Civil © All rights reserved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 err="1">
                <a:solidFill>
                  <a:schemeClr val="bg2"/>
                </a:solidFill>
              </a:rPr>
              <a:t>FSC</a:t>
            </a:r>
            <a:r>
              <a:rPr lang="en-US" altLang="en-US" sz="1200" b="0">
                <a:solidFill>
                  <a:schemeClr val="bg2"/>
                </a:solidFill>
              </a:rPr>
              <a:t>® </a:t>
            </a:r>
            <a:r>
              <a:rPr lang="en-US" altLang="en-US" sz="1200" b="0" err="1">
                <a:solidFill>
                  <a:schemeClr val="bg2"/>
                </a:solidFill>
              </a:rPr>
              <a:t>F000100</a:t>
            </a:r>
            <a:r>
              <a:rPr lang="en-US" altLang="en-US" sz="1200" b="0">
                <a:solidFill>
                  <a:schemeClr val="bg2"/>
                </a:solidFill>
              </a:rPr>
              <a:t> </a:t>
            </a:r>
          </a:p>
          <a:p>
            <a:pPr lvl="0"/>
            <a:r>
              <a:rPr lang="en-US" altLang="en-US" sz="1400" b="0" err="1">
                <a:solidFill>
                  <a:schemeClr val="bg2"/>
                </a:solidFill>
                <a:latin typeface="+mj-lt"/>
              </a:rPr>
              <a:t>www.fsc.org</a:t>
            </a:r>
            <a:endParaRPr lang="en-US" altLang="en-US" sz="1400" b="0">
              <a:solidFill>
                <a:schemeClr val="bg2"/>
              </a:solidFill>
              <a:latin typeface="+mj-lt"/>
            </a:endParaRPr>
          </a:p>
          <a:p>
            <a:pPr lvl="0"/>
            <a:endParaRPr lang="en-US" altLang="en-US" sz="1600" b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F8BC909C-567D-4F9C-A0DF-D05DE8F82075}"/>
              </a:ext>
            </a:extLst>
          </p:cNvPr>
          <p:cNvSpPr>
            <a:spLocks noChangeAspect="1"/>
          </p:cNvSpPr>
          <p:nvPr/>
        </p:nvSpPr>
        <p:spPr>
          <a:xfrm>
            <a:off x="7916652" y="4501548"/>
            <a:ext cx="242382" cy="242382"/>
          </a:xfrm>
          <a:custGeom>
            <a:avLst/>
            <a:gdLst>
              <a:gd name="connsiteX0" fmla="*/ 357950 w 809625"/>
              <a:gd name="connsiteY0" fmla="*/ 333375 h 809625"/>
              <a:gd name="connsiteX1" fmla="*/ 480537 w 809625"/>
              <a:gd name="connsiteY1" fmla="*/ 397002 h 809625"/>
              <a:gd name="connsiteX2" fmla="*/ 357950 w 809625"/>
              <a:gd name="connsiteY2" fmla="*/ 460439 h 809625"/>
              <a:gd name="connsiteX3" fmla="*/ 242887 w 809625"/>
              <a:gd name="connsiteY3" fmla="*/ 249555 h 809625"/>
              <a:gd name="connsiteX4" fmla="*/ 178117 w 809625"/>
              <a:gd name="connsiteY4" fmla="*/ 314325 h 809625"/>
              <a:gd name="connsiteX5" fmla="*/ 178117 w 809625"/>
              <a:gd name="connsiteY5" fmla="*/ 495300 h 809625"/>
              <a:gd name="connsiteX6" fmla="*/ 242887 w 809625"/>
              <a:gd name="connsiteY6" fmla="*/ 560070 h 809625"/>
              <a:gd name="connsiteX7" fmla="*/ 566737 w 809625"/>
              <a:gd name="connsiteY7" fmla="*/ 560070 h 809625"/>
              <a:gd name="connsiteX8" fmla="*/ 631507 w 809625"/>
              <a:gd name="connsiteY8" fmla="*/ 495300 h 809625"/>
              <a:gd name="connsiteX9" fmla="*/ 631507 w 809625"/>
              <a:gd name="connsiteY9" fmla="*/ 314325 h 809625"/>
              <a:gd name="connsiteX10" fmla="*/ 566737 w 809625"/>
              <a:gd name="connsiteY10" fmla="*/ 249555 h 809625"/>
              <a:gd name="connsiteX11" fmla="*/ 404813 w 809625"/>
              <a:gd name="connsiteY11" fmla="*/ 0 h 809625"/>
              <a:gd name="connsiteX12" fmla="*/ 809625 w 809625"/>
              <a:gd name="connsiteY12" fmla="*/ 404813 h 809625"/>
              <a:gd name="connsiteX13" fmla="*/ 404813 w 809625"/>
              <a:gd name="connsiteY13" fmla="*/ 809625 h 809625"/>
              <a:gd name="connsiteX14" fmla="*/ 0 w 809625"/>
              <a:gd name="connsiteY14" fmla="*/ 404813 h 809625"/>
              <a:gd name="connsiteX15" fmla="*/ 404813 w 809625"/>
              <a:gd name="connsiteY15" fmla="*/ 0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809625" h="809625">
                <a:moveTo>
                  <a:pt x="357950" y="333375"/>
                </a:moveTo>
                <a:lnTo>
                  <a:pt x="480537" y="397002"/>
                </a:lnTo>
                <a:lnTo>
                  <a:pt x="357950" y="460439"/>
                </a:lnTo>
                <a:close/>
                <a:moveTo>
                  <a:pt x="242887" y="249555"/>
                </a:moveTo>
                <a:cubicBezTo>
                  <a:pt x="207159" y="249660"/>
                  <a:pt x="178222" y="278597"/>
                  <a:pt x="178117" y="314325"/>
                </a:cubicBezTo>
                <a:lnTo>
                  <a:pt x="178117" y="495300"/>
                </a:lnTo>
                <a:cubicBezTo>
                  <a:pt x="178222" y="531028"/>
                  <a:pt x="207159" y="559965"/>
                  <a:pt x="242887" y="560070"/>
                </a:cubicBezTo>
                <a:lnTo>
                  <a:pt x="566737" y="560070"/>
                </a:lnTo>
                <a:cubicBezTo>
                  <a:pt x="602465" y="559965"/>
                  <a:pt x="631402" y="531028"/>
                  <a:pt x="631507" y="495300"/>
                </a:cubicBezTo>
                <a:lnTo>
                  <a:pt x="631507" y="314325"/>
                </a:lnTo>
                <a:cubicBezTo>
                  <a:pt x="631402" y="278597"/>
                  <a:pt x="602465" y="249660"/>
                  <a:pt x="566737" y="249555"/>
                </a:cubicBezTo>
                <a:close/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2487C176-18A9-4BB0-BD80-DEC34233A800}"/>
              </a:ext>
            </a:extLst>
          </p:cNvPr>
          <p:cNvSpPr>
            <a:spLocks noChangeAspect="1"/>
          </p:cNvSpPr>
          <p:nvPr/>
        </p:nvSpPr>
        <p:spPr>
          <a:xfrm>
            <a:off x="8298996" y="4501548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495146 w 809625"/>
              <a:gd name="connsiteY5" fmla="*/ 220645 h 809625"/>
              <a:gd name="connsiteX6" fmla="*/ 428527 w 809625"/>
              <a:gd name="connsiteY6" fmla="*/ 245841 h 809625"/>
              <a:gd name="connsiteX7" fmla="*/ 399192 w 809625"/>
              <a:gd name="connsiteY7" fmla="*/ 313563 h 809625"/>
              <a:gd name="connsiteX8" fmla="*/ 401573 w 809625"/>
              <a:gd name="connsiteY8" fmla="*/ 334803 h 809625"/>
              <a:gd name="connsiteX9" fmla="*/ 209549 w 809625"/>
              <a:gd name="connsiteY9" fmla="*/ 238125 h 809625"/>
              <a:gd name="connsiteX10" fmla="*/ 238124 w 809625"/>
              <a:gd name="connsiteY10" fmla="*/ 361950 h 809625"/>
              <a:gd name="connsiteX11" fmla="*/ 195928 w 809625"/>
              <a:gd name="connsiteY11" fmla="*/ 350329 h 809625"/>
              <a:gd name="connsiteX12" fmla="*/ 195929 w 809625"/>
              <a:gd name="connsiteY12" fmla="*/ 351567 h 809625"/>
              <a:gd name="connsiteX13" fmla="*/ 270605 w 809625"/>
              <a:gd name="connsiteY13" fmla="*/ 442722 h 809625"/>
              <a:gd name="connsiteX14" fmla="*/ 228599 w 809625"/>
              <a:gd name="connsiteY14" fmla="*/ 444341 h 809625"/>
              <a:gd name="connsiteX15" fmla="*/ 315467 w 809625"/>
              <a:gd name="connsiteY15" fmla="*/ 508920 h 809625"/>
              <a:gd name="connsiteX16" fmla="*/ 200024 w 809625"/>
              <a:gd name="connsiteY16" fmla="*/ 548544 h 809625"/>
              <a:gd name="connsiteX17" fmla="*/ 177831 w 809625"/>
              <a:gd name="connsiteY17" fmla="*/ 547211 h 809625"/>
              <a:gd name="connsiteX18" fmla="*/ 320706 w 809625"/>
              <a:gd name="connsiteY18" fmla="*/ 589026 h 809625"/>
              <a:gd name="connsiteX19" fmla="*/ 585406 w 809625"/>
              <a:gd name="connsiteY19" fmla="*/ 324421 h 809625"/>
              <a:gd name="connsiteX20" fmla="*/ 585406 w 809625"/>
              <a:gd name="connsiteY20" fmla="*/ 312324 h 809625"/>
              <a:gd name="connsiteX21" fmla="*/ 631507 w 809625"/>
              <a:gd name="connsiteY21" fmla="*/ 264223 h 809625"/>
              <a:gd name="connsiteX22" fmla="*/ 578072 w 809625"/>
              <a:gd name="connsiteY22" fmla="*/ 278892 h 809625"/>
              <a:gd name="connsiteX23" fmla="*/ 619124 w 809625"/>
              <a:gd name="connsiteY23" fmla="*/ 227361 h 809625"/>
              <a:gd name="connsiteX24" fmla="*/ 560069 w 809625"/>
              <a:gd name="connsiteY24" fmla="*/ 249936 h 809625"/>
              <a:gd name="connsiteX25" fmla="*/ 495146 w 809625"/>
              <a:gd name="connsiteY25" fmla="*/ 220645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495146" y="220645"/>
                </a:moveTo>
                <a:cubicBezTo>
                  <a:pt x="471342" y="219904"/>
                  <a:pt x="447255" y="228245"/>
                  <a:pt x="428527" y="245841"/>
                </a:cubicBezTo>
                <a:cubicBezTo>
                  <a:pt x="409833" y="263407"/>
                  <a:pt x="399219" y="287911"/>
                  <a:pt x="399192" y="313563"/>
                </a:cubicBezTo>
                <a:cubicBezTo>
                  <a:pt x="399204" y="320709"/>
                  <a:pt x="400003" y="327832"/>
                  <a:pt x="401573" y="334803"/>
                </a:cubicBezTo>
                <a:cubicBezTo>
                  <a:pt x="326768" y="331204"/>
                  <a:pt x="256991" y="296073"/>
                  <a:pt x="209549" y="238125"/>
                </a:cubicBezTo>
                <a:cubicBezTo>
                  <a:pt x="185023" y="280491"/>
                  <a:pt x="197513" y="334615"/>
                  <a:pt x="238124" y="361950"/>
                </a:cubicBezTo>
                <a:cubicBezTo>
                  <a:pt x="223336" y="361482"/>
                  <a:pt x="208871" y="357499"/>
                  <a:pt x="195928" y="350329"/>
                </a:cubicBezTo>
                <a:lnTo>
                  <a:pt x="195929" y="351567"/>
                </a:lnTo>
                <a:cubicBezTo>
                  <a:pt x="195962" y="395849"/>
                  <a:pt x="227195" y="433974"/>
                  <a:pt x="270605" y="442722"/>
                </a:cubicBezTo>
                <a:cubicBezTo>
                  <a:pt x="256901" y="446399"/>
                  <a:pt x="242546" y="446952"/>
                  <a:pt x="228599" y="444341"/>
                </a:cubicBezTo>
                <a:cubicBezTo>
                  <a:pt x="240745" y="482243"/>
                  <a:pt x="275672" y="508209"/>
                  <a:pt x="315467" y="508920"/>
                </a:cubicBezTo>
                <a:cubicBezTo>
                  <a:pt x="282513" y="534690"/>
                  <a:pt x="241858" y="548644"/>
                  <a:pt x="200024" y="548544"/>
                </a:cubicBezTo>
                <a:cubicBezTo>
                  <a:pt x="192607" y="548536"/>
                  <a:pt x="185196" y="548091"/>
                  <a:pt x="177831" y="547211"/>
                </a:cubicBezTo>
                <a:cubicBezTo>
                  <a:pt x="220421" y="574649"/>
                  <a:pt x="270043" y="589172"/>
                  <a:pt x="320706" y="589026"/>
                </a:cubicBezTo>
                <a:cubicBezTo>
                  <a:pt x="492156" y="589026"/>
                  <a:pt x="585406" y="447294"/>
                  <a:pt x="585406" y="324421"/>
                </a:cubicBezTo>
                <a:cubicBezTo>
                  <a:pt x="585406" y="320325"/>
                  <a:pt x="585406" y="316325"/>
                  <a:pt x="585406" y="312324"/>
                </a:cubicBezTo>
                <a:cubicBezTo>
                  <a:pt x="603503" y="299151"/>
                  <a:pt x="619113" y="282863"/>
                  <a:pt x="631507" y="264223"/>
                </a:cubicBezTo>
                <a:cubicBezTo>
                  <a:pt x="614513" y="271713"/>
                  <a:pt x="596508" y="276656"/>
                  <a:pt x="578072" y="278892"/>
                </a:cubicBezTo>
                <a:cubicBezTo>
                  <a:pt x="597588" y="267302"/>
                  <a:pt x="612190" y="248974"/>
                  <a:pt x="619124" y="227361"/>
                </a:cubicBezTo>
                <a:cubicBezTo>
                  <a:pt x="600877" y="238213"/>
                  <a:pt x="580902" y="245848"/>
                  <a:pt x="560069" y="249936"/>
                </a:cubicBezTo>
                <a:cubicBezTo>
                  <a:pt x="542473" y="231209"/>
                  <a:pt x="518951" y="221387"/>
                  <a:pt x="495146" y="22064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41393088-2A2D-4F19-A536-4C5B46718A69}"/>
              </a:ext>
            </a:extLst>
          </p:cNvPr>
          <p:cNvSpPr>
            <a:spLocks noChangeAspect="1"/>
          </p:cNvSpPr>
          <p:nvPr userDrawn="1"/>
        </p:nvSpPr>
        <p:spPr>
          <a:xfrm>
            <a:off x="8681340" y="4501548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230981 w 809625"/>
              <a:gd name="connsiteY5" fmla="*/ 177069 h 809625"/>
              <a:gd name="connsiteX6" fmla="*/ 176498 w 809625"/>
              <a:gd name="connsiteY6" fmla="*/ 231552 h 809625"/>
              <a:gd name="connsiteX7" fmla="*/ 230981 w 809625"/>
              <a:gd name="connsiteY7" fmla="*/ 286035 h 809625"/>
              <a:gd name="connsiteX8" fmla="*/ 285464 w 809625"/>
              <a:gd name="connsiteY8" fmla="*/ 231552 h 809625"/>
              <a:gd name="connsiteX9" fmla="*/ 230981 w 809625"/>
              <a:gd name="connsiteY9" fmla="*/ 177069 h 809625"/>
              <a:gd name="connsiteX10" fmla="*/ 517493 w 809625"/>
              <a:gd name="connsiteY10" fmla="*/ 319849 h 809625"/>
              <a:gd name="connsiteX11" fmla="*/ 428625 w 809625"/>
              <a:gd name="connsiteY11" fmla="*/ 368617 h 809625"/>
              <a:gd name="connsiteX12" fmla="*/ 426910 w 809625"/>
              <a:gd name="connsiteY12" fmla="*/ 368617 h 809625"/>
              <a:gd name="connsiteX13" fmla="*/ 426910 w 809625"/>
              <a:gd name="connsiteY13" fmla="*/ 327278 h 809625"/>
              <a:gd name="connsiteX14" fmla="*/ 336899 w 809625"/>
              <a:gd name="connsiteY14" fmla="*/ 327278 h 809625"/>
              <a:gd name="connsiteX15" fmla="*/ 336899 w 809625"/>
              <a:gd name="connsiteY15" fmla="*/ 629602 h 809625"/>
              <a:gd name="connsiteX16" fmla="*/ 430720 w 809625"/>
              <a:gd name="connsiteY16" fmla="*/ 629602 h 809625"/>
              <a:gd name="connsiteX17" fmla="*/ 430720 w 809625"/>
              <a:gd name="connsiteY17" fmla="*/ 480059 h 809625"/>
              <a:gd name="connsiteX18" fmla="*/ 487108 w 809625"/>
              <a:gd name="connsiteY18" fmla="*/ 402430 h 809625"/>
              <a:gd name="connsiteX19" fmla="*/ 535876 w 809625"/>
              <a:gd name="connsiteY19" fmla="*/ 482631 h 809625"/>
              <a:gd name="connsiteX20" fmla="*/ 535876 w 809625"/>
              <a:gd name="connsiteY20" fmla="*/ 629602 h 809625"/>
              <a:gd name="connsiteX21" fmla="*/ 630174 w 809625"/>
              <a:gd name="connsiteY21" fmla="*/ 629602 h 809625"/>
              <a:gd name="connsiteX22" fmla="*/ 630174 w 809625"/>
              <a:gd name="connsiteY22" fmla="*/ 463771 h 809625"/>
              <a:gd name="connsiteX23" fmla="*/ 517493 w 809625"/>
              <a:gd name="connsiteY23" fmla="*/ 319849 h 809625"/>
              <a:gd name="connsiteX24" fmla="*/ 183927 w 809625"/>
              <a:gd name="connsiteY24" fmla="*/ 327278 h 809625"/>
              <a:gd name="connsiteX25" fmla="*/ 183927 w 809625"/>
              <a:gd name="connsiteY25" fmla="*/ 629602 h 809625"/>
              <a:gd name="connsiteX26" fmla="*/ 277939 w 809625"/>
              <a:gd name="connsiteY26" fmla="*/ 629602 h 809625"/>
              <a:gd name="connsiteX27" fmla="*/ 277939 w 809625"/>
              <a:gd name="connsiteY27" fmla="*/ 327278 h 809625"/>
              <a:gd name="connsiteX28" fmla="*/ 183927 w 809625"/>
              <a:gd name="connsiteY28" fmla="*/ 327278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230981" y="177069"/>
                </a:moveTo>
                <a:cubicBezTo>
                  <a:pt x="200891" y="177069"/>
                  <a:pt x="176498" y="201462"/>
                  <a:pt x="176498" y="231552"/>
                </a:cubicBezTo>
                <a:cubicBezTo>
                  <a:pt x="176498" y="261642"/>
                  <a:pt x="200891" y="286035"/>
                  <a:pt x="230981" y="286035"/>
                </a:cubicBezTo>
                <a:cubicBezTo>
                  <a:pt x="261071" y="286035"/>
                  <a:pt x="285464" y="261642"/>
                  <a:pt x="285464" y="231552"/>
                </a:cubicBezTo>
                <a:cubicBezTo>
                  <a:pt x="285464" y="201462"/>
                  <a:pt x="261071" y="177069"/>
                  <a:pt x="230981" y="177069"/>
                </a:cubicBezTo>
                <a:close/>
                <a:moveTo>
                  <a:pt x="517493" y="319849"/>
                </a:moveTo>
                <a:cubicBezTo>
                  <a:pt x="481146" y="318484"/>
                  <a:pt x="446996" y="337225"/>
                  <a:pt x="428625" y="368617"/>
                </a:cubicBezTo>
                <a:lnTo>
                  <a:pt x="426910" y="368617"/>
                </a:lnTo>
                <a:lnTo>
                  <a:pt x="426910" y="327278"/>
                </a:lnTo>
                <a:lnTo>
                  <a:pt x="336899" y="327278"/>
                </a:lnTo>
                <a:lnTo>
                  <a:pt x="336899" y="629602"/>
                </a:lnTo>
                <a:lnTo>
                  <a:pt x="430720" y="629602"/>
                </a:lnTo>
                <a:lnTo>
                  <a:pt x="430720" y="480059"/>
                </a:lnTo>
                <a:cubicBezTo>
                  <a:pt x="430720" y="440530"/>
                  <a:pt x="438912" y="402430"/>
                  <a:pt x="487108" y="402430"/>
                </a:cubicBezTo>
                <a:cubicBezTo>
                  <a:pt x="535305" y="402430"/>
                  <a:pt x="535876" y="447579"/>
                  <a:pt x="535876" y="482631"/>
                </a:cubicBezTo>
                <a:lnTo>
                  <a:pt x="535876" y="629602"/>
                </a:lnTo>
                <a:lnTo>
                  <a:pt x="630174" y="629602"/>
                </a:lnTo>
                <a:lnTo>
                  <a:pt x="630174" y="463771"/>
                </a:lnTo>
                <a:cubicBezTo>
                  <a:pt x="630174" y="382428"/>
                  <a:pt x="612743" y="319849"/>
                  <a:pt x="517493" y="319849"/>
                </a:cubicBezTo>
                <a:close/>
                <a:moveTo>
                  <a:pt x="183927" y="327278"/>
                </a:moveTo>
                <a:lnTo>
                  <a:pt x="183927" y="629602"/>
                </a:lnTo>
                <a:lnTo>
                  <a:pt x="277939" y="629602"/>
                </a:lnTo>
                <a:lnTo>
                  <a:pt x="277939" y="327278"/>
                </a:lnTo>
                <a:lnTo>
                  <a:pt x="183927" y="32727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F1F78FC3-536A-4C34-B2A3-95085DF38A8D}"/>
              </a:ext>
            </a:extLst>
          </p:cNvPr>
          <p:cNvSpPr>
            <a:spLocks noChangeAspect="1"/>
          </p:cNvSpPr>
          <p:nvPr userDrawn="1"/>
        </p:nvSpPr>
        <p:spPr>
          <a:xfrm>
            <a:off x="9063685" y="4501548"/>
            <a:ext cx="242382" cy="242382"/>
          </a:xfrm>
          <a:custGeom>
            <a:avLst/>
            <a:gdLst>
              <a:gd name="connsiteX0" fmla="*/ 404812 w 809625"/>
              <a:gd name="connsiteY0" fmla="*/ 288417 h 809625"/>
              <a:gd name="connsiteX1" fmla="*/ 288417 w 809625"/>
              <a:gd name="connsiteY1" fmla="*/ 404812 h 809625"/>
              <a:gd name="connsiteX2" fmla="*/ 404812 w 809625"/>
              <a:gd name="connsiteY2" fmla="*/ 521208 h 809625"/>
              <a:gd name="connsiteX3" fmla="*/ 521208 w 809625"/>
              <a:gd name="connsiteY3" fmla="*/ 404812 h 809625"/>
              <a:gd name="connsiteX4" fmla="*/ 404812 w 809625"/>
              <a:gd name="connsiteY4" fmla="*/ 288417 h 809625"/>
              <a:gd name="connsiteX5" fmla="*/ 525780 w 809625"/>
              <a:gd name="connsiteY5" fmla="*/ 256603 h 809625"/>
              <a:gd name="connsiteX6" fmla="*/ 498538 w 809625"/>
              <a:gd name="connsiteY6" fmla="*/ 283844 h 809625"/>
              <a:gd name="connsiteX7" fmla="*/ 525780 w 809625"/>
              <a:gd name="connsiteY7" fmla="*/ 311086 h 809625"/>
              <a:gd name="connsiteX8" fmla="*/ 553021 w 809625"/>
              <a:gd name="connsiteY8" fmla="*/ 283844 h 809625"/>
              <a:gd name="connsiteX9" fmla="*/ 525780 w 809625"/>
              <a:gd name="connsiteY9" fmla="*/ 256603 h 809625"/>
              <a:gd name="connsiteX10" fmla="*/ 404812 w 809625"/>
              <a:gd name="connsiteY10" fmla="*/ 219075 h 809625"/>
              <a:gd name="connsiteX11" fmla="*/ 496443 w 809625"/>
              <a:gd name="connsiteY11" fmla="*/ 220408 h 809625"/>
              <a:gd name="connsiteX12" fmla="*/ 538543 w 809625"/>
              <a:gd name="connsiteY12" fmla="*/ 228218 h 809625"/>
              <a:gd name="connsiteX13" fmla="*/ 581501 w 809625"/>
              <a:gd name="connsiteY13" fmla="*/ 271176 h 809625"/>
              <a:gd name="connsiteX14" fmla="*/ 589311 w 809625"/>
              <a:gd name="connsiteY14" fmla="*/ 313277 h 809625"/>
              <a:gd name="connsiteX15" fmla="*/ 590645 w 809625"/>
              <a:gd name="connsiteY15" fmla="*/ 404907 h 809625"/>
              <a:gd name="connsiteX16" fmla="*/ 589311 w 809625"/>
              <a:gd name="connsiteY16" fmla="*/ 496538 h 809625"/>
              <a:gd name="connsiteX17" fmla="*/ 581501 w 809625"/>
              <a:gd name="connsiteY17" fmla="*/ 538638 h 809625"/>
              <a:gd name="connsiteX18" fmla="*/ 538543 w 809625"/>
              <a:gd name="connsiteY18" fmla="*/ 581596 h 809625"/>
              <a:gd name="connsiteX19" fmla="*/ 496443 w 809625"/>
              <a:gd name="connsiteY19" fmla="*/ 589406 h 809625"/>
              <a:gd name="connsiteX20" fmla="*/ 404812 w 809625"/>
              <a:gd name="connsiteY20" fmla="*/ 590740 h 809625"/>
              <a:gd name="connsiteX21" fmla="*/ 313182 w 809625"/>
              <a:gd name="connsiteY21" fmla="*/ 589407 h 809625"/>
              <a:gd name="connsiteX22" fmla="*/ 271081 w 809625"/>
              <a:gd name="connsiteY22" fmla="*/ 581596 h 809625"/>
              <a:gd name="connsiteX23" fmla="*/ 228600 w 809625"/>
              <a:gd name="connsiteY23" fmla="*/ 538543 h 809625"/>
              <a:gd name="connsiteX24" fmla="*/ 220789 w 809625"/>
              <a:gd name="connsiteY24" fmla="*/ 496443 h 809625"/>
              <a:gd name="connsiteX25" fmla="*/ 219075 w 809625"/>
              <a:gd name="connsiteY25" fmla="*/ 404812 h 809625"/>
              <a:gd name="connsiteX26" fmla="*/ 220408 w 809625"/>
              <a:gd name="connsiteY26" fmla="*/ 313182 h 809625"/>
              <a:gd name="connsiteX27" fmla="*/ 228600 w 809625"/>
              <a:gd name="connsiteY27" fmla="*/ 271081 h 809625"/>
              <a:gd name="connsiteX28" fmla="*/ 271081 w 809625"/>
              <a:gd name="connsiteY28" fmla="*/ 228600 h 809625"/>
              <a:gd name="connsiteX29" fmla="*/ 313181 w 809625"/>
              <a:gd name="connsiteY29" fmla="*/ 220789 h 809625"/>
              <a:gd name="connsiteX30" fmla="*/ 404812 w 809625"/>
              <a:gd name="connsiteY30" fmla="*/ 219075 h 809625"/>
              <a:gd name="connsiteX31" fmla="*/ 405669 w 809625"/>
              <a:gd name="connsiteY31" fmla="*/ 177736 h 809625"/>
              <a:gd name="connsiteX32" fmla="*/ 404812 w 809625"/>
              <a:gd name="connsiteY32" fmla="*/ 178212 h 809625"/>
              <a:gd name="connsiteX33" fmla="*/ 311372 w 809625"/>
              <a:gd name="connsiteY33" fmla="*/ 179546 h 809625"/>
              <a:gd name="connsiteX34" fmla="*/ 256317 w 809625"/>
              <a:gd name="connsiteY34" fmla="*/ 190500 h 809625"/>
              <a:gd name="connsiteX35" fmla="*/ 189642 w 809625"/>
              <a:gd name="connsiteY35" fmla="*/ 257175 h 809625"/>
              <a:gd name="connsiteX36" fmla="*/ 179069 w 809625"/>
              <a:gd name="connsiteY36" fmla="*/ 312229 h 809625"/>
              <a:gd name="connsiteX37" fmla="*/ 177736 w 809625"/>
              <a:gd name="connsiteY37" fmla="*/ 405669 h 809625"/>
              <a:gd name="connsiteX38" fmla="*/ 179069 w 809625"/>
              <a:gd name="connsiteY38" fmla="*/ 499110 h 809625"/>
              <a:gd name="connsiteX39" fmla="*/ 190500 w 809625"/>
              <a:gd name="connsiteY39" fmla="*/ 553307 h 809625"/>
              <a:gd name="connsiteX40" fmla="*/ 257175 w 809625"/>
              <a:gd name="connsiteY40" fmla="*/ 619982 h 809625"/>
              <a:gd name="connsiteX41" fmla="*/ 312229 w 809625"/>
              <a:gd name="connsiteY41" fmla="*/ 630554 h 809625"/>
              <a:gd name="connsiteX42" fmla="*/ 405669 w 809625"/>
              <a:gd name="connsiteY42" fmla="*/ 631888 h 809625"/>
              <a:gd name="connsiteX43" fmla="*/ 499110 w 809625"/>
              <a:gd name="connsiteY43" fmla="*/ 630554 h 809625"/>
              <a:gd name="connsiteX44" fmla="*/ 554164 w 809625"/>
              <a:gd name="connsiteY44" fmla="*/ 619982 h 809625"/>
              <a:gd name="connsiteX45" fmla="*/ 620839 w 809625"/>
              <a:gd name="connsiteY45" fmla="*/ 553307 h 809625"/>
              <a:gd name="connsiteX46" fmla="*/ 631412 w 809625"/>
              <a:gd name="connsiteY46" fmla="*/ 498252 h 809625"/>
              <a:gd name="connsiteX47" fmla="*/ 632745 w 809625"/>
              <a:gd name="connsiteY47" fmla="*/ 404812 h 809625"/>
              <a:gd name="connsiteX48" fmla="*/ 631412 w 809625"/>
              <a:gd name="connsiteY48" fmla="*/ 311372 h 809625"/>
              <a:gd name="connsiteX49" fmla="*/ 620839 w 809625"/>
              <a:gd name="connsiteY49" fmla="*/ 256317 h 809625"/>
              <a:gd name="connsiteX50" fmla="*/ 554164 w 809625"/>
              <a:gd name="connsiteY50" fmla="*/ 189642 h 809625"/>
              <a:gd name="connsiteX51" fmla="*/ 499110 w 809625"/>
              <a:gd name="connsiteY51" fmla="*/ 179069 h 809625"/>
              <a:gd name="connsiteX52" fmla="*/ 405669 w 809625"/>
              <a:gd name="connsiteY52" fmla="*/ 177736 h 809625"/>
              <a:gd name="connsiteX53" fmla="*/ 404813 w 809625"/>
              <a:gd name="connsiteY53" fmla="*/ 0 h 809625"/>
              <a:gd name="connsiteX54" fmla="*/ 809625 w 809625"/>
              <a:gd name="connsiteY54" fmla="*/ 404813 h 809625"/>
              <a:gd name="connsiteX55" fmla="*/ 404813 w 809625"/>
              <a:gd name="connsiteY55" fmla="*/ 809625 h 809625"/>
              <a:gd name="connsiteX56" fmla="*/ 0 w 809625"/>
              <a:gd name="connsiteY56" fmla="*/ 404813 h 809625"/>
              <a:gd name="connsiteX57" fmla="*/ 404813 w 809625"/>
              <a:gd name="connsiteY57" fmla="*/ 0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809625" h="809625">
                <a:moveTo>
                  <a:pt x="404812" y="288417"/>
                </a:moveTo>
                <a:cubicBezTo>
                  <a:pt x="340529" y="288417"/>
                  <a:pt x="288417" y="340529"/>
                  <a:pt x="288417" y="404812"/>
                </a:cubicBezTo>
                <a:cubicBezTo>
                  <a:pt x="288417" y="469096"/>
                  <a:pt x="340529" y="521208"/>
                  <a:pt x="404812" y="521208"/>
                </a:cubicBezTo>
                <a:cubicBezTo>
                  <a:pt x="469096" y="521208"/>
                  <a:pt x="521208" y="469096"/>
                  <a:pt x="521208" y="404812"/>
                </a:cubicBezTo>
                <a:cubicBezTo>
                  <a:pt x="521208" y="340529"/>
                  <a:pt x="469096" y="288417"/>
                  <a:pt x="404812" y="288417"/>
                </a:cubicBezTo>
                <a:close/>
                <a:moveTo>
                  <a:pt x="525780" y="256603"/>
                </a:moveTo>
                <a:cubicBezTo>
                  <a:pt x="510734" y="256603"/>
                  <a:pt x="498538" y="268799"/>
                  <a:pt x="498538" y="283844"/>
                </a:cubicBezTo>
                <a:cubicBezTo>
                  <a:pt x="498538" y="298890"/>
                  <a:pt x="510734" y="311086"/>
                  <a:pt x="525780" y="311086"/>
                </a:cubicBezTo>
                <a:cubicBezTo>
                  <a:pt x="540825" y="311086"/>
                  <a:pt x="553021" y="298890"/>
                  <a:pt x="553021" y="283844"/>
                </a:cubicBezTo>
                <a:cubicBezTo>
                  <a:pt x="553021" y="268799"/>
                  <a:pt x="540825" y="256603"/>
                  <a:pt x="525780" y="256603"/>
                </a:cubicBezTo>
                <a:close/>
                <a:moveTo>
                  <a:pt x="404812" y="219075"/>
                </a:moveTo>
                <a:cubicBezTo>
                  <a:pt x="465296" y="219075"/>
                  <a:pt x="472535" y="219075"/>
                  <a:pt x="496443" y="220408"/>
                </a:cubicBezTo>
                <a:cubicBezTo>
                  <a:pt x="510824" y="220533"/>
                  <a:pt x="525073" y="223177"/>
                  <a:pt x="538543" y="228218"/>
                </a:cubicBezTo>
                <a:cubicBezTo>
                  <a:pt x="558257" y="235874"/>
                  <a:pt x="573845" y="251463"/>
                  <a:pt x="581501" y="271176"/>
                </a:cubicBezTo>
                <a:cubicBezTo>
                  <a:pt x="586542" y="284646"/>
                  <a:pt x="589186" y="298895"/>
                  <a:pt x="589311" y="313277"/>
                </a:cubicBezTo>
                <a:cubicBezTo>
                  <a:pt x="590454" y="337185"/>
                  <a:pt x="590645" y="344424"/>
                  <a:pt x="590645" y="404907"/>
                </a:cubicBezTo>
                <a:cubicBezTo>
                  <a:pt x="590645" y="465391"/>
                  <a:pt x="590645" y="472630"/>
                  <a:pt x="589311" y="496538"/>
                </a:cubicBezTo>
                <a:cubicBezTo>
                  <a:pt x="589186" y="510920"/>
                  <a:pt x="586543" y="525168"/>
                  <a:pt x="581501" y="538638"/>
                </a:cubicBezTo>
                <a:cubicBezTo>
                  <a:pt x="573845" y="558352"/>
                  <a:pt x="558257" y="573940"/>
                  <a:pt x="538543" y="581596"/>
                </a:cubicBezTo>
                <a:cubicBezTo>
                  <a:pt x="525073" y="586638"/>
                  <a:pt x="510824" y="589281"/>
                  <a:pt x="496443" y="589406"/>
                </a:cubicBezTo>
                <a:cubicBezTo>
                  <a:pt x="472535" y="590550"/>
                  <a:pt x="465391" y="590740"/>
                  <a:pt x="404812" y="590740"/>
                </a:cubicBezTo>
                <a:cubicBezTo>
                  <a:pt x="344233" y="590740"/>
                  <a:pt x="337089" y="590740"/>
                  <a:pt x="313182" y="589407"/>
                </a:cubicBezTo>
                <a:cubicBezTo>
                  <a:pt x="298800" y="589281"/>
                  <a:pt x="284551" y="586638"/>
                  <a:pt x="271081" y="581596"/>
                </a:cubicBezTo>
                <a:cubicBezTo>
                  <a:pt x="251529" y="573808"/>
                  <a:pt x="236125" y="558197"/>
                  <a:pt x="228600" y="538543"/>
                </a:cubicBezTo>
                <a:cubicBezTo>
                  <a:pt x="223558" y="525073"/>
                  <a:pt x="220914" y="510824"/>
                  <a:pt x="220789" y="496443"/>
                </a:cubicBezTo>
                <a:cubicBezTo>
                  <a:pt x="219075" y="472535"/>
                  <a:pt x="219075" y="465296"/>
                  <a:pt x="219075" y="404812"/>
                </a:cubicBezTo>
                <a:cubicBezTo>
                  <a:pt x="219075" y="344328"/>
                  <a:pt x="219075" y="337089"/>
                  <a:pt x="220408" y="313182"/>
                </a:cubicBezTo>
                <a:cubicBezTo>
                  <a:pt x="220655" y="298777"/>
                  <a:pt x="223428" y="284527"/>
                  <a:pt x="228600" y="271081"/>
                </a:cubicBezTo>
                <a:cubicBezTo>
                  <a:pt x="236258" y="251643"/>
                  <a:pt x="251643" y="236258"/>
                  <a:pt x="271081" y="228600"/>
                </a:cubicBezTo>
                <a:cubicBezTo>
                  <a:pt x="284551" y="223558"/>
                  <a:pt x="298800" y="220914"/>
                  <a:pt x="313181" y="220789"/>
                </a:cubicBezTo>
                <a:cubicBezTo>
                  <a:pt x="337089" y="219075"/>
                  <a:pt x="344328" y="219075"/>
                  <a:pt x="404812" y="219075"/>
                </a:cubicBezTo>
                <a:close/>
                <a:moveTo>
                  <a:pt x="405669" y="177736"/>
                </a:moveTo>
                <a:lnTo>
                  <a:pt x="404812" y="178212"/>
                </a:lnTo>
                <a:cubicBezTo>
                  <a:pt x="343281" y="178212"/>
                  <a:pt x="335565" y="178212"/>
                  <a:pt x="311372" y="179546"/>
                </a:cubicBezTo>
                <a:cubicBezTo>
                  <a:pt x="292533" y="180057"/>
                  <a:pt x="273917" y="183760"/>
                  <a:pt x="256317" y="190500"/>
                </a:cubicBezTo>
                <a:cubicBezTo>
                  <a:pt x="225602" y="202200"/>
                  <a:pt x="201343" y="226459"/>
                  <a:pt x="189642" y="257175"/>
                </a:cubicBezTo>
                <a:cubicBezTo>
                  <a:pt x="183033" y="274797"/>
                  <a:pt x="179458" y="293412"/>
                  <a:pt x="179069" y="312229"/>
                </a:cubicBezTo>
                <a:cubicBezTo>
                  <a:pt x="178022" y="336423"/>
                  <a:pt x="177736" y="344138"/>
                  <a:pt x="177736" y="405669"/>
                </a:cubicBezTo>
                <a:cubicBezTo>
                  <a:pt x="177736" y="467201"/>
                  <a:pt x="177736" y="474916"/>
                  <a:pt x="179069" y="499110"/>
                </a:cubicBezTo>
                <a:cubicBezTo>
                  <a:pt x="179828" y="517687"/>
                  <a:pt x="183692" y="536005"/>
                  <a:pt x="190500" y="553307"/>
                </a:cubicBezTo>
                <a:cubicBezTo>
                  <a:pt x="202200" y="584022"/>
                  <a:pt x="226459" y="608281"/>
                  <a:pt x="257175" y="619982"/>
                </a:cubicBezTo>
                <a:cubicBezTo>
                  <a:pt x="274797" y="626591"/>
                  <a:pt x="293412" y="630165"/>
                  <a:pt x="312229" y="630554"/>
                </a:cubicBezTo>
                <a:cubicBezTo>
                  <a:pt x="336423" y="631602"/>
                  <a:pt x="344138" y="631888"/>
                  <a:pt x="405669" y="631888"/>
                </a:cubicBezTo>
                <a:cubicBezTo>
                  <a:pt x="467201" y="631888"/>
                  <a:pt x="474916" y="631888"/>
                  <a:pt x="499110" y="630554"/>
                </a:cubicBezTo>
                <a:cubicBezTo>
                  <a:pt x="517927" y="630165"/>
                  <a:pt x="536542" y="626591"/>
                  <a:pt x="554164" y="619982"/>
                </a:cubicBezTo>
                <a:cubicBezTo>
                  <a:pt x="584880" y="608281"/>
                  <a:pt x="609138" y="584022"/>
                  <a:pt x="620839" y="553307"/>
                </a:cubicBezTo>
                <a:cubicBezTo>
                  <a:pt x="627448" y="535684"/>
                  <a:pt x="631023" y="517069"/>
                  <a:pt x="631412" y="498252"/>
                </a:cubicBezTo>
                <a:cubicBezTo>
                  <a:pt x="632460" y="474059"/>
                  <a:pt x="632745" y="466344"/>
                  <a:pt x="632745" y="404812"/>
                </a:cubicBezTo>
                <a:cubicBezTo>
                  <a:pt x="632745" y="343281"/>
                  <a:pt x="632745" y="335565"/>
                  <a:pt x="631412" y="311372"/>
                </a:cubicBezTo>
                <a:cubicBezTo>
                  <a:pt x="631023" y="292555"/>
                  <a:pt x="627448" y="273940"/>
                  <a:pt x="620839" y="256317"/>
                </a:cubicBezTo>
                <a:cubicBezTo>
                  <a:pt x="609138" y="225602"/>
                  <a:pt x="584880" y="201343"/>
                  <a:pt x="554164" y="189642"/>
                </a:cubicBezTo>
                <a:cubicBezTo>
                  <a:pt x="536542" y="183033"/>
                  <a:pt x="517927" y="179458"/>
                  <a:pt x="499110" y="179069"/>
                </a:cubicBezTo>
                <a:cubicBezTo>
                  <a:pt x="474916" y="178022"/>
                  <a:pt x="467201" y="177736"/>
                  <a:pt x="405669" y="177736"/>
                </a:cubicBezTo>
                <a:close/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37645F6A-EDD9-42D2-A01C-F8414798D57C}"/>
              </a:ext>
            </a:extLst>
          </p:cNvPr>
          <p:cNvSpPr>
            <a:spLocks noChangeAspect="1"/>
          </p:cNvSpPr>
          <p:nvPr/>
        </p:nvSpPr>
        <p:spPr>
          <a:xfrm>
            <a:off x="9446029" y="4501548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207835 w 809625"/>
              <a:gd name="connsiteY5" fmla="*/ 183451 h 809625"/>
              <a:gd name="connsiteX6" fmla="*/ 183451 w 809625"/>
              <a:gd name="connsiteY6" fmla="*/ 207835 h 809625"/>
              <a:gd name="connsiteX7" fmla="*/ 183451 w 809625"/>
              <a:gd name="connsiteY7" fmla="*/ 601789 h 809625"/>
              <a:gd name="connsiteX8" fmla="*/ 207835 w 809625"/>
              <a:gd name="connsiteY8" fmla="*/ 626173 h 809625"/>
              <a:gd name="connsiteX9" fmla="*/ 419957 w 809625"/>
              <a:gd name="connsiteY9" fmla="*/ 626173 h 809625"/>
              <a:gd name="connsiteX10" fmla="*/ 419957 w 809625"/>
              <a:gd name="connsiteY10" fmla="*/ 454723 h 809625"/>
              <a:gd name="connsiteX11" fmla="*/ 361950 w 809625"/>
              <a:gd name="connsiteY11" fmla="*/ 454723 h 809625"/>
              <a:gd name="connsiteX12" fmla="*/ 361950 w 809625"/>
              <a:gd name="connsiteY12" fmla="*/ 388048 h 809625"/>
              <a:gd name="connsiteX13" fmla="*/ 419671 w 809625"/>
              <a:gd name="connsiteY13" fmla="*/ 388048 h 809625"/>
              <a:gd name="connsiteX14" fmla="*/ 419671 w 809625"/>
              <a:gd name="connsiteY14" fmla="*/ 338613 h 809625"/>
              <a:gd name="connsiteX15" fmla="*/ 505396 w 809625"/>
              <a:gd name="connsiteY15" fmla="*/ 250317 h 809625"/>
              <a:gd name="connsiteX16" fmla="*/ 556926 w 809625"/>
              <a:gd name="connsiteY16" fmla="*/ 252984 h 809625"/>
              <a:gd name="connsiteX17" fmla="*/ 556926 w 809625"/>
              <a:gd name="connsiteY17" fmla="*/ 312705 h 809625"/>
              <a:gd name="connsiteX18" fmla="*/ 522065 w 809625"/>
              <a:gd name="connsiteY18" fmla="*/ 312705 h 809625"/>
              <a:gd name="connsiteX19" fmla="*/ 488918 w 809625"/>
              <a:gd name="connsiteY19" fmla="*/ 345281 h 809625"/>
              <a:gd name="connsiteX20" fmla="*/ 488918 w 809625"/>
              <a:gd name="connsiteY20" fmla="*/ 387953 h 809625"/>
              <a:gd name="connsiteX21" fmla="*/ 555593 w 809625"/>
              <a:gd name="connsiteY21" fmla="*/ 387953 h 809625"/>
              <a:gd name="connsiteX22" fmla="*/ 546925 w 809625"/>
              <a:gd name="connsiteY22" fmla="*/ 454628 h 809625"/>
              <a:gd name="connsiteX23" fmla="*/ 489775 w 809625"/>
              <a:gd name="connsiteY23" fmla="*/ 454628 h 809625"/>
              <a:gd name="connsiteX24" fmla="*/ 489775 w 809625"/>
              <a:gd name="connsiteY24" fmla="*/ 626078 h 809625"/>
              <a:gd name="connsiteX25" fmla="*/ 601789 w 809625"/>
              <a:gd name="connsiteY25" fmla="*/ 626078 h 809625"/>
              <a:gd name="connsiteX26" fmla="*/ 626173 w 809625"/>
              <a:gd name="connsiteY26" fmla="*/ 601694 h 809625"/>
              <a:gd name="connsiteX27" fmla="*/ 626173 w 809625"/>
              <a:gd name="connsiteY27" fmla="*/ 207835 h 809625"/>
              <a:gd name="connsiteX28" fmla="*/ 601789 w 809625"/>
              <a:gd name="connsiteY28" fmla="*/ 183451 h 809625"/>
              <a:gd name="connsiteX29" fmla="*/ 207835 w 809625"/>
              <a:gd name="connsiteY29" fmla="*/ 183451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207835" y="183451"/>
                </a:moveTo>
                <a:cubicBezTo>
                  <a:pt x="194368" y="183451"/>
                  <a:pt x="183451" y="194368"/>
                  <a:pt x="183451" y="207835"/>
                </a:cubicBezTo>
                <a:lnTo>
                  <a:pt x="183451" y="601789"/>
                </a:lnTo>
                <a:cubicBezTo>
                  <a:pt x="183451" y="615256"/>
                  <a:pt x="194368" y="626173"/>
                  <a:pt x="207835" y="626173"/>
                </a:cubicBezTo>
                <a:lnTo>
                  <a:pt x="419957" y="626173"/>
                </a:lnTo>
                <a:lnTo>
                  <a:pt x="419957" y="454723"/>
                </a:lnTo>
                <a:lnTo>
                  <a:pt x="361950" y="454723"/>
                </a:lnTo>
                <a:lnTo>
                  <a:pt x="361950" y="388048"/>
                </a:lnTo>
                <a:lnTo>
                  <a:pt x="419671" y="388048"/>
                </a:lnTo>
                <a:lnTo>
                  <a:pt x="419671" y="338613"/>
                </a:lnTo>
                <a:cubicBezTo>
                  <a:pt x="419671" y="281463"/>
                  <a:pt x="454533" y="250317"/>
                  <a:pt x="505396" y="250317"/>
                </a:cubicBezTo>
                <a:cubicBezTo>
                  <a:pt x="522609" y="250238"/>
                  <a:pt x="539813" y="251128"/>
                  <a:pt x="556926" y="252984"/>
                </a:cubicBezTo>
                <a:lnTo>
                  <a:pt x="556926" y="312705"/>
                </a:lnTo>
                <a:lnTo>
                  <a:pt x="522065" y="312705"/>
                </a:lnTo>
                <a:cubicBezTo>
                  <a:pt x="494252" y="312705"/>
                  <a:pt x="488918" y="325945"/>
                  <a:pt x="488918" y="345281"/>
                </a:cubicBezTo>
                <a:lnTo>
                  <a:pt x="488918" y="387953"/>
                </a:lnTo>
                <a:lnTo>
                  <a:pt x="555593" y="387953"/>
                </a:lnTo>
                <a:lnTo>
                  <a:pt x="546925" y="454628"/>
                </a:lnTo>
                <a:lnTo>
                  <a:pt x="489775" y="454628"/>
                </a:lnTo>
                <a:lnTo>
                  <a:pt x="489775" y="626078"/>
                </a:lnTo>
                <a:lnTo>
                  <a:pt x="601789" y="626078"/>
                </a:lnTo>
                <a:cubicBezTo>
                  <a:pt x="615256" y="626078"/>
                  <a:pt x="626173" y="615161"/>
                  <a:pt x="626173" y="601694"/>
                </a:cubicBezTo>
                <a:lnTo>
                  <a:pt x="626173" y="207835"/>
                </a:lnTo>
                <a:cubicBezTo>
                  <a:pt x="626173" y="194368"/>
                  <a:pt x="615256" y="183451"/>
                  <a:pt x="601789" y="183451"/>
                </a:cubicBezTo>
                <a:lnTo>
                  <a:pt x="207835" y="183451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737EC4F3-8130-2F4D-B18F-7AF3E2C71869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7877158" y="2497253"/>
            <a:ext cx="1941914" cy="865381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" b="0" kern="1200" cap="none" baseline="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" b="1" kern="1200" cap="all" baseline="0">
                <a:noFill/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00" kern="1200">
                <a:noFill/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400" b="0" kern="1200">
                <a:noFill/>
                <a:latin typeface="+mn-lt"/>
                <a:ea typeface="+mn-ea"/>
                <a:cs typeface="+mn-cs"/>
              </a:defRPr>
            </a:lvl4pPr>
            <a:lvl5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 sz="400" kern="1200">
                <a:noFill/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00" kern="1200">
                <a:noFill/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00" kern="1200">
                <a:noFill/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00" kern="1200">
                <a:noFill/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00" kern="1200">
                <a:noFill/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085339415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76849F14-4971-4208-82A8-1F0513897926}"/>
              </a:ext>
            </a:extLst>
          </p:cNvPr>
          <p:cNvSpPr/>
          <p:nvPr userDrawn="1"/>
        </p:nvSpPr>
        <p:spPr>
          <a:xfrm>
            <a:off x="719400" y="-2"/>
            <a:ext cx="107532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096AA35B-6D3E-4809-9D78-9CF31081E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9400" y="-2"/>
            <a:ext cx="4680000" cy="4068000"/>
          </a:xfrm>
          <a:solidFill>
            <a:schemeClr val="tx2"/>
          </a:solidFill>
        </p:spPr>
        <p:txBody>
          <a:bodyPr lIns="342000" tIns="342000" rIns="0" bIns="504000" anchor="b" anchorCtr="0"/>
          <a:lstStyle>
            <a:lvl1pPr>
              <a:defRPr sz="4500">
                <a:solidFill>
                  <a:schemeClr val="accent1"/>
                </a:solidFill>
              </a:defRPr>
            </a:lvl1pPr>
          </a:lstStyle>
          <a:p>
            <a:r>
              <a:rPr lang="en-US"/>
              <a:t>Thank you</a:t>
            </a:r>
            <a:endParaRPr lang="en-AU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FD95F930-CD55-469B-9FD0-1150DA73B39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-2"/>
            <a:ext cx="12192000" cy="6876000"/>
          </a:xfrm>
          <a:custGeom>
            <a:avLst/>
            <a:gdLst>
              <a:gd name="connsiteX0" fmla="*/ 114726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472600 w 12192000"/>
              <a:gd name="connsiteY3" fmla="*/ 6858000 h 6858000"/>
              <a:gd name="connsiteX4" fmla="*/ 0 w 12192000"/>
              <a:gd name="connsiteY4" fmla="*/ 0 h 6858000"/>
              <a:gd name="connsiteX5" fmla="*/ 719400 w 12192000"/>
              <a:gd name="connsiteY5" fmla="*/ 0 h 6858000"/>
              <a:gd name="connsiteX6" fmla="*/ 7194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14726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472600" y="6858000"/>
                </a:lnTo>
                <a:close/>
                <a:moveTo>
                  <a:pt x="0" y="0"/>
                </a:moveTo>
                <a:lnTo>
                  <a:pt x="719400" y="0"/>
                </a:lnTo>
                <a:lnTo>
                  <a:pt x="7194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08000" tIns="108000" rIns="115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F8BC909C-567D-4F9C-A0DF-D05DE8F82075}"/>
              </a:ext>
            </a:extLst>
          </p:cNvPr>
          <p:cNvSpPr>
            <a:spLocks noChangeAspect="1"/>
          </p:cNvSpPr>
          <p:nvPr/>
        </p:nvSpPr>
        <p:spPr>
          <a:xfrm>
            <a:off x="7916652" y="4501548"/>
            <a:ext cx="242382" cy="242382"/>
          </a:xfrm>
          <a:custGeom>
            <a:avLst/>
            <a:gdLst>
              <a:gd name="connsiteX0" fmla="*/ 357950 w 809625"/>
              <a:gd name="connsiteY0" fmla="*/ 333375 h 809625"/>
              <a:gd name="connsiteX1" fmla="*/ 480537 w 809625"/>
              <a:gd name="connsiteY1" fmla="*/ 397002 h 809625"/>
              <a:gd name="connsiteX2" fmla="*/ 357950 w 809625"/>
              <a:gd name="connsiteY2" fmla="*/ 460439 h 809625"/>
              <a:gd name="connsiteX3" fmla="*/ 242887 w 809625"/>
              <a:gd name="connsiteY3" fmla="*/ 249555 h 809625"/>
              <a:gd name="connsiteX4" fmla="*/ 178117 w 809625"/>
              <a:gd name="connsiteY4" fmla="*/ 314325 h 809625"/>
              <a:gd name="connsiteX5" fmla="*/ 178117 w 809625"/>
              <a:gd name="connsiteY5" fmla="*/ 495300 h 809625"/>
              <a:gd name="connsiteX6" fmla="*/ 242887 w 809625"/>
              <a:gd name="connsiteY6" fmla="*/ 560070 h 809625"/>
              <a:gd name="connsiteX7" fmla="*/ 566737 w 809625"/>
              <a:gd name="connsiteY7" fmla="*/ 560070 h 809625"/>
              <a:gd name="connsiteX8" fmla="*/ 631507 w 809625"/>
              <a:gd name="connsiteY8" fmla="*/ 495300 h 809625"/>
              <a:gd name="connsiteX9" fmla="*/ 631507 w 809625"/>
              <a:gd name="connsiteY9" fmla="*/ 314325 h 809625"/>
              <a:gd name="connsiteX10" fmla="*/ 566737 w 809625"/>
              <a:gd name="connsiteY10" fmla="*/ 249555 h 809625"/>
              <a:gd name="connsiteX11" fmla="*/ 404813 w 809625"/>
              <a:gd name="connsiteY11" fmla="*/ 0 h 809625"/>
              <a:gd name="connsiteX12" fmla="*/ 809625 w 809625"/>
              <a:gd name="connsiteY12" fmla="*/ 404813 h 809625"/>
              <a:gd name="connsiteX13" fmla="*/ 404813 w 809625"/>
              <a:gd name="connsiteY13" fmla="*/ 809625 h 809625"/>
              <a:gd name="connsiteX14" fmla="*/ 0 w 809625"/>
              <a:gd name="connsiteY14" fmla="*/ 404813 h 809625"/>
              <a:gd name="connsiteX15" fmla="*/ 404813 w 809625"/>
              <a:gd name="connsiteY15" fmla="*/ 0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809625" h="809625">
                <a:moveTo>
                  <a:pt x="357950" y="333375"/>
                </a:moveTo>
                <a:lnTo>
                  <a:pt x="480537" y="397002"/>
                </a:lnTo>
                <a:lnTo>
                  <a:pt x="357950" y="460439"/>
                </a:lnTo>
                <a:close/>
                <a:moveTo>
                  <a:pt x="242887" y="249555"/>
                </a:moveTo>
                <a:cubicBezTo>
                  <a:pt x="207159" y="249660"/>
                  <a:pt x="178222" y="278597"/>
                  <a:pt x="178117" y="314325"/>
                </a:cubicBezTo>
                <a:lnTo>
                  <a:pt x="178117" y="495300"/>
                </a:lnTo>
                <a:cubicBezTo>
                  <a:pt x="178222" y="531028"/>
                  <a:pt x="207159" y="559965"/>
                  <a:pt x="242887" y="560070"/>
                </a:cubicBezTo>
                <a:lnTo>
                  <a:pt x="566737" y="560070"/>
                </a:lnTo>
                <a:cubicBezTo>
                  <a:pt x="602465" y="559965"/>
                  <a:pt x="631402" y="531028"/>
                  <a:pt x="631507" y="495300"/>
                </a:cubicBezTo>
                <a:lnTo>
                  <a:pt x="631507" y="314325"/>
                </a:lnTo>
                <a:cubicBezTo>
                  <a:pt x="631402" y="278597"/>
                  <a:pt x="602465" y="249660"/>
                  <a:pt x="566737" y="249555"/>
                </a:cubicBezTo>
                <a:close/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2487C176-18A9-4BB0-BD80-DEC34233A800}"/>
              </a:ext>
            </a:extLst>
          </p:cNvPr>
          <p:cNvSpPr>
            <a:spLocks noChangeAspect="1"/>
          </p:cNvSpPr>
          <p:nvPr/>
        </p:nvSpPr>
        <p:spPr>
          <a:xfrm>
            <a:off x="8298996" y="4501548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495146 w 809625"/>
              <a:gd name="connsiteY5" fmla="*/ 220645 h 809625"/>
              <a:gd name="connsiteX6" fmla="*/ 428527 w 809625"/>
              <a:gd name="connsiteY6" fmla="*/ 245841 h 809625"/>
              <a:gd name="connsiteX7" fmla="*/ 399192 w 809625"/>
              <a:gd name="connsiteY7" fmla="*/ 313563 h 809625"/>
              <a:gd name="connsiteX8" fmla="*/ 401573 w 809625"/>
              <a:gd name="connsiteY8" fmla="*/ 334803 h 809625"/>
              <a:gd name="connsiteX9" fmla="*/ 209549 w 809625"/>
              <a:gd name="connsiteY9" fmla="*/ 238125 h 809625"/>
              <a:gd name="connsiteX10" fmla="*/ 238124 w 809625"/>
              <a:gd name="connsiteY10" fmla="*/ 361950 h 809625"/>
              <a:gd name="connsiteX11" fmla="*/ 195928 w 809625"/>
              <a:gd name="connsiteY11" fmla="*/ 350329 h 809625"/>
              <a:gd name="connsiteX12" fmla="*/ 195929 w 809625"/>
              <a:gd name="connsiteY12" fmla="*/ 351567 h 809625"/>
              <a:gd name="connsiteX13" fmla="*/ 270605 w 809625"/>
              <a:gd name="connsiteY13" fmla="*/ 442722 h 809625"/>
              <a:gd name="connsiteX14" fmla="*/ 228599 w 809625"/>
              <a:gd name="connsiteY14" fmla="*/ 444341 h 809625"/>
              <a:gd name="connsiteX15" fmla="*/ 315467 w 809625"/>
              <a:gd name="connsiteY15" fmla="*/ 508920 h 809625"/>
              <a:gd name="connsiteX16" fmla="*/ 200024 w 809625"/>
              <a:gd name="connsiteY16" fmla="*/ 548544 h 809625"/>
              <a:gd name="connsiteX17" fmla="*/ 177831 w 809625"/>
              <a:gd name="connsiteY17" fmla="*/ 547211 h 809625"/>
              <a:gd name="connsiteX18" fmla="*/ 320706 w 809625"/>
              <a:gd name="connsiteY18" fmla="*/ 589026 h 809625"/>
              <a:gd name="connsiteX19" fmla="*/ 585406 w 809625"/>
              <a:gd name="connsiteY19" fmla="*/ 324421 h 809625"/>
              <a:gd name="connsiteX20" fmla="*/ 585406 w 809625"/>
              <a:gd name="connsiteY20" fmla="*/ 312324 h 809625"/>
              <a:gd name="connsiteX21" fmla="*/ 631507 w 809625"/>
              <a:gd name="connsiteY21" fmla="*/ 264223 h 809625"/>
              <a:gd name="connsiteX22" fmla="*/ 578072 w 809625"/>
              <a:gd name="connsiteY22" fmla="*/ 278892 h 809625"/>
              <a:gd name="connsiteX23" fmla="*/ 619124 w 809625"/>
              <a:gd name="connsiteY23" fmla="*/ 227361 h 809625"/>
              <a:gd name="connsiteX24" fmla="*/ 560069 w 809625"/>
              <a:gd name="connsiteY24" fmla="*/ 249936 h 809625"/>
              <a:gd name="connsiteX25" fmla="*/ 495146 w 809625"/>
              <a:gd name="connsiteY25" fmla="*/ 220645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495146" y="220645"/>
                </a:moveTo>
                <a:cubicBezTo>
                  <a:pt x="471342" y="219904"/>
                  <a:pt x="447255" y="228245"/>
                  <a:pt x="428527" y="245841"/>
                </a:cubicBezTo>
                <a:cubicBezTo>
                  <a:pt x="409833" y="263407"/>
                  <a:pt x="399219" y="287911"/>
                  <a:pt x="399192" y="313563"/>
                </a:cubicBezTo>
                <a:cubicBezTo>
                  <a:pt x="399204" y="320709"/>
                  <a:pt x="400003" y="327832"/>
                  <a:pt x="401573" y="334803"/>
                </a:cubicBezTo>
                <a:cubicBezTo>
                  <a:pt x="326768" y="331204"/>
                  <a:pt x="256991" y="296073"/>
                  <a:pt x="209549" y="238125"/>
                </a:cubicBezTo>
                <a:cubicBezTo>
                  <a:pt x="185023" y="280491"/>
                  <a:pt x="197513" y="334615"/>
                  <a:pt x="238124" y="361950"/>
                </a:cubicBezTo>
                <a:cubicBezTo>
                  <a:pt x="223336" y="361482"/>
                  <a:pt x="208871" y="357499"/>
                  <a:pt x="195928" y="350329"/>
                </a:cubicBezTo>
                <a:lnTo>
                  <a:pt x="195929" y="351567"/>
                </a:lnTo>
                <a:cubicBezTo>
                  <a:pt x="195962" y="395849"/>
                  <a:pt x="227195" y="433974"/>
                  <a:pt x="270605" y="442722"/>
                </a:cubicBezTo>
                <a:cubicBezTo>
                  <a:pt x="256901" y="446399"/>
                  <a:pt x="242546" y="446952"/>
                  <a:pt x="228599" y="444341"/>
                </a:cubicBezTo>
                <a:cubicBezTo>
                  <a:pt x="240745" y="482243"/>
                  <a:pt x="275672" y="508209"/>
                  <a:pt x="315467" y="508920"/>
                </a:cubicBezTo>
                <a:cubicBezTo>
                  <a:pt x="282513" y="534690"/>
                  <a:pt x="241858" y="548644"/>
                  <a:pt x="200024" y="548544"/>
                </a:cubicBezTo>
                <a:cubicBezTo>
                  <a:pt x="192607" y="548536"/>
                  <a:pt x="185196" y="548091"/>
                  <a:pt x="177831" y="547211"/>
                </a:cubicBezTo>
                <a:cubicBezTo>
                  <a:pt x="220421" y="574649"/>
                  <a:pt x="270043" y="589172"/>
                  <a:pt x="320706" y="589026"/>
                </a:cubicBezTo>
                <a:cubicBezTo>
                  <a:pt x="492156" y="589026"/>
                  <a:pt x="585406" y="447294"/>
                  <a:pt x="585406" y="324421"/>
                </a:cubicBezTo>
                <a:cubicBezTo>
                  <a:pt x="585406" y="320325"/>
                  <a:pt x="585406" y="316325"/>
                  <a:pt x="585406" y="312324"/>
                </a:cubicBezTo>
                <a:cubicBezTo>
                  <a:pt x="603503" y="299151"/>
                  <a:pt x="619113" y="282863"/>
                  <a:pt x="631507" y="264223"/>
                </a:cubicBezTo>
                <a:cubicBezTo>
                  <a:pt x="614513" y="271713"/>
                  <a:pt x="596508" y="276656"/>
                  <a:pt x="578072" y="278892"/>
                </a:cubicBezTo>
                <a:cubicBezTo>
                  <a:pt x="597588" y="267302"/>
                  <a:pt x="612190" y="248974"/>
                  <a:pt x="619124" y="227361"/>
                </a:cubicBezTo>
                <a:cubicBezTo>
                  <a:pt x="600877" y="238213"/>
                  <a:pt x="580902" y="245848"/>
                  <a:pt x="560069" y="249936"/>
                </a:cubicBezTo>
                <a:cubicBezTo>
                  <a:pt x="542473" y="231209"/>
                  <a:pt x="518951" y="221387"/>
                  <a:pt x="495146" y="22064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41393088-2A2D-4F19-A536-4C5B46718A69}"/>
              </a:ext>
            </a:extLst>
          </p:cNvPr>
          <p:cNvSpPr>
            <a:spLocks noChangeAspect="1"/>
          </p:cNvSpPr>
          <p:nvPr userDrawn="1"/>
        </p:nvSpPr>
        <p:spPr>
          <a:xfrm>
            <a:off x="8681340" y="4501548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230981 w 809625"/>
              <a:gd name="connsiteY5" fmla="*/ 177069 h 809625"/>
              <a:gd name="connsiteX6" fmla="*/ 176498 w 809625"/>
              <a:gd name="connsiteY6" fmla="*/ 231552 h 809625"/>
              <a:gd name="connsiteX7" fmla="*/ 230981 w 809625"/>
              <a:gd name="connsiteY7" fmla="*/ 286035 h 809625"/>
              <a:gd name="connsiteX8" fmla="*/ 285464 w 809625"/>
              <a:gd name="connsiteY8" fmla="*/ 231552 h 809625"/>
              <a:gd name="connsiteX9" fmla="*/ 230981 w 809625"/>
              <a:gd name="connsiteY9" fmla="*/ 177069 h 809625"/>
              <a:gd name="connsiteX10" fmla="*/ 517493 w 809625"/>
              <a:gd name="connsiteY10" fmla="*/ 319849 h 809625"/>
              <a:gd name="connsiteX11" fmla="*/ 428625 w 809625"/>
              <a:gd name="connsiteY11" fmla="*/ 368617 h 809625"/>
              <a:gd name="connsiteX12" fmla="*/ 426910 w 809625"/>
              <a:gd name="connsiteY12" fmla="*/ 368617 h 809625"/>
              <a:gd name="connsiteX13" fmla="*/ 426910 w 809625"/>
              <a:gd name="connsiteY13" fmla="*/ 327278 h 809625"/>
              <a:gd name="connsiteX14" fmla="*/ 336899 w 809625"/>
              <a:gd name="connsiteY14" fmla="*/ 327278 h 809625"/>
              <a:gd name="connsiteX15" fmla="*/ 336899 w 809625"/>
              <a:gd name="connsiteY15" fmla="*/ 629602 h 809625"/>
              <a:gd name="connsiteX16" fmla="*/ 430720 w 809625"/>
              <a:gd name="connsiteY16" fmla="*/ 629602 h 809625"/>
              <a:gd name="connsiteX17" fmla="*/ 430720 w 809625"/>
              <a:gd name="connsiteY17" fmla="*/ 480059 h 809625"/>
              <a:gd name="connsiteX18" fmla="*/ 487108 w 809625"/>
              <a:gd name="connsiteY18" fmla="*/ 402430 h 809625"/>
              <a:gd name="connsiteX19" fmla="*/ 535876 w 809625"/>
              <a:gd name="connsiteY19" fmla="*/ 482631 h 809625"/>
              <a:gd name="connsiteX20" fmla="*/ 535876 w 809625"/>
              <a:gd name="connsiteY20" fmla="*/ 629602 h 809625"/>
              <a:gd name="connsiteX21" fmla="*/ 630174 w 809625"/>
              <a:gd name="connsiteY21" fmla="*/ 629602 h 809625"/>
              <a:gd name="connsiteX22" fmla="*/ 630174 w 809625"/>
              <a:gd name="connsiteY22" fmla="*/ 463771 h 809625"/>
              <a:gd name="connsiteX23" fmla="*/ 517493 w 809625"/>
              <a:gd name="connsiteY23" fmla="*/ 319849 h 809625"/>
              <a:gd name="connsiteX24" fmla="*/ 183927 w 809625"/>
              <a:gd name="connsiteY24" fmla="*/ 327278 h 809625"/>
              <a:gd name="connsiteX25" fmla="*/ 183927 w 809625"/>
              <a:gd name="connsiteY25" fmla="*/ 629602 h 809625"/>
              <a:gd name="connsiteX26" fmla="*/ 277939 w 809625"/>
              <a:gd name="connsiteY26" fmla="*/ 629602 h 809625"/>
              <a:gd name="connsiteX27" fmla="*/ 277939 w 809625"/>
              <a:gd name="connsiteY27" fmla="*/ 327278 h 809625"/>
              <a:gd name="connsiteX28" fmla="*/ 183927 w 809625"/>
              <a:gd name="connsiteY28" fmla="*/ 327278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230981" y="177069"/>
                </a:moveTo>
                <a:cubicBezTo>
                  <a:pt x="200891" y="177069"/>
                  <a:pt x="176498" y="201462"/>
                  <a:pt x="176498" y="231552"/>
                </a:cubicBezTo>
                <a:cubicBezTo>
                  <a:pt x="176498" y="261642"/>
                  <a:pt x="200891" y="286035"/>
                  <a:pt x="230981" y="286035"/>
                </a:cubicBezTo>
                <a:cubicBezTo>
                  <a:pt x="261071" y="286035"/>
                  <a:pt x="285464" y="261642"/>
                  <a:pt x="285464" y="231552"/>
                </a:cubicBezTo>
                <a:cubicBezTo>
                  <a:pt x="285464" y="201462"/>
                  <a:pt x="261071" y="177069"/>
                  <a:pt x="230981" y="177069"/>
                </a:cubicBezTo>
                <a:close/>
                <a:moveTo>
                  <a:pt x="517493" y="319849"/>
                </a:moveTo>
                <a:cubicBezTo>
                  <a:pt x="481146" y="318484"/>
                  <a:pt x="446996" y="337225"/>
                  <a:pt x="428625" y="368617"/>
                </a:cubicBezTo>
                <a:lnTo>
                  <a:pt x="426910" y="368617"/>
                </a:lnTo>
                <a:lnTo>
                  <a:pt x="426910" y="327278"/>
                </a:lnTo>
                <a:lnTo>
                  <a:pt x="336899" y="327278"/>
                </a:lnTo>
                <a:lnTo>
                  <a:pt x="336899" y="629602"/>
                </a:lnTo>
                <a:lnTo>
                  <a:pt x="430720" y="629602"/>
                </a:lnTo>
                <a:lnTo>
                  <a:pt x="430720" y="480059"/>
                </a:lnTo>
                <a:cubicBezTo>
                  <a:pt x="430720" y="440530"/>
                  <a:pt x="438912" y="402430"/>
                  <a:pt x="487108" y="402430"/>
                </a:cubicBezTo>
                <a:cubicBezTo>
                  <a:pt x="535305" y="402430"/>
                  <a:pt x="535876" y="447579"/>
                  <a:pt x="535876" y="482631"/>
                </a:cubicBezTo>
                <a:lnTo>
                  <a:pt x="535876" y="629602"/>
                </a:lnTo>
                <a:lnTo>
                  <a:pt x="630174" y="629602"/>
                </a:lnTo>
                <a:lnTo>
                  <a:pt x="630174" y="463771"/>
                </a:lnTo>
                <a:cubicBezTo>
                  <a:pt x="630174" y="382428"/>
                  <a:pt x="612743" y="319849"/>
                  <a:pt x="517493" y="319849"/>
                </a:cubicBezTo>
                <a:close/>
                <a:moveTo>
                  <a:pt x="183927" y="327278"/>
                </a:moveTo>
                <a:lnTo>
                  <a:pt x="183927" y="629602"/>
                </a:lnTo>
                <a:lnTo>
                  <a:pt x="277939" y="629602"/>
                </a:lnTo>
                <a:lnTo>
                  <a:pt x="277939" y="327278"/>
                </a:lnTo>
                <a:lnTo>
                  <a:pt x="183927" y="32727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F1F78FC3-536A-4C34-B2A3-95085DF38A8D}"/>
              </a:ext>
            </a:extLst>
          </p:cNvPr>
          <p:cNvSpPr>
            <a:spLocks noChangeAspect="1"/>
          </p:cNvSpPr>
          <p:nvPr userDrawn="1"/>
        </p:nvSpPr>
        <p:spPr>
          <a:xfrm>
            <a:off x="9063685" y="4501548"/>
            <a:ext cx="242382" cy="242382"/>
          </a:xfrm>
          <a:custGeom>
            <a:avLst/>
            <a:gdLst>
              <a:gd name="connsiteX0" fmla="*/ 404812 w 809625"/>
              <a:gd name="connsiteY0" fmla="*/ 288417 h 809625"/>
              <a:gd name="connsiteX1" fmla="*/ 288417 w 809625"/>
              <a:gd name="connsiteY1" fmla="*/ 404812 h 809625"/>
              <a:gd name="connsiteX2" fmla="*/ 404812 w 809625"/>
              <a:gd name="connsiteY2" fmla="*/ 521208 h 809625"/>
              <a:gd name="connsiteX3" fmla="*/ 521208 w 809625"/>
              <a:gd name="connsiteY3" fmla="*/ 404812 h 809625"/>
              <a:gd name="connsiteX4" fmla="*/ 404812 w 809625"/>
              <a:gd name="connsiteY4" fmla="*/ 288417 h 809625"/>
              <a:gd name="connsiteX5" fmla="*/ 525780 w 809625"/>
              <a:gd name="connsiteY5" fmla="*/ 256603 h 809625"/>
              <a:gd name="connsiteX6" fmla="*/ 498538 w 809625"/>
              <a:gd name="connsiteY6" fmla="*/ 283844 h 809625"/>
              <a:gd name="connsiteX7" fmla="*/ 525780 w 809625"/>
              <a:gd name="connsiteY7" fmla="*/ 311086 h 809625"/>
              <a:gd name="connsiteX8" fmla="*/ 553021 w 809625"/>
              <a:gd name="connsiteY8" fmla="*/ 283844 h 809625"/>
              <a:gd name="connsiteX9" fmla="*/ 525780 w 809625"/>
              <a:gd name="connsiteY9" fmla="*/ 256603 h 809625"/>
              <a:gd name="connsiteX10" fmla="*/ 404812 w 809625"/>
              <a:gd name="connsiteY10" fmla="*/ 219075 h 809625"/>
              <a:gd name="connsiteX11" fmla="*/ 496443 w 809625"/>
              <a:gd name="connsiteY11" fmla="*/ 220408 h 809625"/>
              <a:gd name="connsiteX12" fmla="*/ 538543 w 809625"/>
              <a:gd name="connsiteY12" fmla="*/ 228218 h 809625"/>
              <a:gd name="connsiteX13" fmla="*/ 581501 w 809625"/>
              <a:gd name="connsiteY13" fmla="*/ 271176 h 809625"/>
              <a:gd name="connsiteX14" fmla="*/ 589311 w 809625"/>
              <a:gd name="connsiteY14" fmla="*/ 313277 h 809625"/>
              <a:gd name="connsiteX15" fmla="*/ 590645 w 809625"/>
              <a:gd name="connsiteY15" fmla="*/ 404907 h 809625"/>
              <a:gd name="connsiteX16" fmla="*/ 589311 w 809625"/>
              <a:gd name="connsiteY16" fmla="*/ 496538 h 809625"/>
              <a:gd name="connsiteX17" fmla="*/ 581501 w 809625"/>
              <a:gd name="connsiteY17" fmla="*/ 538638 h 809625"/>
              <a:gd name="connsiteX18" fmla="*/ 538543 w 809625"/>
              <a:gd name="connsiteY18" fmla="*/ 581596 h 809625"/>
              <a:gd name="connsiteX19" fmla="*/ 496443 w 809625"/>
              <a:gd name="connsiteY19" fmla="*/ 589406 h 809625"/>
              <a:gd name="connsiteX20" fmla="*/ 404812 w 809625"/>
              <a:gd name="connsiteY20" fmla="*/ 590740 h 809625"/>
              <a:gd name="connsiteX21" fmla="*/ 313182 w 809625"/>
              <a:gd name="connsiteY21" fmla="*/ 589407 h 809625"/>
              <a:gd name="connsiteX22" fmla="*/ 271081 w 809625"/>
              <a:gd name="connsiteY22" fmla="*/ 581596 h 809625"/>
              <a:gd name="connsiteX23" fmla="*/ 228600 w 809625"/>
              <a:gd name="connsiteY23" fmla="*/ 538543 h 809625"/>
              <a:gd name="connsiteX24" fmla="*/ 220789 w 809625"/>
              <a:gd name="connsiteY24" fmla="*/ 496443 h 809625"/>
              <a:gd name="connsiteX25" fmla="*/ 219075 w 809625"/>
              <a:gd name="connsiteY25" fmla="*/ 404812 h 809625"/>
              <a:gd name="connsiteX26" fmla="*/ 220408 w 809625"/>
              <a:gd name="connsiteY26" fmla="*/ 313182 h 809625"/>
              <a:gd name="connsiteX27" fmla="*/ 228600 w 809625"/>
              <a:gd name="connsiteY27" fmla="*/ 271081 h 809625"/>
              <a:gd name="connsiteX28" fmla="*/ 271081 w 809625"/>
              <a:gd name="connsiteY28" fmla="*/ 228600 h 809625"/>
              <a:gd name="connsiteX29" fmla="*/ 313181 w 809625"/>
              <a:gd name="connsiteY29" fmla="*/ 220789 h 809625"/>
              <a:gd name="connsiteX30" fmla="*/ 404812 w 809625"/>
              <a:gd name="connsiteY30" fmla="*/ 219075 h 809625"/>
              <a:gd name="connsiteX31" fmla="*/ 405669 w 809625"/>
              <a:gd name="connsiteY31" fmla="*/ 177736 h 809625"/>
              <a:gd name="connsiteX32" fmla="*/ 404812 w 809625"/>
              <a:gd name="connsiteY32" fmla="*/ 178212 h 809625"/>
              <a:gd name="connsiteX33" fmla="*/ 311372 w 809625"/>
              <a:gd name="connsiteY33" fmla="*/ 179546 h 809625"/>
              <a:gd name="connsiteX34" fmla="*/ 256317 w 809625"/>
              <a:gd name="connsiteY34" fmla="*/ 190500 h 809625"/>
              <a:gd name="connsiteX35" fmla="*/ 189642 w 809625"/>
              <a:gd name="connsiteY35" fmla="*/ 257175 h 809625"/>
              <a:gd name="connsiteX36" fmla="*/ 179069 w 809625"/>
              <a:gd name="connsiteY36" fmla="*/ 312229 h 809625"/>
              <a:gd name="connsiteX37" fmla="*/ 177736 w 809625"/>
              <a:gd name="connsiteY37" fmla="*/ 405669 h 809625"/>
              <a:gd name="connsiteX38" fmla="*/ 179069 w 809625"/>
              <a:gd name="connsiteY38" fmla="*/ 499110 h 809625"/>
              <a:gd name="connsiteX39" fmla="*/ 190500 w 809625"/>
              <a:gd name="connsiteY39" fmla="*/ 553307 h 809625"/>
              <a:gd name="connsiteX40" fmla="*/ 257175 w 809625"/>
              <a:gd name="connsiteY40" fmla="*/ 619982 h 809625"/>
              <a:gd name="connsiteX41" fmla="*/ 312229 w 809625"/>
              <a:gd name="connsiteY41" fmla="*/ 630554 h 809625"/>
              <a:gd name="connsiteX42" fmla="*/ 405669 w 809625"/>
              <a:gd name="connsiteY42" fmla="*/ 631888 h 809625"/>
              <a:gd name="connsiteX43" fmla="*/ 499110 w 809625"/>
              <a:gd name="connsiteY43" fmla="*/ 630554 h 809625"/>
              <a:gd name="connsiteX44" fmla="*/ 554164 w 809625"/>
              <a:gd name="connsiteY44" fmla="*/ 619982 h 809625"/>
              <a:gd name="connsiteX45" fmla="*/ 620839 w 809625"/>
              <a:gd name="connsiteY45" fmla="*/ 553307 h 809625"/>
              <a:gd name="connsiteX46" fmla="*/ 631412 w 809625"/>
              <a:gd name="connsiteY46" fmla="*/ 498252 h 809625"/>
              <a:gd name="connsiteX47" fmla="*/ 632745 w 809625"/>
              <a:gd name="connsiteY47" fmla="*/ 404812 h 809625"/>
              <a:gd name="connsiteX48" fmla="*/ 631412 w 809625"/>
              <a:gd name="connsiteY48" fmla="*/ 311372 h 809625"/>
              <a:gd name="connsiteX49" fmla="*/ 620839 w 809625"/>
              <a:gd name="connsiteY49" fmla="*/ 256317 h 809625"/>
              <a:gd name="connsiteX50" fmla="*/ 554164 w 809625"/>
              <a:gd name="connsiteY50" fmla="*/ 189642 h 809625"/>
              <a:gd name="connsiteX51" fmla="*/ 499110 w 809625"/>
              <a:gd name="connsiteY51" fmla="*/ 179069 h 809625"/>
              <a:gd name="connsiteX52" fmla="*/ 405669 w 809625"/>
              <a:gd name="connsiteY52" fmla="*/ 177736 h 809625"/>
              <a:gd name="connsiteX53" fmla="*/ 404813 w 809625"/>
              <a:gd name="connsiteY53" fmla="*/ 0 h 809625"/>
              <a:gd name="connsiteX54" fmla="*/ 809625 w 809625"/>
              <a:gd name="connsiteY54" fmla="*/ 404813 h 809625"/>
              <a:gd name="connsiteX55" fmla="*/ 404813 w 809625"/>
              <a:gd name="connsiteY55" fmla="*/ 809625 h 809625"/>
              <a:gd name="connsiteX56" fmla="*/ 0 w 809625"/>
              <a:gd name="connsiteY56" fmla="*/ 404813 h 809625"/>
              <a:gd name="connsiteX57" fmla="*/ 404813 w 809625"/>
              <a:gd name="connsiteY57" fmla="*/ 0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809625" h="809625">
                <a:moveTo>
                  <a:pt x="404812" y="288417"/>
                </a:moveTo>
                <a:cubicBezTo>
                  <a:pt x="340529" y="288417"/>
                  <a:pt x="288417" y="340529"/>
                  <a:pt x="288417" y="404812"/>
                </a:cubicBezTo>
                <a:cubicBezTo>
                  <a:pt x="288417" y="469096"/>
                  <a:pt x="340529" y="521208"/>
                  <a:pt x="404812" y="521208"/>
                </a:cubicBezTo>
                <a:cubicBezTo>
                  <a:pt x="469096" y="521208"/>
                  <a:pt x="521208" y="469096"/>
                  <a:pt x="521208" y="404812"/>
                </a:cubicBezTo>
                <a:cubicBezTo>
                  <a:pt x="521208" y="340529"/>
                  <a:pt x="469096" y="288417"/>
                  <a:pt x="404812" y="288417"/>
                </a:cubicBezTo>
                <a:close/>
                <a:moveTo>
                  <a:pt x="525780" y="256603"/>
                </a:moveTo>
                <a:cubicBezTo>
                  <a:pt x="510734" y="256603"/>
                  <a:pt x="498538" y="268799"/>
                  <a:pt x="498538" y="283844"/>
                </a:cubicBezTo>
                <a:cubicBezTo>
                  <a:pt x="498538" y="298890"/>
                  <a:pt x="510734" y="311086"/>
                  <a:pt x="525780" y="311086"/>
                </a:cubicBezTo>
                <a:cubicBezTo>
                  <a:pt x="540825" y="311086"/>
                  <a:pt x="553021" y="298890"/>
                  <a:pt x="553021" y="283844"/>
                </a:cubicBezTo>
                <a:cubicBezTo>
                  <a:pt x="553021" y="268799"/>
                  <a:pt x="540825" y="256603"/>
                  <a:pt x="525780" y="256603"/>
                </a:cubicBezTo>
                <a:close/>
                <a:moveTo>
                  <a:pt x="404812" y="219075"/>
                </a:moveTo>
                <a:cubicBezTo>
                  <a:pt x="465296" y="219075"/>
                  <a:pt x="472535" y="219075"/>
                  <a:pt x="496443" y="220408"/>
                </a:cubicBezTo>
                <a:cubicBezTo>
                  <a:pt x="510824" y="220533"/>
                  <a:pt x="525073" y="223177"/>
                  <a:pt x="538543" y="228218"/>
                </a:cubicBezTo>
                <a:cubicBezTo>
                  <a:pt x="558257" y="235874"/>
                  <a:pt x="573845" y="251463"/>
                  <a:pt x="581501" y="271176"/>
                </a:cubicBezTo>
                <a:cubicBezTo>
                  <a:pt x="586542" y="284646"/>
                  <a:pt x="589186" y="298895"/>
                  <a:pt x="589311" y="313277"/>
                </a:cubicBezTo>
                <a:cubicBezTo>
                  <a:pt x="590454" y="337185"/>
                  <a:pt x="590645" y="344424"/>
                  <a:pt x="590645" y="404907"/>
                </a:cubicBezTo>
                <a:cubicBezTo>
                  <a:pt x="590645" y="465391"/>
                  <a:pt x="590645" y="472630"/>
                  <a:pt x="589311" y="496538"/>
                </a:cubicBezTo>
                <a:cubicBezTo>
                  <a:pt x="589186" y="510920"/>
                  <a:pt x="586543" y="525168"/>
                  <a:pt x="581501" y="538638"/>
                </a:cubicBezTo>
                <a:cubicBezTo>
                  <a:pt x="573845" y="558352"/>
                  <a:pt x="558257" y="573940"/>
                  <a:pt x="538543" y="581596"/>
                </a:cubicBezTo>
                <a:cubicBezTo>
                  <a:pt x="525073" y="586638"/>
                  <a:pt x="510824" y="589281"/>
                  <a:pt x="496443" y="589406"/>
                </a:cubicBezTo>
                <a:cubicBezTo>
                  <a:pt x="472535" y="590550"/>
                  <a:pt x="465391" y="590740"/>
                  <a:pt x="404812" y="590740"/>
                </a:cubicBezTo>
                <a:cubicBezTo>
                  <a:pt x="344233" y="590740"/>
                  <a:pt x="337089" y="590740"/>
                  <a:pt x="313182" y="589407"/>
                </a:cubicBezTo>
                <a:cubicBezTo>
                  <a:pt x="298800" y="589281"/>
                  <a:pt x="284551" y="586638"/>
                  <a:pt x="271081" y="581596"/>
                </a:cubicBezTo>
                <a:cubicBezTo>
                  <a:pt x="251529" y="573808"/>
                  <a:pt x="236125" y="558197"/>
                  <a:pt x="228600" y="538543"/>
                </a:cubicBezTo>
                <a:cubicBezTo>
                  <a:pt x="223558" y="525073"/>
                  <a:pt x="220914" y="510824"/>
                  <a:pt x="220789" y="496443"/>
                </a:cubicBezTo>
                <a:cubicBezTo>
                  <a:pt x="219075" y="472535"/>
                  <a:pt x="219075" y="465296"/>
                  <a:pt x="219075" y="404812"/>
                </a:cubicBezTo>
                <a:cubicBezTo>
                  <a:pt x="219075" y="344328"/>
                  <a:pt x="219075" y="337089"/>
                  <a:pt x="220408" y="313182"/>
                </a:cubicBezTo>
                <a:cubicBezTo>
                  <a:pt x="220655" y="298777"/>
                  <a:pt x="223428" y="284527"/>
                  <a:pt x="228600" y="271081"/>
                </a:cubicBezTo>
                <a:cubicBezTo>
                  <a:pt x="236258" y="251643"/>
                  <a:pt x="251643" y="236258"/>
                  <a:pt x="271081" y="228600"/>
                </a:cubicBezTo>
                <a:cubicBezTo>
                  <a:pt x="284551" y="223558"/>
                  <a:pt x="298800" y="220914"/>
                  <a:pt x="313181" y="220789"/>
                </a:cubicBezTo>
                <a:cubicBezTo>
                  <a:pt x="337089" y="219075"/>
                  <a:pt x="344328" y="219075"/>
                  <a:pt x="404812" y="219075"/>
                </a:cubicBezTo>
                <a:close/>
                <a:moveTo>
                  <a:pt x="405669" y="177736"/>
                </a:moveTo>
                <a:lnTo>
                  <a:pt x="404812" y="178212"/>
                </a:lnTo>
                <a:cubicBezTo>
                  <a:pt x="343281" y="178212"/>
                  <a:pt x="335565" y="178212"/>
                  <a:pt x="311372" y="179546"/>
                </a:cubicBezTo>
                <a:cubicBezTo>
                  <a:pt x="292533" y="180057"/>
                  <a:pt x="273917" y="183760"/>
                  <a:pt x="256317" y="190500"/>
                </a:cubicBezTo>
                <a:cubicBezTo>
                  <a:pt x="225602" y="202200"/>
                  <a:pt x="201343" y="226459"/>
                  <a:pt x="189642" y="257175"/>
                </a:cubicBezTo>
                <a:cubicBezTo>
                  <a:pt x="183033" y="274797"/>
                  <a:pt x="179458" y="293412"/>
                  <a:pt x="179069" y="312229"/>
                </a:cubicBezTo>
                <a:cubicBezTo>
                  <a:pt x="178022" y="336423"/>
                  <a:pt x="177736" y="344138"/>
                  <a:pt x="177736" y="405669"/>
                </a:cubicBezTo>
                <a:cubicBezTo>
                  <a:pt x="177736" y="467201"/>
                  <a:pt x="177736" y="474916"/>
                  <a:pt x="179069" y="499110"/>
                </a:cubicBezTo>
                <a:cubicBezTo>
                  <a:pt x="179828" y="517687"/>
                  <a:pt x="183692" y="536005"/>
                  <a:pt x="190500" y="553307"/>
                </a:cubicBezTo>
                <a:cubicBezTo>
                  <a:pt x="202200" y="584022"/>
                  <a:pt x="226459" y="608281"/>
                  <a:pt x="257175" y="619982"/>
                </a:cubicBezTo>
                <a:cubicBezTo>
                  <a:pt x="274797" y="626591"/>
                  <a:pt x="293412" y="630165"/>
                  <a:pt x="312229" y="630554"/>
                </a:cubicBezTo>
                <a:cubicBezTo>
                  <a:pt x="336423" y="631602"/>
                  <a:pt x="344138" y="631888"/>
                  <a:pt x="405669" y="631888"/>
                </a:cubicBezTo>
                <a:cubicBezTo>
                  <a:pt x="467201" y="631888"/>
                  <a:pt x="474916" y="631888"/>
                  <a:pt x="499110" y="630554"/>
                </a:cubicBezTo>
                <a:cubicBezTo>
                  <a:pt x="517927" y="630165"/>
                  <a:pt x="536542" y="626591"/>
                  <a:pt x="554164" y="619982"/>
                </a:cubicBezTo>
                <a:cubicBezTo>
                  <a:pt x="584880" y="608281"/>
                  <a:pt x="609138" y="584022"/>
                  <a:pt x="620839" y="553307"/>
                </a:cubicBezTo>
                <a:cubicBezTo>
                  <a:pt x="627448" y="535684"/>
                  <a:pt x="631023" y="517069"/>
                  <a:pt x="631412" y="498252"/>
                </a:cubicBezTo>
                <a:cubicBezTo>
                  <a:pt x="632460" y="474059"/>
                  <a:pt x="632745" y="466344"/>
                  <a:pt x="632745" y="404812"/>
                </a:cubicBezTo>
                <a:cubicBezTo>
                  <a:pt x="632745" y="343281"/>
                  <a:pt x="632745" y="335565"/>
                  <a:pt x="631412" y="311372"/>
                </a:cubicBezTo>
                <a:cubicBezTo>
                  <a:pt x="631023" y="292555"/>
                  <a:pt x="627448" y="273940"/>
                  <a:pt x="620839" y="256317"/>
                </a:cubicBezTo>
                <a:cubicBezTo>
                  <a:pt x="609138" y="225602"/>
                  <a:pt x="584880" y="201343"/>
                  <a:pt x="554164" y="189642"/>
                </a:cubicBezTo>
                <a:cubicBezTo>
                  <a:pt x="536542" y="183033"/>
                  <a:pt x="517927" y="179458"/>
                  <a:pt x="499110" y="179069"/>
                </a:cubicBezTo>
                <a:cubicBezTo>
                  <a:pt x="474916" y="178022"/>
                  <a:pt x="467201" y="177736"/>
                  <a:pt x="405669" y="177736"/>
                </a:cubicBezTo>
                <a:close/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37645F6A-EDD9-42D2-A01C-F8414798D57C}"/>
              </a:ext>
            </a:extLst>
          </p:cNvPr>
          <p:cNvSpPr>
            <a:spLocks noChangeAspect="1"/>
          </p:cNvSpPr>
          <p:nvPr/>
        </p:nvSpPr>
        <p:spPr>
          <a:xfrm>
            <a:off x="9446029" y="4501548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207835 w 809625"/>
              <a:gd name="connsiteY5" fmla="*/ 183451 h 809625"/>
              <a:gd name="connsiteX6" fmla="*/ 183451 w 809625"/>
              <a:gd name="connsiteY6" fmla="*/ 207835 h 809625"/>
              <a:gd name="connsiteX7" fmla="*/ 183451 w 809625"/>
              <a:gd name="connsiteY7" fmla="*/ 601789 h 809625"/>
              <a:gd name="connsiteX8" fmla="*/ 207835 w 809625"/>
              <a:gd name="connsiteY8" fmla="*/ 626173 h 809625"/>
              <a:gd name="connsiteX9" fmla="*/ 419957 w 809625"/>
              <a:gd name="connsiteY9" fmla="*/ 626173 h 809625"/>
              <a:gd name="connsiteX10" fmla="*/ 419957 w 809625"/>
              <a:gd name="connsiteY10" fmla="*/ 454723 h 809625"/>
              <a:gd name="connsiteX11" fmla="*/ 361950 w 809625"/>
              <a:gd name="connsiteY11" fmla="*/ 454723 h 809625"/>
              <a:gd name="connsiteX12" fmla="*/ 361950 w 809625"/>
              <a:gd name="connsiteY12" fmla="*/ 388048 h 809625"/>
              <a:gd name="connsiteX13" fmla="*/ 419671 w 809625"/>
              <a:gd name="connsiteY13" fmla="*/ 388048 h 809625"/>
              <a:gd name="connsiteX14" fmla="*/ 419671 w 809625"/>
              <a:gd name="connsiteY14" fmla="*/ 338613 h 809625"/>
              <a:gd name="connsiteX15" fmla="*/ 505396 w 809625"/>
              <a:gd name="connsiteY15" fmla="*/ 250317 h 809625"/>
              <a:gd name="connsiteX16" fmla="*/ 556926 w 809625"/>
              <a:gd name="connsiteY16" fmla="*/ 252984 h 809625"/>
              <a:gd name="connsiteX17" fmla="*/ 556926 w 809625"/>
              <a:gd name="connsiteY17" fmla="*/ 312705 h 809625"/>
              <a:gd name="connsiteX18" fmla="*/ 522065 w 809625"/>
              <a:gd name="connsiteY18" fmla="*/ 312705 h 809625"/>
              <a:gd name="connsiteX19" fmla="*/ 488918 w 809625"/>
              <a:gd name="connsiteY19" fmla="*/ 345281 h 809625"/>
              <a:gd name="connsiteX20" fmla="*/ 488918 w 809625"/>
              <a:gd name="connsiteY20" fmla="*/ 387953 h 809625"/>
              <a:gd name="connsiteX21" fmla="*/ 555593 w 809625"/>
              <a:gd name="connsiteY21" fmla="*/ 387953 h 809625"/>
              <a:gd name="connsiteX22" fmla="*/ 546925 w 809625"/>
              <a:gd name="connsiteY22" fmla="*/ 454628 h 809625"/>
              <a:gd name="connsiteX23" fmla="*/ 489775 w 809625"/>
              <a:gd name="connsiteY23" fmla="*/ 454628 h 809625"/>
              <a:gd name="connsiteX24" fmla="*/ 489775 w 809625"/>
              <a:gd name="connsiteY24" fmla="*/ 626078 h 809625"/>
              <a:gd name="connsiteX25" fmla="*/ 601789 w 809625"/>
              <a:gd name="connsiteY25" fmla="*/ 626078 h 809625"/>
              <a:gd name="connsiteX26" fmla="*/ 626173 w 809625"/>
              <a:gd name="connsiteY26" fmla="*/ 601694 h 809625"/>
              <a:gd name="connsiteX27" fmla="*/ 626173 w 809625"/>
              <a:gd name="connsiteY27" fmla="*/ 207835 h 809625"/>
              <a:gd name="connsiteX28" fmla="*/ 601789 w 809625"/>
              <a:gd name="connsiteY28" fmla="*/ 183451 h 809625"/>
              <a:gd name="connsiteX29" fmla="*/ 207835 w 809625"/>
              <a:gd name="connsiteY29" fmla="*/ 183451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207835" y="183451"/>
                </a:moveTo>
                <a:cubicBezTo>
                  <a:pt x="194368" y="183451"/>
                  <a:pt x="183451" y="194368"/>
                  <a:pt x="183451" y="207835"/>
                </a:cubicBezTo>
                <a:lnTo>
                  <a:pt x="183451" y="601789"/>
                </a:lnTo>
                <a:cubicBezTo>
                  <a:pt x="183451" y="615256"/>
                  <a:pt x="194368" y="626173"/>
                  <a:pt x="207835" y="626173"/>
                </a:cubicBezTo>
                <a:lnTo>
                  <a:pt x="419957" y="626173"/>
                </a:lnTo>
                <a:lnTo>
                  <a:pt x="419957" y="454723"/>
                </a:lnTo>
                <a:lnTo>
                  <a:pt x="361950" y="454723"/>
                </a:lnTo>
                <a:lnTo>
                  <a:pt x="361950" y="388048"/>
                </a:lnTo>
                <a:lnTo>
                  <a:pt x="419671" y="388048"/>
                </a:lnTo>
                <a:lnTo>
                  <a:pt x="419671" y="338613"/>
                </a:lnTo>
                <a:cubicBezTo>
                  <a:pt x="419671" y="281463"/>
                  <a:pt x="454533" y="250317"/>
                  <a:pt x="505396" y="250317"/>
                </a:cubicBezTo>
                <a:cubicBezTo>
                  <a:pt x="522609" y="250238"/>
                  <a:pt x="539813" y="251128"/>
                  <a:pt x="556926" y="252984"/>
                </a:cubicBezTo>
                <a:lnTo>
                  <a:pt x="556926" y="312705"/>
                </a:lnTo>
                <a:lnTo>
                  <a:pt x="522065" y="312705"/>
                </a:lnTo>
                <a:cubicBezTo>
                  <a:pt x="494252" y="312705"/>
                  <a:pt x="488918" y="325945"/>
                  <a:pt x="488918" y="345281"/>
                </a:cubicBezTo>
                <a:lnTo>
                  <a:pt x="488918" y="387953"/>
                </a:lnTo>
                <a:lnTo>
                  <a:pt x="555593" y="387953"/>
                </a:lnTo>
                <a:lnTo>
                  <a:pt x="546925" y="454628"/>
                </a:lnTo>
                <a:lnTo>
                  <a:pt x="489775" y="454628"/>
                </a:lnTo>
                <a:lnTo>
                  <a:pt x="489775" y="626078"/>
                </a:lnTo>
                <a:lnTo>
                  <a:pt x="601789" y="626078"/>
                </a:lnTo>
                <a:cubicBezTo>
                  <a:pt x="615256" y="626078"/>
                  <a:pt x="626173" y="615161"/>
                  <a:pt x="626173" y="601694"/>
                </a:cubicBezTo>
                <a:lnTo>
                  <a:pt x="626173" y="207835"/>
                </a:lnTo>
                <a:cubicBezTo>
                  <a:pt x="626173" y="194368"/>
                  <a:pt x="615256" y="183451"/>
                  <a:pt x="601789" y="183451"/>
                </a:cubicBezTo>
                <a:lnTo>
                  <a:pt x="207835" y="183451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737EC4F3-8130-2F4D-B18F-7AF3E2C71869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7877158" y="2497253"/>
            <a:ext cx="1941914" cy="865381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" b="0" kern="1200" cap="none" baseline="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00" b="1" kern="1200" cap="all" baseline="0">
                <a:noFill/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00" kern="1200">
                <a:noFill/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400" b="0" kern="1200">
                <a:noFill/>
                <a:latin typeface="+mn-lt"/>
                <a:ea typeface="+mn-ea"/>
                <a:cs typeface="+mn-cs"/>
              </a:defRPr>
            </a:lvl4pPr>
            <a:lvl5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 sz="400" kern="1200">
                <a:noFill/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00" kern="1200">
                <a:noFill/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00" kern="1200">
                <a:noFill/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00" kern="1200">
                <a:noFill/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400" kern="1200">
                <a:noFill/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03543984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E9670259-4695-428B-A004-7FC80D7094B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1062000" tIns="3348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FCAC8505-DEDF-4C01-A608-94D176EC4352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7540580" y="1"/>
            <a:ext cx="4651420" cy="1673605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1740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BCEEC50-8D3D-4D30-A7E4-EB437433847B}"/>
              </a:ext>
            </a:extLst>
          </p:cNvPr>
          <p:cNvSpPr>
            <a:spLocks noGrp="1" noChangeAspect="1"/>
          </p:cNvSpPr>
          <p:nvPr>
            <p:ph type="body" sz="quarter" idx="16"/>
          </p:nvPr>
        </p:nvSpPr>
        <p:spPr>
          <a:xfrm>
            <a:off x="10849038" y="333375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5383366-B84A-4AF0-9ECA-0C40F072B9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625180771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D50AE23D-06D1-4F9E-B490-E50D424CE9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DFCCD94-C178-488E-A0A8-B9933C21C8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B6B25C7-EDE8-4C6A-A016-B0BC2F236A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3CEBA6-B1B6-4DE4-9914-AA9310C6B7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895194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Hea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E9670259-4695-428B-A004-7FC80D7094B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1062000" tIns="342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F9144E-5217-4B9A-B2C1-83385827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2619000"/>
            <a:ext cx="9000000" cy="1620000"/>
          </a:xfrm>
          <a:noFill/>
        </p:spPr>
        <p:txBody>
          <a:bodyPr lIns="342000" tIns="0" rIns="2160000" bIns="0" anchor="ctr" anchorCtr="0"/>
          <a:lstStyle>
            <a:lvl1pPr>
              <a:defRPr sz="4500" cap="all" baseline="0">
                <a:solidFill>
                  <a:schemeClr val="bg2"/>
                </a:solidFill>
                <a:effectLst>
                  <a:glow rad="292100">
                    <a:schemeClr val="tx1">
                      <a:alpha val="20000"/>
                    </a:schemeClr>
                  </a:glo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B286E1DF-60AE-400A-8B7B-7476D15C7D0C}"/>
              </a:ext>
            </a:extLst>
          </p:cNvPr>
          <p:cNvSpPr>
            <a:spLocks noGrp="1" noChangeAspect="1"/>
          </p:cNvSpPr>
          <p:nvPr>
            <p:ph type="body" sz="quarter" idx="21"/>
          </p:nvPr>
        </p:nvSpPr>
        <p:spPr>
          <a:xfrm>
            <a:off x="5588000" y="1"/>
            <a:ext cx="6604000" cy="2376153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1728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2889F3E-94C3-4A88-BF2F-F30E63351046}"/>
              </a:ext>
            </a:extLst>
          </p:cNvPr>
          <p:cNvSpPr>
            <a:spLocks noGrp="1" noChangeAspect="1"/>
          </p:cNvSpPr>
          <p:nvPr>
            <p:ph type="body" sz="quarter" idx="22"/>
          </p:nvPr>
        </p:nvSpPr>
        <p:spPr>
          <a:xfrm>
            <a:off x="10849038" y="333375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515777159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87CEE9C-A8AE-431B-A0E0-C79E2E22CC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0C04917-818A-4A3D-87A1-5D1A3CEF6E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14D6DCE-44D6-472C-8A31-1D8DC27A62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6175939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E396722-86FB-4B61-980E-29BB1A84BF5F}"/>
              </a:ext>
            </a:extLst>
          </p:cNvPr>
          <p:cNvSpPr/>
          <p:nvPr userDrawn="1"/>
        </p:nvSpPr>
        <p:spPr>
          <a:xfrm>
            <a:off x="0" y="-1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D50AE23D-06D1-4F9E-B490-E50D424CE9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892E96-6CF9-4BCC-9A9B-CB94EC6D1A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97B376B-D4F9-4143-A8AE-817EB0EA6B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84A53671-41EC-45C8-A0C1-D1426C22F9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CDD6A81-9396-BE48-A86C-E83608F7D186}"/>
              </a:ext>
            </a:extLst>
          </p:cNvPr>
          <p:cNvSpPr>
            <a:spLocks noGrp="1" noChangeAspect="1"/>
          </p:cNvSpPr>
          <p:nvPr>
            <p:ph type="body" sz="quarter" idx="16"/>
          </p:nvPr>
        </p:nvSpPr>
        <p:spPr>
          <a:xfrm>
            <a:off x="10849038" y="333375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94972516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E396722-86FB-4B61-980E-29BB1A84BF5F}"/>
              </a:ext>
            </a:extLst>
          </p:cNvPr>
          <p:cNvSpPr/>
          <p:nvPr userDrawn="1"/>
        </p:nvSpPr>
        <p:spPr>
          <a:xfrm>
            <a:off x="0" y="-1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892E96-6CF9-4BCC-9A9B-CB94EC6D1A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97B376B-D4F9-4143-A8AE-817EB0EA6B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84A53671-41EC-45C8-A0C1-D1426C22F9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7807E9A1-1B37-2E4A-95C5-D75F492AC6BA}"/>
              </a:ext>
            </a:extLst>
          </p:cNvPr>
          <p:cNvSpPr>
            <a:spLocks noGrp="1" noChangeAspect="1"/>
          </p:cNvSpPr>
          <p:nvPr>
            <p:ph type="body" sz="quarter" idx="16"/>
          </p:nvPr>
        </p:nvSpPr>
        <p:spPr>
          <a:xfrm>
            <a:off x="10849038" y="333375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865287124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ing slide-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E9670259-4695-428B-A004-7FC80D7094B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19400" y="1"/>
            <a:ext cx="107532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342000" tIns="342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C3F7B8-0B35-40FF-8CB7-4337CBF123A9}"/>
              </a:ext>
            </a:extLst>
          </p:cNvPr>
          <p:cNvSpPr/>
          <p:nvPr userDrawn="1"/>
        </p:nvSpPr>
        <p:spPr>
          <a:xfrm>
            <a:off x="0" y="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CCB27E3-026E-4103-AE04-0346F7EF5C2F}"/>
              </a:ext>
            </a:extLst>
          </p:cNvPr>
          <p:cNvSpPr/>
          <p:nvPr userDrawn="1"/>
        </p:nvSpPr>
        <p:spPr>
          <a:xfrm>
            <a:off x="11472000" y="-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A69E0D77-12A6-1936-23BF-FD10A7ADB6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8950" y="2628900"/>
            <a:ext cx="3594100" cy="160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8133485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3979AE5-365E-4EEB-8F4C-F4E45C728AEF}"/>
              </a:ext>
            </a:extLst>
          </p:cNvPr>
          <p:cNvSpPr/>
          <p:nvPr userDrawn="1"/>
        </p:nvSpPr>
        <p:spPr>
          <a:xfrm>
            <a:off x="719400" y="0"/>
            <a:ext cx="107532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E31FF5A-63AE-45A7-AF45-BF707B1A337A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14726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472600 w 12192000"/>
              <a:gd name="connsiteY3" fmla="*/ 6858000 h 6858000"/>
              <a:gd name="connsiteX4" fmla="*/ 0 w 12192000"/>
              <a:gd name="connsiteY4" fmla="*/ 0 h 6858000"/>
              <a:gd name="connsiteX5" fmla="*/ 719400 w 12192000"/>
              <a:gd name="connsiteY5" fmla="*/ 0 h 6858000"/>
              <a:gd name="connsiteX6" fmla="*/ 7194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14726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472600" y="6858000"/>
                </a:lnTo>
                <a:close/>
                <a:moveTo>
                  <a:pt x="0" y="0"/>
                </a:moveTo>
                <a:lnTo>
                  <a:pt x="719400" y="0"/>
                </a:lnTo>
                <a:lnTo>
                  <a:pt x="7194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08000" tIns="108000" rIns="115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113A054-12CB-4197-89CB-FBA21D5F89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5688" y="4097865"/>
            <a:ext cx="5040312" cy="14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800" b="1" cap="none">
                <a:solidFill>
                  <a:schemeClr val="bg1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6pPr>
            <a:lvl7pPr marL="0" indent="0" algn="l">
              <a:buNone/>
              <a:defRPr sz="1800" b="1">
                <a:solidFill>
                  <a:schemeClr val="bg1"/>
                </a:solidFill>
              </a:defRPr>
            </a:lvl7pPr>
            <a:lvl8pPr marL="0" indent="0" algn="l">
              <a:buNone/>
              <a:defRPr sz="1800" b="1">
                <a:solidFill>
                  <a:schemeClr val="bg1"/>
                </a:solidFill>
              </a:defRPr>
            </a:lvl8pPr>
            <a:lvl9pPr marL="0" indent="0" algn="l">
              <a:buNone/>
              <a:defRPr sz="1800" b="1">
                <a:solidFill>
                  <a:schemeClr val="bg1"/>
                </a:solidFill>
              </a:defRPr>
            </a:lvl9pPr>
          </a:lstStyle>
          <a:p>
            <a:r>
              <a:rPr lang="en-AU"/>
              <a:t>Subtitle or presenters name and date</a:t>
            </a:r>
            <a:endParaRPr lang="en-GB"/>
          </a:p>
          <a:p>
            <a:pPr lvl="1"/>
            <a:r>
              <a:rPr lang="en-US"/>
              <a:t>2</a:t>
            </a:r>
          </a:p>
          <a:p>
            <a:pPr lvl="2"/>
            <a:r>
              <a:rPr lang="en-US"/>
              <a:t>3</a:t>
            </a:r>
          </a:p>
          <a:p>
            <a:pPr lvl="3"/>
            <a:r>
              <a:rPr lang="en-US"/>
              <a:t>4</a:t>
            </a:r>
          </a:p>
          <a:p>
            <a:pPr lvl="4"/>
            <a:r>
              <a:rPr lang="en-US"/>
              <a:t>5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287AC88-A942-4E4F-A359-307B996A79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1946566"/>
            <a:ext cx="10753200" cy="1620000"/>
          </a:xfrm>
          <a:noFill/>
        </p:spPr>
        <p:txBody>
          <a:bodyPr lIns="342000" tIns="342000" rIns="2160000" bIns="0" anchor="b" anchorCtr="0"/>
          <a:lstStyle>
            <a:lvl1pPr>
              <a:defRPr sz="4500" cap="all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98BCAB1-59A8-4C66-87FD-A76DA0651EF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A19EADA1-ACC1-8BB7-CD58-D2C3B694F89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69628" y="5506147"/>
            <a:ext cx="2166684" cy="964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9290768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l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E9670259-4695-428B-A004-7FC80D7094B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19400" y="1"/>
            <a:ext cx="107532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342000" tIns="342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F9144E-5217-4B9A-B2C1-83385827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1946566"/>
            <a:ext cx="10753200" cy="1620000"/>
          </a:xfrm>
          <a:noFill/>
        </p:spPr>
        <p:txBody>
          <a:bodyPr lIns="342000" tIns="342000" rIns="2160000" bIns="0" anchor="b" anchorCtr="0"/>
          <a:lstStyle>
            <a:lvl1pPr>
              <a:defRPr sz="4500" cap="all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113A054-12CB-4197-89CB-FBA21D5F89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5688" y="4097865"/>
            <a:ext cx="5040312" cy="14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800" b="1" cap="none">
                <a:solidFill>
                  <a:schemeClr val="bg2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6pPr>
            <a:lvl7pPr marL="0" indent="0" algn="l">
              <a:buNone/>
              <a:defRPr sz="1800" b="1">
                <a:solidFill>
                  <a:schemeClr val="bg2"/>
                </a:solidFill>
              </a:defRPr>
            </a:lvl7pPr>
            <a:lvl8pPr marL="0" indent="0" algn="l">
              <a:buNone/>
              <a:defRPr sz="1800" b="1">
                <a:solidFill>
                  <a:schemeClr val="bg2"/>
                </a:solidFill>
              </a:defRPr>
            </a:lvl8pPr>
            <a:lvl9pPr marL="0" indent="0" algn="l">
              <a:buNone/>
              <a:defRPr sz="1800" b="1">
                <a:solidFill>
                  <a:schemeClr val="bg2"/>
                </a:solidFill>
              </a:defRPr>
            </a:lvl9pPr>
          </a:lstStyle>
          <a:p>
            <a:r>
              <a:rPr lang="en-AU"/>
              <a:t>Subtitle or presenters name and date</a:t>
            </a:r>
            <a:endParaRPr lang="en-GB"/>
          </a:p>
          <a:p>
            <a:pPr lvl="1"/>
            <a:r>
              <a:rPr lang="en-US"/>
              <a:t>2</a:t>
            </a:r>
          </a:p>
          <a:p>
            <a:pPr lvl="2"/>
            <a:r>
              <a:rPr lang="en-US"/>
              <a:t>3</a:t>
            </a:r>
          </a:p>
          <a:p>
            <a:pPr lvl="3"/>
            <a:r>
              <a:rPr lang="en-US"/>
              <a:t>4</a:t>
            </a:r>
          </a:p>
          <a:p>
            <a:pPr lvl="4"/>
            <a:r>
              <a:rPr lang="en-US"/>
              <a:t>5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C3F7B8-0B35-40FF-8CB7-4337CBF123A9}"/>
              </a:ext>
            </a:extLst>
          </p:cNvPr>
          <p:cNvSpPr/>
          <p:nvPr userDrawn="1"/>
        </p:nvSpPr>
        <p:spPr>
          <a:xfrm>
            <a:off x="0" y="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CCB27E3-026E-4103-AE04-0346F7EF5C2F}"/>
              </a:ext>
            </a:extLst>
          </p:cNvPr>
          <p:cNvSpPr/>
          <p:nvPr userDrawn="1"/>
        </p:nvSpPr>
        <p:spPr>
          <a:xfrm>
            <a:off x="11472000" y="-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C4A1CEB9-11E9-4D44-B10D-C1106153B09E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6096000" y="3940935"/>
            <a:ext cx="5376000" cy="2917066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40000"/>
                </a:schemeClr>
              </a:gs>
            </a:gsLst>
            <a:lin ang="372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6F98E5-C772-4C1B-AEA2-5FA88430480D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60988FE9-E51C-90D4-0D7D-70F07C7E3F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0219" y="5562698"/>
            <a:ext cx="1976093" cy="879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1071111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dark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E9670259-4695-428B-A004-7FC80D7094B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19400" y="1"/>
            <a:ext cx="107532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342000" tIns="342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FC044026-2D0A-4F4C-B231-B0EF94B3258C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6096000" y="3940935"/>
            <a:ext cx="5376000" cy="2917066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40000"/>
                </a:schemeClr>
              </a:gs>
            </a:gsLst>
            <a:lin ang="372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F9144E-5217-4B9A-B2C1-83385827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1946566"/>
            <a:ext cx="10753200" cy="1620000"/>
          </a:xfrm>
          <a:noFill/>
        </p:spPr>
        <p:txBody>
          <a:bodyPr lIns="342000" tIns="342000" rIns="2160000" bIns="0" anchor="b" anchorCtr="0"/>
          <a:lstStyle>
            <a:lvl1pPr>
              <a:defRPr sz="4500" cap="all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113A054-12CB-4197-89CB-FBA21D5F89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5688" y="4097865"/>
            <a:ext cx="5040312" cy="14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800" b="1" cap="none">
                <a:solidFill>
                  <a:schemeClr val="bg2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6pPr>
            <a:lvl7pPr marL="0" indent="0" algn="l">
              <a:buNone/>
              <a:defRPr sz="1800" b="1">
                <a:solidFill>
                  <a:schemeClr val="bg2"/>
                </a:solidFill>
              </a:defRPr>
            </a:lvl7pPr>
            <a:lvl8pPr marL="0" indent="0" algn="l">
              <a:buNone/>
              <a:defRPr sz="1800" b="1">
                <a:solidFill>
                  <a:schemeClr val="bg2"/>
                </a:solidFill>
              </a:defRPr>
            </a:lvl8pPr>
            <a:lvl9pPr marL="0" indent="0" algn="l">
              <a:buNone/>
              <a:defRPr sz="1800" b="1">
                <a:solidFill>
                  <a:schemeClr val="bg2"/>
                </a:solidFill>
              </a:defRPr>
            </a:lvl9pPr>
          </a:lstStyle>
          <a:p>
            <a:r>
              <a:rPr lang="en-AU"/>
              <a:t>Subtitle or presenters name and date</a:t>
            </a:r>
            <a:endParaRPr lang="en-GB"/>
          </a:p>
          <a:p>
            <a:pPr lvl="1"/>
            <a:r>
              <a:rPr lang="en-US"/>
              <a:t>2</a:t>
            </a:r>
          </a:p>
          <a:p>
            <a:pPr lvl="2"/>
            <a:r>
              <a:rPr lang="en-US"/>
              <a:t>3</a:t>
            </a:r>
          </a:p>
          <a:p>
            <a:pPr lvl="3"/>
            <a:r>
              <a:rPr lang="en-US"/>
              <a:t>4</a:t>
            </a:r>
          </a:p>
          <a:p>
            <a:pPr lvl="4"/>
            <a:r>
              <a:rPr lang="en-US"/>
              <a:t>5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C3F7B8-0B35-40FF-8CB7-4337CBF123A9}"/>
              </a:ext>
            </a:extLst>
          </p:cNvPr>
          <p:cNvSpPr/>
          <p:nvPr userDrawn="1"/>
        </p:nvSpPr>
        <p:spPr>
          <a:xfrm>
            <a:off x="0" y="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CCB27E3-026E-4103-AE04-0346F7EF5C2F}"/>
              </a:ext>
            </a:extLst>
          </p:cNvPr>
          <p:cNvSpPr/>
          <p:nvPr userDrawn="1"/>
        </p:nvSpPr>
        <p:spPr>
          <a:xfrm>
            <a:off x="11472000" y="-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1C0FFFF4-D9E3-4A0E-BB93-6DCF367821CD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1055688" y="6288257"/>
            <a:ext cx="7913940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11A8C781-A258-1E2D-729C-E8C06536492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0219" y="5562698"/>
            <a:ext cx="1976093" cy="879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5625155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E9670259-4695-428B-A004-7FC80D7094B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1062000" tIns="342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A57D46A-D8D7-49BF-9479-240175CDBE8A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7540580" y="1"/>
            <a:ext cx="4651420" cy="1673605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1740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F9144E-5217-4B9A-B2C1-83385827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2619000"/>
            <a:ext cx="9000000" cy="1620000"/>
          </a:xfrm>
          <a:noFill/>
        </p:spPr>
        <p:txBody>
          <a:bodyPr lIns="342000" tIns="0" rIns="2160000" bIns="0" anchor="ctr" anchorCtr="0"/>
          <a:lstStyle>
            <a:lvl1pPr>
              <a:defRPr sz="4500" cap="all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FE441B78-CDE5-32F4-9065-9B5A0B3E51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0286" y="303441"/>
            <a:ext cx="1371600" cy="6106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5992470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2DC463D-2F1B-4364-A3E4-F6CD28DDD6E5}"/>
              </a:ext>
            </a:extLst>
          </p:cNvPr>
          <p:cNvSpPr/>
          <p:nvPr userDrawn="1"/>
        </p:nvSpPr>
        <p:spPr>
          <a:xfrm>
            <a:off x="0" y="0"/>
            <a:ext cx="12192000" cy="687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F9144E-5217-4B9A-B2C1-83385827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2619000"/>
            <a:ext cx="9000000" cy="1620000"/>
          </a:xfrm>
          <a:noFill/>
        </p:spPr>
        <p:txBody>
          <a:bodyPr lIns="342000" tIns="0" rIns="2160000" bIns="0" anchor="ctr" anchorCtr="0"/>
          <a:lstStyle>
            <a:lvl1pPr>
              <a:defRPr sz="4500" cap="all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4FB3E14A-559D-E5F3-7EE2-00C437FD5B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0286" y="303441"/>
            <a:ext cx="1371600" cy="6106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3045392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61B3790-BDEB-43E5-BF9C-3E8D289EECE8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9628" y="333375"/>
            <a:ext cx="10080000" cy="1080000"/>
          </a:xfrm>
        </p:spPr>
        <p:txBody>
          <a:bodyPr/>
          <a:lstStyle>
            <a:lvl1pPr>
              <a:defRPr cap="all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FEB565-49CC-408C-BDD2-C2590A4A642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49629" y="1880314"/>
            <a:ext cx="4320000" cy="3960000"/>
          </a:xfrm>
        </p:spPr>
        <p:txBody>
          <a:bodyPr/>
          <a:lstStyle>
            <a:lvl1pPr marL="288000" indent="-288000">
              <a:spcBef>
                <a:spcPts val="1200"/>
              </a:spcBef>
              <a:buFont typeface="+mj-lt"/>
              <a:buAutoNum type="arabicPeriod"/>
              <a:defRPr sz="2200"/>
            </a:lvl1pPr>
            <a:lvl2pPr marL="288000">
              <a:spcBef>
                <a:spcPts val="600"/>
              </a:spcBef>
              <a:spcAft>
                <a:spcPts val="600"/>
              </a:spcAft>
              <a:defRPr b="0" cap="none" baseline="0">
                <a:solidFill>
                  <a:schemeClr val="tx2"/>
                </a:solidFill>
              </a:defRPr>
            </a:lvl2pPr>
            <a:lvl3pPr marL="468000">
              <a:defRPr/>
            </a:lvl3pPr>
            <a:lvl4pPr marL="0" indent="0">
              <a:buNone/>
              <a:defRPr cap="all" baseline="0">
                <a:solidFill>
                  <a:schemeClr val="accent1"/>
                </a:solidFill>
                <a:latin typeface="+mj-lt"/>
              </a:defRPr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add Agenda item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5E5FA15F-A1ED-4F06-8C67-E1D73CF85C8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1880314"/>
            <a:ext cx="4320000" cy="3960000"/>
          </a:xfrm>
        </p:spPr>
        <p:txBody>
          <a:bodyPr/>
          <a:lstStyle>
            <a:lvl1pPr marL="288000" indent="-288000">
              <a:spcBef>
                <a:spcPts val="1200"/>
              </a:spcBef>
              <a:buFont typeface="+mj-lt"/>
              <a:buAutoNum type="arabicPeriod"/>
              <a:defRPr sz="2200"/>
            </a:lvl1pPr>
            <a:lvl2pPr marL="288000">
              <a:spcBef>
                <a:spcPts val="600"/>
              </a:spcBef>
              <a:spcAft>
                <a:spcPts val="600"/>
              </a:spcAft>
              <a:defRPr b="0" cap="none" baseline="0">
                <a:solidFill>
                  <a:schemeClr val="tx2"/>
                </a:solidFill>
              </a:defRPr>
            </a:lvl2pPr>
            <a:lvl3pPr marL="468000">
              <a:defRPr/>
            </a:lvl3pPr>
            <a:lvl4pPr marL="0" indent="0">
              <a:buNone/>
              <a:defRPr cap="all" baseline="0">
                <a:solidFill>
                  <a:schemeClr val="accent1"/>
                </a:solidFill>
                <a:latin typeface="+mj-lt"/>
              </a:defRPr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add Agenda item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98866983-58A4-4EC2-ADBC-AEEA6B9D69AB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8248903" y="6288257"/>
            <a:ext cx="1183557" cy="365125"/>
          </a:xfrm>
        </p:spPr>
        <p:txBody>
          <a:bodyPr/>
          <a:lstStyle/>
          <a:p>
            <a:endParaRPr lang="en-GB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F6B299B-0652-4E6B-BB65-0DE715526B4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55688" y="6288257"/>
            <a:ext cx="7193215" cy="365125"/>
          </a:xfrm>
        </p:spPr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42DCA20-AF8B-4853-AA2C-E5E7CD8D26F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8B1AC7E-46EA-441D-9455-6E65525B6A5A}"/>
              </a:ext>
            </a:extLst>
          </p:cNvPr>
          <p:cNvSpPr/>
          <p:nvPr userDrawn="1"/>
        </p:nvSpPr>
        <p:spPr>
          <a:xfrm>
            <a:off x="0" y="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C9469F0-045F-4A85-8721-359D41A43D06}"/>
              </a:ext>
            </a:extLst>
          </p:cNvPr>
          <p:cNvSpPr/>
          <p:nvPr userDrawn="1"/>
        </p:nvSpPr>
        <p:spPr>
          <a:xfrm>
            <a:off x="11472000" y="-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2179EAA8-E18E-42F9-924F-98FF7A3E70C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128313" y="333375"/>
            <a:ext cx="1008000" cy="448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052143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10794666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5EE857-4C7E-47C5-A433-5F303A10690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963" y="1413375"/>
            <a:ext cx="10794665" cy="72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3" name="Table Placeholder 12">
            <a:extLst>
              <a:ext uri="{FF2B5EF4-FFF2-40B4-BE49-F238E27FC236}">
                <a16:creationId xmlns:a16="http://schemas.microsoft.com/office/drawing/2014/main" id="{12720170-841B-4714-B671-AE40B2FE0283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334963" y="2243443"/>
            <a:ext cx="5400000" cy="3912658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table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4E7EDCB-670C-46CB-A20E-159535CC5C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D18779D-2EB2-4254-A93E-7459659F2BB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8B347AD-5E50-42AC-AFB4-7F625291AB6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0" name="Table Placeholder 12">
            <a:extLst>
              <a:ext uri="{FF2B5EF4-FFF2-40B4-BE49-F238E27FC236}">
                <a16:creationId xmlns:a16="http://schemas.microsoft.com/office/drawing/2014/main" id="{681F39F4-FFD4-4BE2-985A-DFC552D2E405}"/>
              </a:ext>
            </a:extLst>
          </p:cNvPr>
          <p:cNvSpPr>
            <a:spLocks noGrp="1"/>
          </p:cNvSpPr>
          <p:nvPr>
            <p:ph type="tbl" sz="quarter" idx="20"/>
          </p:nvPr>
        </p:nvSpPr>
        <p:spPr>
          <a:xfrm>
            <a:off x="6096000" y="2243443"/>
            <a:ext cx="5400000" cy="3912658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tab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932930796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880315"/>
            <a:ext cx="10080000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06AFE3-EE64-4522-825B-815C6A28E9F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CCCCDE7-B8EA-4773-A164-304D34F89D0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C4FDAA8-8585-4D16-87AD-3485D164648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1404850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1312C68-9CDC-4DDF-AFFD-F813984EE08A}"/>
              </a:ext>
            </a:extLst>
          </p:cNvPr>
          <p:cNvSpPr/>
          <p:nvPr userDrawn="1"/>
        </p:nvSpPr>
        <p:spPr>
          <a:xfrm>
            <a:off x="0" y="-11798"/>
            <a:ext cx="12192000" cy="690814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880315"/>
            <a:ext cx="10080000" cy="396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  <a:lvl6pPr>
              <a:defRPr>
                <a:solidFill>
                  <a:schemeClr val="bg2"/>
                </a:solidFill>
              </a:defRPr>
            </a:lvl6pPr>
            <a:lvl7pPr>
              <a:defRPr>
                <a:solidFill>
                  <a:schemeClr val="bg2"/>
                </a:solidFill>
              </a:defRPr>
            </a:lvl7pPr>
            <a:lvl8pPr>
              <a:defRPr>
                <a:solidFill>
                  <a:schemeClr val="bg2"/>
                </a:solidFill>
              </a:defRPr>
            </a:lvl8pPr>
            <a:lvl9pPr>
              <a:defRPr>
                <a:solidFill>
                  <a:schemeClr val="bg2"/>
                </a:solidFill>
              </a:defRPr>
            </a:lvl9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06AFE3-EE64-4522-825B-815C6A28E9F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CCCCDE7-B8EA-4773-A164-304D34F89D0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C4FDAA8-8585-4D16-87AD-3485D164648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DCB8BC7D-E0E4-0345-72B7-03D7CF44FD1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6375" y="303442"/>
            <a:ext cx="1115510" cy="496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6357055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880315"/>
            <a:ext cx="4680000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06AFE3-EE64-4522-825B-815C6A28E9F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CCCCDE7-B8EA-4773-A164-304D34F89D0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C4FDAA8-8585-4D16-87AD-3485D164648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9FAA2598-9FF1-4FD4-A0B9-1D5412ADF05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734962" y="1880315"/>
            <a:ext cx="4680000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68391712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F17809F-093D-4878-B686-CA14CFB80D98}"/>
              </a:ext>
            </a:extLst>
          </p:cNvPr>
          <p:cNvSpPr/>
          <p:nvPr userDrawn="1"/>
        </p:nvSpPr>
        <p:spPr>
          <a:xfrm>
            <a:off x="0" y="-1"/>
            <a:ext cx="12192000" cy="687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880315"/>
            <a:ext cx="4680000" cy="396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06AFE3-EE64-4522-825B-815C6A28E9F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CCCCDE7-B8EA-4773-A164-304D34F89D0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C4FDAA8-8585-4D16-87AD-3485D164648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9FAA2598-9FF1-4FD4-A0B9-1D5412ADF05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734962" y="1880315"/>
            <a:ext cx="4680000" cy="396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E69570CD-4160-2778-6E55-3B05B83F138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9924" y="303441"/>
            <a:ext cx="1071962" cy="477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9236542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lef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450744" y="1880315"/>
            <a:ext cx="4691628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23DD628-AE63-4907-AF4B-6B53C077707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4963" y="1880314"/>
            <a:ext cx="5761037" cy="4644311"/>
          </a:xfrm>
          <a:prstGeom prst="roundRect">
            <a:avLst>
              <a:gd name="adj" fmla="val 1982"/>
            </a:avLst>
          </a:prstGeom>
          <a:solidFill>
            <a:schemeClr val="bg1">
              <a:lumMod val="85000"/>
            </a:schemeClr>
          </a:solidFill>
        </p:spPr>
        <p:txBody>
          <a:bodyPr lIns="342000" tIns="342000" rIns="342000" bIns="342000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AU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6453E03-EC16-4564-B43B-27855EB9BD2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450744" y="6288257"/>
            <a:ext cx="4320000" cy="365125"/>
          </a:xfrm>
        </p:spPr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A913BC-780A-4949-92A0-B5967D36080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459140" y="6159500"/>
            <a:ext cx="727410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3689459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16EF975B-AD72-4CB0-A546-757A6175A51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83255" y="1880314"/>
            <a:ext cx="5761038" cy="4644311"/>
          </a:xfrm>
          <a:prstGeom prst="roundRect">
            <a:avLst>
              <a:gd name="adj" fmla="val 1982"/>
            </a:avLst>
          </a:prstGeom>
          <a:solidFill>
            <a:schemeClr val="bg1">
              <a:lumMod val="85000"/>
            </a:schemeClr>
          </a:solidFill>
        </p:spPr>
        <p:txBody>
          <a:bodyPr lIns="342000" tIns="342000" rIns="342000" bIns="342000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AU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880315"/>
            <a:ext cx="4691628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C94176C4-3B30-43F2-91DE-33D09AEA7B5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A95B7BCF-DC6C-46BC-B3D2-2F18F9BC75D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547064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-full wid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23DD628-AE63-4907-AF4B-6B53C077707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4963" y="1880314"/>
            <a:ext cx="11509330" cy="4644311"/>
          </a:xfrm>
          <a:prstGeom prst="roundRect">
            <a:avLst>
              <a:gd name="adj" fmla="val 1982"/>
            </a:avLst>
          </a:prstGeom>
          <a:solidFill>
            <a:schemeClr val="bg1">
              <a:lumMod val="85000"/>
            </a:schemeClr>
          </a:solidFill>
        </p:spPr>
        <p:txBody>
          <a:bodyPr lIns="342000" tIns="342000" rIns="342000" bIns="342000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AU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6E7A7DD-8C14-4B85-B39F-1E990E1FFE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333375"/>
            <a:ext cx="5761038" cy="108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7D8FAF2-858C-419E-A577-F0425218264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15444" y="333375"/>
            <a:ext cx="3600000" cy="126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D048DB48-6039-4A0D-ACBF-D5EB8DD358F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459140" y="6159500"/>
            <a:ext cx="727410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39370715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-full ble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0">
            <a:extLst>
              <a:ext uri="{FF2B5EF4-FFF2-40B4-BE49-F238E27FC236}">
                <a16:creationId xmlns:a16="http://schemas.microsoft.com/office/drawing/2014/main" id="{5AF6F1E8-5ECE-4267-92B5-43C3523BCBE3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1062000" tIns="360000" rIns="4320000" bIns="360000" anchor="ctr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8390923A-6BDB-44C8-9456-CEB6E0A0A293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7540580" y="1"/>
            <a:ext cx="4651420" cy="1673605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1740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6E7A7DD-8C14-4B85-B39F-1E990E1FFE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333375"/>
            <a:ext cx="5761038" cy="108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7D8FAF2-858C-419E-A577-F0425218264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15444" y="333375"/>
            <a:ext cx="3600000" cy="126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  <a:lvl6pPr>
              <a:defRPr>
                <a:solidFill>
                  <a:schemeClr val="bg2"/>
                </a:solidFill>
              </a:defRPr>
            </a:lvl6pPr>
            <a:lvl7pPr>
              <a:defRPr>
                <a:solidFill>
                  <a:schemeClr val="bg2"/>
                </a:solidFill>
              </a:defRPr>
            </a:lvl7pPr>
            <a:lvl8pPr>
              <a:defRPr>
                <a:solidFill>
                  <a:schemeClr val="bg2"/>
                </a:solidFill>
              </a:defRPr>
            </a:lvl8pPr>
            <a:lvl9pPr>
              <a:defRPr>
                <a:solidFill>
                  <a:schemeClr val="bg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E0AD6A4-0D42-4CCD-B0CB-498EE201FE4E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21E9B0E-B319-4C6F-97AF-0F8D83942F0C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65D74DCF-D99B-4098-B297-0BD016160D35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FB4A08B0-6A28-D04B-257D-013EC758BC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170" y="303442"/>
            <a:ext cx="979715" cy="43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6571394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right 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23DD628-AE63-4907-AF4B-6B53C077707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0"/>
            <a:ext cx="6096000" cy="6858000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</p:spPr>
        <p:txBody>
          <a:bodyPr lIns="342000" tIns="342000" rIns="1440000" bIns="342000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AU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EB2F477-266C-4C9D-A64F-287BA3F4CF3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4962" y="1880314"/>
            <a:ext cx="5220000" cy="396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771A36E-45E1-4553-9842-66EF392719C7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844884" y="1880314"/>
            <a:ext cx="2160000" cy="396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7D669EEE-6563-477F-A4CD-D425F6140F00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347256" y="1880314"/>
            <a:ext cx="2160000" cy="396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A5DE353-D720-4A1F-9ECC-89FB139059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2218" y="333375"/>
            <a:ext cx="5220000" cy="108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913AB32-E310-49A2-9A47-2348F6B61E52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6266A723-640D-4EFF-93D1-1E964694156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C4DEE883-581D-4AC9-9251-8929D0C8E380}"/>
              </a:ext>
            </a:extLst>
          </p:cNvPr>
          <p:cNvSpPr>
            <a:spLocks noGrp="1" noChangeAspect="1"/>
          </p:cNvSpPr>
          <p:nvPr>
            <p:ph type="body" sz="quarter" idx="25"/>
          </p:nvPr>
        </p:nvSpPr>
        <p:spPr>
          <a:xfrm>
            <a:off x="7540580" y="1"/>
            <a:ext cx="4651420" cy="1673605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1740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6C4035EB-46BA-D68D-EDAA-1CAC6D7697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170" y="303442"/>
            <a:ext cx="979715" cy="43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0052413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7F07ECCF-5EE7-4BA4-BD7C-50DF82C3F5BF}"/>
              </a:ext>
            </a:extLst>
          </p:cNvPr>
          <p:cNvSpPr/>
          <p:nvPr userDrawn="1"/>
        </p:nvSpPr>
        <p:spPr>
          <a:xfrm>
            <a:off x="0" y="0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10080000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08DD2E7-C8BF-4E45-AE9F-C1389B7B38D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963" y="2600315"/>
            <a:ext cx="2160000" cy="3240000"/>
          </a:xfrm>
        </p:spPr>
        <p:txBody>
          <a:bodyPr/>
          <a:lstStyle>
            <a:lvl1pPr>
              <a:defRPr sz="1600" cap="all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 b="0" cap="none" baseline="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D7BC8491-CCAE-458C-BD6D-862F904604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979212" y="2600315"/>
            <a:ext cx="2160000" cy="3240000"/>
          </a:xfrm>
        </p:spPr>
        <p:txBody>
          <a:bodyPr/>
          <a:lstStyle>
            <a:lvl1pPr>
              <a:defRPr sz="1600" cap="all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 b="0" cap="none" baseline="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B036190F-67DD-4555-BB1F-179E8E9C46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23461" y="2600315"/>
            <a:ext cx="2160000" cy="3240000"/>
          </a:xfrm>
        </p:spPr>
        <p:txBody>
          <a:bodyPr/>
          <a:lstStyle>
            <a:lvl1pPr>
              <a:defRPr sz="1600" cap="all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 b="0" cap="none" baseline="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F1044E10-4BD7-47DE-8A5A-57C9557A0B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67709" y="2600315"/>
            <a:ext cx="2160000" cy="3240000"/>
          </a:xfrm>
        </p:spPr>
        <p:txBody>
          <a:bodyPr/>
          <a:lstStyle>
            <a:lvl1pPr>
              <a:defRPr sz="1600" cap="all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 b="0" cap="none" baseline="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B900929-35E2-4B6A-A4BF-9E02733E3AB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6B47C34-75D5-42A4-8A99-FADDAF9BBA6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67B0344-E805-4D5F-B3FB-AF95BC74870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5344C7BC-0E67-CA0F-39A7-28EB9FE063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170" y="303442"/>
            <a:ext cx="979715" cy="43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261742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rt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hart Placeholder 7">
            <a:extLst>
              <a:ext uri="{FF2B5EF4-FFF2-40B4-BE49-F238E27FC236}">
                <a16:creationId xmlns:a16="http://schemas.microsoft.com/office/drawing/2014/main" id="{4453905E-F3D8-46E8-B904-03A8DD092DA7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6096000" y="2243442"/>
            <a:ext cx="5400000" cy="3912658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10801351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5EE857-4C7E-47C5-A433-5F303A10690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964" y="1413375"/>
            <a:ext cx="10801350" cy="72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D1ECE4F1-33EB-4137-BED8-59885BB39C47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334963" y="2243442"/>
            <a:ext cx="5400000" cy="3912658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778F5DE-1344-42BD-82D0-6611DD7B1FC6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D0D518F-1062-474E-BA48-10EA56B2C55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2C63567-251B-4660-ADF6-37AB6DCF01D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621468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7F07ECCF-5EE7-4BA4-BD7C-50DF82C3F5BF}"/>
              </a:ext>
            </a:extLst>
          </p:cNvPr>
          <p:cNvSpPr/>
          <p:nvPr userDrawn="1"/>
        </p:nvSpPr>
        <p:spPr>
          <a:xfrm>
            <a:off x="0" y="0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F1044E10-4BD7-47DE-8A5A-57C9557A0B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42214" y="2106271"/>
            <a:ext cx="4507572" cy="2281251"/>
          </a:xfrm>
        </p:spPr>
        <p:txBody>
          <a:bodyPr/>
          <a:lstStyle>
            <a:lvl1pPr>
              <a:defRPr sz="2800" cap="none" baseline="0">
                <a:solidFill>
                  <a:schemeClr val="accent1"/>
                </a:solidFill>
                <a:latin typeface="+mj-lt"/>
              </a:defRPr>
            </a:lvl1pPr>
            <a:lvl2pPr algn="l">
              <a:spcBef>
                <a:spcPts val="600"/>
              </a:spcBef>
              <a:defRPr sz="1600" b="0" cap="none" baseline="0">
                <a:solidFill>
                  <a:schemeClr val="accent1"/>
                </a:solidFill>
              </a:defRPr>
            </a:lvl2pPr>
            <a:lvl3pPr algn="l">
              <a:defRPr sz="1600" cap="none">
                <a:solidFill>
                  <a:schemeClr val="accent1"/>
                </a:solidFill>
              </a:defRPr>
            </a:lvl3pPr>
            <a:lvl4pPr algn="l">
              <a:defRPr sz="1600" cap="none">
                <a:solidFill>
                  <a:schemeClr val="accent1"/>
                </a:solidFill>
              </a:defRPr>
            </a:lvl4pPr>
            <a:lvl5pPr algn="l">
              <a:defRPr sz="1600" cap="none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CCFA2A9-BC18-4CF8-AD38-42B263119472}"/>
              </a:ext>
            </a:extLst>
          </p:cNvPr>
          <p:cNvSpPr txBox="1"/>
          <p:nvPr userDrawn="1"/>
        </p:nvSpPr>
        <p:spPr>
          <a:xfrm>
            <a:off x="2756995" y="1307904"/>
            <a:ext cx="914033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2000">
                <a:solidFill>
                  <a:schemeClr val="accent1"/>
                </a:solidFill>
                <a:latin typeface="+mj-lt"/>
              </a:rPr>
              <a:t>“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9C98CC0-E077-4ADE-8BC2-9559518E22D8}"/>
              </a:ext>
            </a:extLst>
          </p:cNvPr>
          <p:cNvSpPr txBox="1"/>
          <p:nvPr userDrawn="1"/>
        </p:nvSpPr>
        <p:spPr>
          <a:xfrm>
            <a:off x="7755716" y="3692995"/>
            <a:ext cx="1643399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2000">
                <a:solidFill>
                  <a:schemeClr val="tx2"/>
                </a:solidFill>
                <a:latin typeface="+mj-lt"/>
              </a:rPr>
              <a:t>“</a:t>
            </a:r>
            <a:r>
              <a:rPr lang="en-AU" sz="12000">
                <a:solidFill>
                  <a:schemeClr val="accent1"/>
                </a:solidFill>
                <a:latin typeface="+mj-lt"/>
              </a:rPr>
              <a:t>”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25A78CB-C25F-477B-ACB8-7A8C3B33F7D7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0DC4922-3AFC-43D6-9996-17D5CAC06E9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54801EF-D4C3-4D21-A7DC-76D432B0F00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7CB4A03A-94C8-BFEA-8068-9023E104F6B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170" y="303442"/>
            <a:ext cx="979715" cy="43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482830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10794666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5EE857-4C7E-47C5-A433-5F303A10690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963" y="1413375"/>
            <a:ext cx="10794665" cy="72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3" name="Table Placeholder 12">
            <a:extLst>
              <a:ext uri="{FF2B5EF4-FFF2-40B4-BE49-F238E27FC236}">
                <a16:creationId xmlns:a16="http://schemas.microsoft.com/office/drawing/2014/main" id="{12720170-841B-4714-B671-AE40B2FE0283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334963" y="2243443"/>
            <a:ext cx="10794665" cy="3600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table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4E7EDCB-670C-46CB-A20E-159535CC5C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D18779D-2EB2-4254-A93E-7459659F2BB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8B347AD-5E50-42AC-AFB4-7F625291AB6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0407963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10801351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5EE857-4C7E-47C5-A433-5F303A10690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964" y="1413375"/>
            <a:ext cx="10801350" cy="72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D1ECE4F1-33EB-4137-BED8-59885BB39C47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334963" y="2243442"/>
            <a:ext cx="10801350" cy="3599999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778F5DE-1344-42BD-82D0-6611DD7B1FC6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D0D518F-1062-474E-BA48-10EA56B2C55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2C63567-251B-4660-ADF6-37AB6DCF01D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20556134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D583ABC-22A1-400D-B5EB-018BF7A1B892}"/>
              </a:ext>
            </a:extLst>
          </p:cNvPr>
          <p:cNvSpPr/>
          <p:nvPr userDrawn="1"/>
        </p:nvSpPr>
        <p:spPr>
          <a:xfrm>
            <a:off x="0" y="0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10794666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5EE857-4C7E-47C5-A433-5F303A10690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963" y="1413375"/>
            <a:ext cx="10794665" cy="72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3" name="Table Placeholder 12">
            <a:extLst>
              <a:ext uri="{FF2B5EF4-FFF2-40B4-BE49-F238E27FC236}">
                <a16:creationId xmlns:a16="http://schemas.microsoft.com/office/drawing/2014/main" id="{12720170-841B-4714-B671-AE40B2FE0283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334963" y="2243443"/>
            <a:ext cx="10794665" cy="3600000"/>
          </a:xfrm>
        </p:spPr>
        <p:txBody>
          <a:bodyPr anchor="ctr" anchorCtr="0"/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4E7EDCB-670C-46CB-A20E-159535CC5C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D18779D-2EB2-4254-A93E-7459659F2BB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8B347AD-5E50-42AC-AFB4-7F625291AB6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2FA6FFA2-47D4-767C-57CD-472CB83562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170" y="303442"/>
            <a:ext cx="979715" cy="43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024917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C60C8A8-1B70-4653-94B4-DE00B5C785B3}"/>
              </a:ext>
            </a:extLst>
          </p:cNvPr>
          <p:cNvSpPr/>
          <p:nvPr userDrawn="1"/>
        </p:nvSpPr>
        <p:spPr>
          <a:xfrm>
            <a:off x="0" y="0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10801351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5EE857-4C7E-47C5-A433-5F303A10690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964" y="1413375"/>
            <a:ext cx="10801350" cy="72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D1ECE4F1-33EB-4137-BED8-59885BB39C47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334963" y="2243442"/>
            <a:ext cx="10801350" cy="3599999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778F5DE-1344-42BD-82D0-6611DD7B1FC6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D0D518F-1062-474E-BA48-10EA56B2C55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2C63567-251B-4660-ADF6-37AB6DCF01D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55A299A2-94E0-10F6-A195-57A32A7EF3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170" y="303442"/>
            <a:ext cx="979715" cy="43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8169285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76849F14-4971-4208-82A8-1F0513897926}"/>
              </a:ext>
            </a:extLst>
          </p:cNvPr>
          <p:cNvSpPr/>
          <p:nvPr userDrawn="1"/>
        </p:nvSpPr>
        <p:spPr>
          <a:xfrm>
            <a:off x="719400" y="-2"/>
            <a:ext cx="107532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096AA35B-6D3E-4809-9D78-9CF31081E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9400" y="-2"/>
            <a:ext cx="4680000" cy="4068000"/>
          </a:xfrm>
          <a:solidFill>
            <a:schemeClr val="tx2"/>
          </a:solidFill>
        </p:spPr>
        <p:txBody>
          <a:bodyPr lIns="342000" tIns="342000" rIns="0" bIns="504000" anchor="b" anchorCtr="0"/>
          <a:lstStyle>
            <a:lvl1pPr>
              <a:defRPr sz="4500">
                <a:solidFill>
                  <a:schemeClr val="accent1"/>
                </a:solidFill>
              </a:defRPr>
            </a:lvl1pPr>
          </a:lstStyle>
          <a:p>
            <a:r>
              <a:rPr lang="en-US"/>
              <a:t>Thank you</a:t>
            </a:r>
            <a:endParaRPr lang="en-AU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FD95F930-CD55-469B-9FD0-1150DA73B39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-2"/>
            <a:ext cx="12192000" cy="6876000"/>
          </a:xfrm>
          <a:custGeom>
            <a:avLst/>
            <a:gdLst>
              <a:gd name="connsiteX0" fmla="*/ 114726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472600 w 12192000"/>
              <a:gd name="connsiteY3" fmla="*/ 6858000 h 6858000"/>
              <a:gd name="connsiteX4" fmla="*/ 0 w 12192000"/>
              <a:gd name="connsiteY4" fmla="*/ 0 h 6858000"/>
              <a:gd name="connsiteX5" fmla="*/ 719400 w 12192000"/>
              <a:gd name="connsiteY5" fmla="*/ 0 h 6858000"/>
              <a:gd name="connsiteX6" fmla="*/ 7194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14726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472600" y="6858000"/>
                </a:lnTo>
                <a:close/>
                <a:moveTo>
                  <a:pt x="0" y="0"/>
                </a:moveTo>
                <a:lnTo>
                  <a:pt x="719400" y="0"/>
                </a:lnTo>
                <a:lnTo>
                  <a:pt x="7194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08000" tIns="108000" rIns="115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F8BC909C-567D-4F9C-A0DF-D05DE8F82075}"/>
              </a:ext>
            </a:extLst>
          </p:cNvPr>
          <p:cNvSpPr>
            <a:spLocks noChangeAspect="1"/>
          </p:cNvSpPr>
          <p:nvPr/>
        </p:nvSpPr>
        <p:spPr>
          <a:xfrm>
            <a:off x="7916652" y="4591756"/>
            <a:ext cx="242382" cy="242382"/>
          </a:xfrm>
          <a:custGeom>
            <a:avLst/>
            <a:gdLst>
              <a:gd name="connsiteX0" fmla="*/ 357950 w 809625"/>
              <a:gd name="connsiteY0" fmla="*/ 333375 h 809625"/>
              <a:gd name="connsiteX1" fmla="*/ 480537 w 809625"/>
              <a:gd name="connsiteY1" fmla="*/ 397002 h 809625"/>
              <a:gd name="connsiteX2" fmla="*/ 357950 w 809625"/>
              <a:gd name="connsiteY2" fmla="*/ 460439 h 809625"/>
              <a:gd name="connsiteX3" fmla="*/ 242887 w 809625"/>
              <a:gd name="connsiteY3" fmla="*/ 249555 h 809625"/>
              <a:gd name="connsiteX4" fmla="*/ 178117 w 809625"/>
              <a:gd name="connsiteY4" fmla="*/ 314325 h 809625"/>
              <a:gd name="connsiteX5" fmla="*/ 178117 w 809625"/>
              <a:gd name="connsiteY5" fmla="*/ 495300 h 809625"/>
              <a:gd name="connsiteX6" fmla="*/ 242887 w 809625"/>
              <a:gd name="connsiteY6" fmla="*/ 560070 h 809625"/>
              <a:gd name="connsiteX7" fmla="*/ 566737 w 809625"/>
              <a:gd name="connsiteY7" fmla="*/ 560070 h 809625"/>
              <a:gd name="connsiteX8" fmla="*/ 631507 w 809625"/>
              <a:gd name="connsiteY8" fmla="*/ 495300 h 809625"/>
              <a:gd name="connsiteX9" fmla="*/ 631507 w 809625"/>
              <a:gd name="connsiteY9" fmla="*/ 314325 h 809625"/>
              <a:gd name="connsiteX10" fmla="*/ 566737 w 809625"/>
              <a:gd name="connsiteY10" fmla="*/ 249555 h 809625"/>
              <a:gd name="connsiteX11" fmla="*/ 404813 w 809625"/>
              <a:gd name="connsiteY11" fmla="*/ 0 h 809625"/>
              <a:gd name="connsiteX12" fmla="*/ 809625 w 809625"/>
              <a:gd name="connsiteY12" fmla="*/ 404813 h 809625"/>
              <a:gd name="connsiteX13" fmla="*/ 404813 w 809625"/>
              <a:gd name="connsiteY13" fmla="*/ 809625 h 809625"/>
              <a:gd name="connsiteX14" fmla="*/ 0 w 809625"/>
              <a:gd name="connsiteY14" fmla="*/ 404813 h 809625"/>
              <a:gd name="connsiteX15" fmla="*/ 404813 w 809625"/>
              <a:gd name="connsiteY15" fmla="*/ 0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809625" h="809625">
                <a:moveTo>
                  <a:pt x="357950" y="333375"/>
                </a:moveTo>
                <a:lnTo>
                  <a:pt x="480537" y="397002"/>
                </a:lnTo>
                <a:lnTo>
                  <a:pt x="357950" y="460439"/>
                </a:lnTo>
                <a:close/>
                <a:moveTo>
                  <a:pt x="242887" y="249555"/>
                </a:moveTo>
                <a:cubicBezTo>
                  <a:pt x="207159" y="249660"/>
                  <a:pt x="178222" y="278597"/>
                  <a:pt x="178117" y="314325"/>
                </a:cubicBezTo>
                <a:lnTo>
                  <a:pt x="178117" y="495300"/>
                </a:lnTo>
                <a:cubicBezTo>
                  <a:pt x="178222" y="531028"/>
                  <a:pt x="207159" y="559965"/>
                  <a:pt x="242887" y="560070"/>
                </a:cubicBezTo>
                <a:lnTo>
                  <a:pt x="566737" y="560070"/>
                </a:lnTo>
                <a:cubicBezTo>
                  <a:pt x="602465" y="559965"/>
                  <a:pt x="631402" y="531028"/>
                  <a:pt x="631507" y="495300"/>
                </a:cubicBezTo>
                <a:lnTo>
                  <a:pt x="631507" y="314325"/>
                </a:lnTo>
                <a:cubicBezTo>
                  <a:pt x="631402" y="278597"/>
                  <a:pt x="602465" y="249660"/>
                  <a:pt x="566737" y="249555"/>
                </a:cubicBezTo>
                <a:close/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2487C176-18A9-4BB0-BD80-DEC34233A800}"/>
              </a:ext>
            </a:extLst>
          </p:cNvPr>
          <p:cNvSpPr>
            <a:spLocks noChangeAspect="1"/>
          </p:cNvSpPr>
          <p:nvPr/>
        </p:nvSpPr>
        <p:spPr>
          <a:xfrm>
            <a:off x="8298996" y="4591756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495146 w 809625"/>
              <a:gd name="connsiteY5" fmla="*/ 220645 h 809625"/>
              <a:gd name="connsiteX6" fmla="*/ 428527 w 809625"/>
              <a:gd name="connsiteY6" fmla="*/ 245841 h 809625"/>
              <a:gd name="connsiteX7" fmla="*/ 399192 w 809625"/>
              <a:gd name="connsiteY7" fmla="*/ 313563 h 809625"/>
              <a:gd name="connsiteX8" fmla="*/ 401573 w 809625"/>
              <a:gd name="connsiteY8" fmla="*/ 334803 h 809625"/>
              <a:gd name="connsiteX9" fmla="*/ 209549 w 809625"/>
              <a:gd name="connsiteY9" fmla="*/ 238125 h 809625"/>
              <a:gd name="connsiteX10" fmla="*/ 238124 w 809625"/>
              <a:gd name="connsiteY10" fmla="*/ 361950 h 809625"/>
              <a:gd name="connsiteX11" fmla="*/ 195928 w 809625"/>
              <a:gd name="connsiteY11" fmla="*/ 350329 h 809625"/>
              <a:gd name="connsiteX12" fmla="*/ 195929 w 809625"/>
              <a:gd name="connsiteY12" fmla="*/ 351567 h 809625"/>
              <a:gd name="connsiteX13" fmla="*/ 270605 w 809625"/>
              <a:gd name="connsiteY13" fmla="*/ 442722 h 809625"/>
              <a:gd name="connsiteX14" fmla="*/ 228599 w 809625"/>
              <a:gd name="connsiteY14" fmla="*/ 444341 h 809625"/>
              <a:gd name="connsiteX15" fmla="*/ 315467 w 809625"/>
              <a:gd name="connsiteY15" fmla="*/ 508920 h 809625"/>
              <a:gd name="connsiteX16" fmla="*/ 200024 w 809625"/>
              <a:gd name="connsiteY16" fmla="*/ 548544 h 809625"/>
              <a:gd name="connsiteX17" fmla="*/ 177831 w 809625"/>
              <a:gd name="connsiteY17" fmla="*/ 547211 h 809625"/>
              <a:gd name="connsiteX18" fmla="*/ 320706 w 809625"/>
              <a:gd name="connsiteY18" fmla="*/ 589026 h 809625"/>
              <a:gd name="connsiteX19" fmla="*/ 585406 w 809625"/>
              <a:gd name="connsiteY19" fmla="*/ 324421 h 809625"/>
              <a:gd name="connsiteX20" fmla="*/ 585406 w 809625"/>
              <a:gd name="connsiteY20" fmla="*/ 312324 h 809625"/>
              <a:gd name="connsiteX21" fmla="*/ 631507 w 809625"/>
              <a:gd name="connsiteY21" fmla="*/ 264223 h 809625"/>
              <a:gd name="connsiteX22" fmla="*/ 578072 w 809625"/>
              <a:gd name="connsiteY22" fmla="*/ 278892 h 809625"/>
              <a:gd name="connsiteX23" fmla="*/ 619124 w 809625"/>
              <a:gd name="connsiteY23" fmla="*/ 227361 h 809625"/>
              <a:gd name="connsiteX24" fmla="*/ 560069 w 809625"/>
              <a:gd name="connsiteY24" fmla="*/ 249936 h 809625"/>
              <a:gd name="connsiteX25" fmla="*/ 495146 w 809625"/>
              <a:gd name="connsiteY25" fmla="*/ 220645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495146" y="220645"/>
                </a:moveTo>
                <a:cubicBezTo>
                  <a:pt x="471342" y="219904"/>
                  <a:pt x="447255" y="228245"/>
                  <a:pt x="428527" y="245841"/>
                </a:cubicBezTo>
                <a:cubicBezTo>
                  <a:pt x="409833" y="263407"/>
                  <a:pt x="399219" y="287911"/>
                  <a:pt x="399192" y="313563"/>
                </a:cubicBezTo>
                <a:cubicBezTo>
                  <a:pt x="399204" y="320709"/>
                  <a:pt x="400003" y="327832"/>
                  <a:pt x="401573" y="334803"/>
                </a:cubicBezTo>
                <a:cubicBezTo>
                  <a:pt x="326768" y="331204"/>
                  <a:pt x="256991" y="296073"/>
                  <a:pt x="209549" y="238125"/>
                </a:cubicBezTo>
                <a:cubicBezTo>
                  <a:pt x="185023" y="280491"/>
                  <a:pt x="197513" y="334615"/>
                  <a:pt x="238124" y="361950"/>
                </a:cubicBezTo>
                <a:cubicBezTo>
                  <a:pt x="223336" y="361482"/>
                  <a:pt x="208871" y="357499"/>
                  <a:pt x="195928" y="350329"/>
                </a:cubicBezTo>
                <a:lnTo>
                  <a:pt x="195929" y="351567"/>
                </a:lnTo>
                <a:cubicBezTo>
                  <a:pt x="195962" y="395849"/>
                  <a:pt x="227195" y="433974"/>
                  <a:pt x="270605" y="442722"/>
                </a:cubicBezTo>
                <a:cubicBezTo>
                  <a:pt x="256901" y="446399"/>
                  <a:pt x="242546" y="446952"/>
                  <a:pt x="228599" y="444341"/>
                </a:cubicBezTo>
                <a:cubicBezTo>
                  <a:pt x="240745" y="482243"/>
                  <a:pt x="275672" y="508209"/>
                  <a:pt x="315467" y="508920"/>
                </a:cubicBezTo>
                <a:cubicBezTo>
                  <a:pt x="282513" y="534690"/>
                  <a:pt x="241858" y="548644"/>
                  <a:pt x="200024" y="548544"/>
                </a:cubicBezTo>
                <a:cubicBezTo>
                  <a:pt x="192607" y="548536"/>
                  <a:pt x="185196" y="548091"/>
                  <a:pt x="177831" y="547211"/>
                </a:cubicBezTo>
                <a:cubicBezTo>
                  <a:pt x="220421" y="574649"/>
                  <a:pt x="270043" y="589172"/>
                  <a:pt x="320706" y="589026"/>
                </a:cubicBezTo>
                <a:cubicBezTo>
                  <a:pt x="492156" y="589026"/>
                  <a:pt x="585406" y="447294"/>
                  <a:pt x="585406" y="324421"/>
                </a:cubicBezTo>
                <a:cubicBezTo>
                  <a:pt x="585406" y="320325"/>
                  <a:pt x="585406" y="316325"/>
                  <a:pt x="585406" y="312324"/>
                </a:cubicBezTo>
                <a:cubicBezTo>
                  <a:pt x="603503" y="299151"/>
                  <a:pt x="619113" y="282863"/>
                  <a:pt x="631507" y="264223"/>
                </a:cubicBezTo>
                <a:cubicBezTo>
                  <a:pt x="614513" y="271713"/>
                  <a:pt x="596508" y="276656"/>
                  <a:pt x="578072" y="278892"/>
                </a:cubicBezTo>
                <a:cubicBezTo>
                  <a:pt x="597588" y="267302"/>
                  <a:pt x="612190" y="248974"/>
                  <a:pt x="619124" y="227361"/>
                </a:cubicBezTo>
                <a:cubicBezTo>
                  <a:pt x="600877" y="238213"/>
                  <a:pt x="580902" y="245848"/>
                  <a:pt x="560069" y="249936"/>
                </a:cubicBezTo>
                <a:cubicBezTo>
                  <a:pt x="542473" y="231209"/>
                  <a:pt x="518951" y="221387"/>
                  <a:pt x="495146" y="22064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41393088-2A2D-4F19-A536-4C5B46718A69}"/>
              </a:ext>
            </a:extLst>
          </p:cNvPr>
          <p:cNvSpPr>
            <a:spLocks noChangeAspect="1"/>
          </p:cNvSpPr>
          <p:nvPr/>
        </p:nvSpPr>
        <p:spPr>
          <a:xfrm>
            <a:off x="8681340" y="4591756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230981 w 809625"/>
              <a:gd name="connsiteY5" fmla="*/ 177069 h 809625"/>
              <a:gd name="connsiteX6" fmla="*/ 176498 w 809625"/>
              <a:gd name="connsiteY6" fmla="*/ 231552 h 809625"/>
              <a:gd name="connsiteX7" fmla="*/ 230981 w 809625"/>
              <a:gd name="connsiteY7" fmla="*/ 286035 h 809625"/>
              <a:gd name="connsiteX8" fmla="*/ 285464 w 809625"/>
              <a:gd name="connsiteY8" fmla="*/ 231552 h 809625"/>
              <a:gd name="connsiteX9" fmla="*/ 230981 w 809625"/>
              <a:gd name="connsiteY9" fmla="*/ 177069 h 809625"/>
              <a:gd name="connsiteX10" fmla="*/ 517493 w 809625"/>
              <a:gd name="connsiteY10" fmla="*/ 319849 h 809625"/>
              <a:gd name="connsiteX11" fmla="*/ 428625 w 809625"/>
              <a:gd name="connsiteY11" fmla="*/ 368617 h 809625"/>
              <a:gd name="connsiteX12" fmla="*/ 426910 w 809625"/>
              <a:gd name="connsiteY12" fmla="*/ 368617 h 809625"/>
              <a:gd name="connsiteX13" fmla="*/ 426910 w 809625"/>
              <a:gd name="connsiteY13" fmla="*/ 327278 h 809625"/>
              <a:gd name="connsiteX14" fmla="*/ 336899 w 809625"/>
              <a:gd name="connsiteY14" fmla="*/ 327278 h 809625"/>
              <a:gd name="connsiteX15" fmla="*/ 336899 w 809625"/>
              <a:gd name="connsiteY15" fmla="*/ 629602 h 809625"/>
              <a:gd name="connsiteX16" fmla="*/ 430720 w 809625"/>
              <a:gd name="connsiteY16" fmla="*/ 629602 h 809625"/>
              <a:gd name="connsiteX17" fmla="*/ 430720 w 809625"/>
              <a:gd name="connsiteY17" fmla="*/ 480059 h 809625"/>
              <a:gd name="connsiteX18" fmla="*/ 487108 w 809625"/>
              <a:gd name="connsiteY18" fmla="*/ 402430 h 809625"/>
              <a:gd name="connsiteX19" fmla="*/ 535876 w 809625"/>
              <a:gd name="connsiteY19" fmla="*/ 482631 h 809625"/>
              <a:gd name="connsiteX20" fmla="*/ 535876 w 809625"/>
              <a:gd name="connsiteY20" fmla="*/ 629602 h 809625"/>
              <a:gd name="connsiteX21" fmla="*/ 630174 w 809625"/>
              <a:gd name="connsiteY21" fmla="*/ 629602 h 809625"/>
              <a:gd name="connsiteX22" fmla="*/ 630174 w 809625"/>
              <a:gd name="connsiteY22" fmla="*/ 463771 h 809625"/>
              <a:gd name="connsiteX23" fmla="*/ 517493 w 809625"/>
              <a:gd name="connsiteY23" fmla="*/ 319849 h 809625"/>
              <a:gd name="connsiteX24" fmla="*/ 183927 w 809625"/>
              <a:gd name="connsiteY24" fmla="*/ 327278 h 809625"/>
              <a:gd name="connsiteX25" fmla="*/ 183927 w 809625"/>
              <a:gd name="connsiteY25" fmla="*/ 629602 h 809625"/>
              <a:gd name="connsiteX26" fmla="*/ 277939 w 809625"/>
              <a:gd name="connsiteY26" fmla="*/ 629602 h 809625"/>
              <a:gd name="connsiteX27" fmla="*/ 277939 w 809625"/>
              <a:gd name="connsiteY27" fmla="*/ 327278 h 809625"/>
              <a:gd name="connsiteX28" fmla="*/ 183927 w 809625"/>
              <a:gd name="connsiteY28" fmla="*/ 327278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230981" y="177069"/>
                </a:moveTo>
                <a:cubicBezTo>
                  <a:pt x="200891" y="177069"/>
                  <a:pt x="176498" y="201462"/>
                  <a:pt x="176498" y="231552"/>
                </a:cubicBezTo>
                <a:cubicBezTo>
                  <a:pt x="176498" y="261642"/>
                  <a:pt x="200891" y="286035"/>
                  <a:pt x="230981" y="286035"/>
                </a:cubicBezTo>
                <a:cubicBezTo>
                  <a:pt x="261071" y="286035"/>
                  <a:pt x="285464" y="261642"/>
                  <a:pt x="285464" y="231552"/>
                </a:cubicBezTo>
                <a:cubicBezTo>
                  <a:pt x="285464" y="201462"/>
                  <a:pt x="261071" y="177069"/>
                  <a:pt x="230981" y="177069"/>
                </a:cubicBezTo>
                <a:close/>
                <a:moveTo>
                  <a:pt x="517493" y="319849"/>
                </a:moveTo>
                <a:cubicBezTo>
                  <a:pt x="481146" y="318484"/>
                  <a:pt x="446996" y="337225"/>
                  <a:pt x="428625" y="368617"/>
                </a:cubicBezTo>
                <a:lnTo>
                  <a:pt x="426910" y="368617"/>
                </a:lnTo>
                <a:lnTo>
                  <a:pt x="426910" y="327278"/>
                </a:lnTo>
                <a:lnTo>
                  <a:pt x="336899" y="327278"/>
                </a:lnTo>
                <a:lnTo>
                  <a:pt x="336899" y="629602"/>
                </a:lnTo>
                <a:lnTo>
                  <a:pt x="430720" y="629602"/>
                </a:lnTo>
                <a:lnTo>
                  <a:pt x="430720" y="480059"/>
                </a:lnTo>
                <a:cubicBezTo>
                  <a:pt x="430720" y="440530"/>
                  <a:pt x="438912" y="402430"/>
                  <a:pt x="487108" y="402430"/>
                </a:cubicBezTo>
                <a:cubicBezTo>
                  <a:pt x="535305" y="402430"/>
                  <a:pt x="535876" y="447579"/>
                  <a:pt x="535876" y="482631"/>
                </a:cubicBezTo>
                <a:lnTo>
                  <a:pt x="535876" y="629602"/>
                </a:lnTo>
                <a:lnTo>
                  <a:pt x="630174" y="629602"/>
                </a:lnTo>
                <a:lnTo>
                  <a:pt x="630174" y="463771"/>
                </a:lnTo>
                <a:cubicBezTo>
                  <a:pt x="630174" y="382428"/>
                  <a:pt x="612743" y="319849"/>
                  <a:pt x="517493" y="319849"/>
                </a:cubicBezTo>
                <a:close/>
                <a:moveTo>
                  <a:pt x="183927" y="327278"/>
                </a:moveTo>
                <a:lnTo>
                  <a:pt x="183927" y="629602"/>
                </a:lnTo>
                <a:lnTo>
                  <a:pt x="277939" y="629602"/>
                </a:lnTo>
                <a:lnTo>
                  <a:pt x="277939" y="327278"/>
                </a:lnTo>
                <a:lnTo>
                  <a:pt x="183927" y="32727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F1F78FC3-536A-4C34-B2A3-95085DF38A8D}"/>
              </a:ext>
            </a:extLst>
          </p:cNvPr>
          <p:cNvSpPr>
            <a:spLocks noChangeAspect="1"/>
          </p:cNvSpPr>
          <p:nvPr/>
        </p:nvSpPr>
        <p:spPr>
          <a:xfrm>
            <a:off x="9063685" y="4591756"/>
            <a:ext cx="242382" cy="242382"/>
          </a:xfrm>
          <a:custGeom>
            <a:avLst/>
            <a:gdLst>
              <a:gd name="connsiteX0" fmla="*/ 404812 w 809625"/>
              <a:gd name="connsiteY0" fmla="*/ 288417 h 809625"/>
              <a:gd name="connsiteX1" fmla="*/ 288417 w 809625"/>
              <a:gd name="connsiteY1" fmla="*/ 404812 h 809625"/>
              <a:gd name="connsiteX2" fmla="*/ 404812 w 809625"/>
              <a:gd name="connsiteY2" fmla="*/ 521208 h 809625"/>
              <a:gd name="connsiteX3" fmla="*/ 521208 w 809625"/>
              <a:gd name="connsiteY3" fmla="*/ 404812 h 809625"/>
              <a:gd name="connsiteX4" fmla="*/ 404812 w 809625"/>
              <a:gd name="connsiteY4" fmla="*/ 288417 h 809625"/>
              <a:gd name="connsiteX5" fmla="*/ 525780 w 809625"/>
              <a:gd name="connsiteY5" fmla="*/ 256603 h 809625"/>
              <a:gd name="connsiteX6" fmla="*/ 498538 w 809625"/>
              <a:gd name="connsiteY6" fmla="*/ 283844 h 809625"/>
              <a:gd name="connsiteX7" fmla="*/ 525780 w 809625"/>
              <a:gd name="connsiteY7" fmla="*/ 311086 h 809625"/>
              <a:gd name="connsiteX8" fmla="*/ 553021 w 809625"/>
              <a:gd name="connsiteY8" fmla="*/ 283844 h 809625"/>
              <a:gd name="connsiteX9" fmla="*/ 525780 w 809625"/>
              <a:gd name="connsiteY9" fmla="*/ 256603 h 809625"/>
              <a:gd name="connsiteX10" fmla="*/ 404812 w 809625"/>
              <a:gd name="connsiteY10" fmla="*/ 219075 h 809625"/>
              <a:gd name="connsiteX11" fmla="*/ 496443 w 809625"/>
              <a:gd name="connsiteY11" fmla="*/ 220408 h 809625"/>
              <a:gd name="connsiteX12" fmla="*/ 538543 w 809625"/>
              <a:gd name="connsiteY12" fmla="*/ 228218 h 809625"/>
              <a:gd name="connsiteX13" fmla="*/ 581501 w 809625"/>
              <a:gd name="connsiteY13" fmla="*/ 271176 h 809625"/>
              <a:gd name="connsiteX14" fmla="*/ 589311 w 809625"/>
              <a:gd name="connsiteY14" fmla="*/ 313277 h 809625"/>
              <a:gd name="connsiteX15" fmla="*/ 590645 w 809625"/>
              <a:gd name="connsiteY15" fmla="*/ 404907 h 809625"/>
              <a:gd name="connsiteX16" fmla="*/ 589311 w 809625"/>
              <a:gd name="connsiteY16" fmla="*/ 496538 h 809625"/>
              <a:gd name="connsiteX17" fmla="*/ 581501 w 809625"/>
              <a:gd name="connsiteY17" fmla="*/ 538638 h 809625"/>
              <a:gd name="connsiteX18" fmla="*/ 538543 w 809625"/>
              <a:gd name="connsiteY18" fmla="*/ 581596 h 809625"/>
              <a:gd name="connsiteX19" fmla="*/ 496443 w 809625"/>
              <a:gd name="connsiteY19" fmla="*/ 589406 h 809625"/>
              <a:gd name="connsiteX20" fmla="*/ 404812 w 809625"/>
              <a:gd name="connsiteY20" fmla="*/ 590740 h 809625"/>
              <a:gd name="connsiteX21" fmla="*/ 313182 w 809625"/>
              <a:gd name="connsiteY21" fmla="*/ 589407 h 809625"/>
              <a:gd name="connsiteX22" fmla="*/ 271081 w 809625"/>
              <a:gd name="connsiteY22" fmla="*/ 581596 h 809625"/>
              <a:gd name="connsiteX23" fmla="*/ 228600 w 809625"/>
              <a:gd name="connsiteY23" fmla="*/ 538543 h 809625"/>
              <a:gd name="connsiteX24" fmla="*/ 220789 w 809625"/>
              <a:gd name="connsiteY24" fmla="*/ 496443 h 809625"/>
              <a:gd name="connsiteX25" fmla="*/ 219075 w 809625"/>
              <a:gd name="connsiteY25" fmla="*/ 404812 h 809625"/>
              <a:gd name="connsiteX26" fmla="*/ 220408 w 809625"/>
              <a:gd name="connsiteY26" fmla="*/ 313182 h 809625"/>
              <a:gd name="connsiteX27" fmla="*/ 228600 w 809625"/>
              <a:gd name="connsiteY27" fmla="*/ 271081 h 809625"/>
              <a:gd name="connsiteX28" fmla="*/ 271081 w 809625"/>
              <a:gd name="connsiteY28" fmla="*/ 228600 h 809625"/>
              <a:gd name="connsiteX29" fmla="*/ 313181 w 809625"/>
              <a:gd name="connsiteY29" fmla="*/ 220789 h 809625"/>
              <a:gd name="connsiteX30" fmla="*/ 404812 w 809625"/>
              <a:gd name="connsiteY30" fmla="*/ 219075 h 809625"/>
              <a:gd name="connsiteX31" fmla="*/ 405669 w 809625"/>
              <a:gd name="connsiteY31" fmla="*/ 177736 h 809625"/>
              <a:gd name="connsiteX32" fmla="*/ 404812 w 809625"/>
              <a:gd name="connsiteY32" fmla="*/ 178212 h 809625"/>
              <a:gd name="connsiteX33" fmla="*/ 311372 w 809625"/>
              <a:gd name="connsiteY33" fmla="*/ 179546 h 809625"/>
              <a:gd name="connsiteX34" fmla="*/ 256317 w 809625"/>
              <a:gd name="connsiteY34" fmla="*/ 190500 h 809625"/>
              <a:gd name="connsiteX35" fmla="*/ 189642 w 809625"/>
              <a:gd name="connsiteY35" fmla="*/ 257175 h 809625"/>
              <a:gd name="connsiteX36" fmla="*/ 179069 w 809625"/>
              <a:gd name="connsiteY36" fmla="*/ 312229 h 809625"/>
              <a:gd name="connsiteX37" fmla="*/ 177736 w 809625"/>
              <a:gd name="connsiteY37" fmla="*/ 405669 h 809625"/>
              <a:gd name="connsiteX38" fmla="*/ 179069 w 809625"/>
              <a:gd name="connsiteY38" fmla="*/ 499110 h 809625"/>
              <a:gd name="connsiteX39" fmla="*/ 190500 w 809625"/>
              <a:gd name="connsiteY39" fmla="*/ 553307 h 809625"/>
              <a:gd name="connsiteX40" fmla="*/ 257175 w 809625"/>
              <a:gd name="connsiteY40" fmla="*/ 619982 h 809625"/>
              <a:gd name="connsiteX41" fmla="*/ 312229 w 809625"/>
              <a:gd name="connsiteY41" fmla="*/ 630554 h 809625"/>
              <a:gd name="connsiteX42" fmla="*/ 405669 w 809625"/>
              <a:gd name="connsiteY42" fmla="*/ 631888 h 809625"/>
              <a:gd name="connsiteX43" fmla="*/ 499110 w 809625"/>
              <a:gd name="connsiteY43" fmla="*/ 630554 h 809625"/>
              <a:gd name="connsiteX44" fmla="*/ 554164 w 809625"/>
              <a:gd name="connsiteY44" fmla="*/ 619982 h 809625"/>
              <a:gd name="connsiteX45" fmla="*/ 620839 w 809625"/>
              <a:gd name="connsiteY45" fmla="*/ 553307 h 809625"/>
              <a:gd name="connsiteX46" fmla="*/ 631412 w 809625"/>
              <a:gd name="connsiteY46" fmla="*/ 498252 h 809625"/>
              <a:gd name="connsiteX47" fmla="*/ 632745 w 809625"/>
              <a:gd name="connsiteY47" fmla="*/ 404812 h 809625"/>
              <a:gd name="connsiteX48" fmla="*/ 631412 w 809625"/>
              <a:gd name="connsiteY48" fmla="*/ 311372 h 809625"/>
              <a:gd name="connsiteX49" fmla="*/ 620839 w 809625"/>
              <a:gd name="connsiteY49" fmla="*/ 256317 h 809625"/>
              <a:gd name="connsiteX50" fmla="*/ 554164 w 809625"/>
              <a:gd name="connsiteY50" fmla="*/ 189642 h 809625"/>
              <a:gd name="connsiteX51" fmla="*/ 499110 w 809625"/>
              <a:gd name="connsiteY51" fmla="*/ 179069 h 809625"/>
              <a:gd name="connsiteX52" fmla="*/ 405669 w 809625"/>
              <a:gd name="connsiteY52" fmla="*/ 177736 h 809625"/>
              <a:gd name="connsiteX53" fmla="*/ 404813 w 809625"/>
              <a:gd name="connsiteY53" fmla="*/ 0 h 809625"/>
              <a:gd name="connsiteX54" fmla="*/ 809625 w 809625"/>
              <a:gd name="connsiteY54" fmla="*/ 404813 h 809625"/>
              <a:gd name="connsiteX55" fmla="*/ 404813 w 809625"/>
              <a:gd name="connsiteY55" fmla="*/ 809625 h 809625"/>
              <a:gd name="connsiteX56" fmla="*/ 0 w 809625"/>
              <a:gd name="connsiteY56" fmla="*/ 404813 h 809625"/>
              <a:gd name="connsiteX57" fmla="*/ 404813 w 809625"/>
              <a:gd name="connsiteY57" fmla="*/ 0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809625" h="809625">
                <a:moveTo>
                  <a:pt x="404812" y="288417"/>
                </a:moveTo>
                <a:cubicBezTo>
                  <a:pt x="340529" y="288417"/>
                  <a:pt x="288417" y="340529"/>
                  <a:pt x="288417" y="404812"/>
                </a:cubicBezTo>
                <a:cubicBezTo>
                  <a:pt x="288417" y="469096"/>
                  <a:pt x="340529" y="521208"/>
                  <a:pt x="404812" y="521208"/>
                </a:cubicBezTo>
                <a:cubicBezTo>
                  <a:pt x="469096" y="521208"/>
                  <a:pt x="521208" y="469096"/>
                  <a:pt x="521208" y="404812"/>
                </a:cubicBezTo>
                <a:cubicBezTo>
                  <a:pt x="521208" y="340529"/>
                  <a:pt x="469096" y="288417"/>
                  <a:pt x="404812" y="288417"/>
                </a:cubicBezTo>
                <a:close/>
                <a:moveTo>
                  <a:pt x="525780" y="256603"/>
                </a:moveTo>
                <a:cubicBezTo>
                  <a:pt x="510734" y="256603"/>
                  <a:pt x="498538" y="268799"/>
                  <a:pt x="498538" y="283844"/>
                </a:cubicBezTo>
                <a:cubicBezTo>
                  <a:pt x="498538" y="298890"/>
                  <a:pt x="510734" y="311086"/>
                  <a:pt x="525780" y="311086"/>
                </a:cubicBezTo>
                <a:cubicBezTo>
                  <a:pt x="540825" y="311086"/>
                  <a:pt x="553021" y="298890"/>
                  <a:pt x="553021" y="283844"/>
                </a:cubicBezTo>
                <a:cubicBezTo>
                  <a:pt x="553021" y="268799"/>
                  <a:pt x="540825" y="256603"/>
                  <a:pt x="525780" y="256603"/>
                </a:cubicBezTo>
                <a:close/>
                <a:moveTo>
                  <a:pt x="404812" y="219075"/>
                </a:moveTo>
                <a:cubicBezTo>
                  <a:pt x="465296" y="219075"/>
                  <a:pt x="472535" y="219075"/>
                  <a:pt x="496443" y="220408"/>
                </a:cubicBezTo>
                <a:cubicBezTo>
                  <a:pt x="510824" y="220533"/>
                  <a:pt x="525073" y="223177"/>
                  <a:pt x="538543" y="228218"/>
                </a:cubicBezTo>
                <a:cubicBezTo>
                  <a:pt x="558257" y="235874"/>
                  <a:pt x="573845" y="251463"/>
                  <a:pt x="581501" y="271176"/>
                </a:cubicBezTo>
                <a:cubicBezTo>
                  <a:pt x="586542" y="284646"/>
                  <a:pt x="589186" y="298895"/>
                  <a:pt x="589311" y="313277"/>
                </a:cubicBezTo>
                <a:cubicBezTo>
                  <a:pt x="590454" y="337185"/>
                  <a:pt x="590645" y="344424"/>
                  <a:pt x="590645" y="404907"/>
                </a:cubicBezTo>
                <a:cubicBezTo>
                  <a:pt x="590645" y="465391"/>
                  <a:pt x="590645" y="472630"/>
                  <a:pt x="589311" y="496538"/>
                </a:cubicBezTo>
                <a:cubicBezTo>
                  <a:pt x="589186" y="510920"/>
                  <a:pt x="586543" y="525168"/>
                  <a:pt x="581501" y="538638"/>
                </a:cubicBezTo>
                <a:cubicBezTo>
                  <a:pt x="573845" y="558352"/>
                  <a:pt x="558257" y="573940"/>
                  <a:pt x="538543" y="581596"/>
                </a:cubicBezTo>
                <a:cubicBezTo>
                  <a:pt x="525073" y="586638"/>
                  <a:pt x="510824" y="589281"/>
                  <a:pt x="496443" y="589406"/>
                </a:cubicBezTo>
                <a:cubicBezTo>
                  <a:pt x="472535" y="590550"/>
                  <a:pt x="465391" y="590740"/>
                  <a:pt x="404812" y="590740"/>
                </a:cubicBezTo>
                <a:cubicBezTo>
                  <a:pt x="344233" y="590740"/>
                  <a:pt x="337089" y="590740"/>
                  <a:pt x="313182" y="589407"/>
                </a:cubicBezTo>
                <a:cubicBezTo>
                  <a:pt x="298800" y="589281"/>
                  <a:pt x="284551" y="586638"/>
                  <a:pt x="271081" y="581596"/>
                </a:cubicBezTo>
                <a:cubicBezTo>
                  <a:pt x="251529" y="573808"/>
                  <a:pt x="236125" y="558197"/>
                  <a:pt x="228600" y="538543"/>
                </a:cubicBezTo>
                <a:cubicBezTo>
                  <a:pt x="223558" y="525073"/>
                  <a:pt x="220914" y="510824"/>
                  <a:pt x="220789" y="496443"/>
                </a:cubicBezTo>
                <a:cubicBezTo>
                  <a:pt x="219075" y="472535"/>
                  <a:pt x="219075" y="465296"/>
                  <a:pt x="219075" y="404812"/>
                </a:cubicBezTo>
                <a:cubicBezTo>
                  <a:pt x="219075" y="344328"/>
                  <a:pt x="219075" y="337089"/>
                  <a:pt x="220408" y="313182"/>
                </a:cubicBezTo>
                <a:cubicBezTo>
                  <a:pt x="220655" y="298777"/>
                  <a:pt x="223428" y="284527"/>
                  <a:pt x="228600" y="271081"/>
                </a:cubicBezTo>
                <a:cubicBezTo>
                  <a:pt x="236258" y="251643"/>
                  <a:pt x="251643" y="236258"/>
                  <a:pt x="271081" y="228600"/>
                </a:cubicBezTo>
                <a:cubicBezTo>
                  <a:pt x="284551" y="223558"/>
                  <a:pt x="298800" y="220914"/>
                  <a:pt x="313181" y="220789"/>
                </a:cubicBezTo>
                <a:cubicBezTo>
                  <a:pt x="337089" y="219075"/>
                  <a:pt x="344328" y="219075"/>
                  <a:pt x="404812" y="219075"/>
                </a:cubicBezTo>
                <a:close/>
                <a:moveTo>
                  <a:pt x="405669" y="177736"/>
                </a:moveTo>
                <a:lnTo>
                  <a:pt x="404812" y="178212"/>
                </a:lnTo>
                <a:cubicBezTo>
                  <a:pt x="343281" y="178212"/>
                  <a:pt x="335565" y="178212"/>
                  <a:pt x="311372" y="179546"/>
                </a:cubicBezTo>
                <a:cubicBezTo>
                  <a:pt x="292533" y="180057"/>
                  <a:pt x="273917" y="183760"/>
                  <a:pt x="256317" y="190500"/>
                </a:cubicBezTo>
                <a:cubicBezTo>
                  <a:pt x="225602" y="202200"/>
                  <a:pt x="201343" y="226459"/>
                  <a:pt x="189642" y="257175"/>
                </a:cubicBezTo>
                <a:cubicBezTo>
                  <a:pt x="183033" y="274797"/>
                  <a:pt x="179458" y="293412"/>
                  <a:pt x="179069" y="312229"/>
                </a:cubicBezTo>
                <a:cubicBezTo>
                  <a:pt x="178022" y="336423"/>
                  <a:pt x="177736" y="344138"/>
                  <a:pt x="177736" y="405669"/>
                </a:cubicBezTo>
                <a:cubicBezTo>
                  <a:pt x="177736" y="467201"/>
                  <a:pt x="177736" y="474916"/>
                  <a:pt x="179069" y="499110"/>
                </a:cubicBezTo>
                <a:cubicBezTo>
                  <a:pt x="179828" y="517687"/>
                  <a:pt x="183692" y="536005"/>
                  <a:pt x="190500" y="553307"/>
                </a:cubicBezTo>
                <a:cubicBezTo>
                  <a:pt x="202200" y="584022"/>
                  <a:pt x="226459" y="608281"/>
                  <a:pt x="257175" y="619982"/>
                </a:cubicBezTo>
                <a:cubicBezTo>
                  <a:pt x="274797" y="626591"/>
                  <a:pt x="293412" y="630165"/>
                  <a:pt x="312229" y="630554"/>
                </a:cubicBezTo>
                <a:cubicBezTo>
                  <a:pt x="336423" y="631602"/>
                  <a:pt x="344138" y="631888"/>
                  <a:pt x="405669" y="631888"/>
                </a:cubicBezTo>
                <a:cubicBezTo>
                  <a:pt x="467201" y="631888"/>
                  <a:pt x="474916" y="631888"/>
                  <a:pt x="499110" y="630554"/>
                </a:cubicBezTo>
                <a:cubicBezTo>
                  <a:pt x="517927" y="630165"/>
                  <a:pt x="536542" y="626591"/>
                  <a:pt x="554164" y="619982"/>
                </a:cubicBezTo>
                <a:cubicBezTo>
                  <a:pt x="584880" y="608281"/>
                  <a:pt x="609138" y="584022"/>
                  <a:pt x="620839" y="553307"/>
                </a:cubicBezTo>
                <a:cubicBezTo>
                  <a:pt x="627448" y="535684"/>
                  <a:pt x="631023" y="517069"/>
                  <a:pt x="631412" y="498252"/>
                </a:cubicBezTo>
                <a:cubicBezTo>
                  <a:pt x="632460" y="474059"/>
                  <a:pt x="632745" y="466344"/>
                  <a:pt x="632745" y="404812"/>
                </a:cubicBezTo>
                <a:cubicBezTo>
                  <a:pt x="632745" y="343281"/>
                  <a:pt x="632745" y="335565"/>
                  <a:pt x="631412" y="311372"/>
                </a:cubicBezTo>
                <a:cubicBezTo>
                  <a:pt x="631023" y="292555"/>
                  <a:pt x="627448" y="273940"/>
                  <a:pt x="620839" y="256317"/>
                </a:cubicBezTo>
                <a:cubicBezTo>
                  <a:pt x="609138" y="225602"/>
                  <a:pt x="584880" y="201343"/>
                  <a:pt x="554164" y="189642"/>
                </a:cubicBezTo>
                <a:cubicBezTo>
                  <a:pt x="536542" y="183033"/>
                  <a:pt x="517927" y="179458"/>
                  <a:pt x="499110" y="179069"/>
                </a:cubicBezTo>
                <a:cubicBezTo>
                  <a:pt x="474916" y="178022"/>
                  <a:pt x="467201" y="177736"/>
                  <a:pt x="405669" y="177736"/>
                </a:cubicBezTo>
                <a:close/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37645F6A-EDD9-42D2-A01C-F8414798D57C}"/>
              </a:ext>
            </a:extLst>
          </p:cNvPr>
          <p:cNvSpPr>
            <a:spLocks noChangeAspect="1"/>
          </p:cNvSpPr>
          <p:nvPr/>
        </p:nvSpPr>
        <p:spPr>
          <a:xfrm>
            <a:off x="9446029" y="4591756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207835 w 809625"/>
              <a:gd name="connsiteY5" fmla="*/ 183451 h 809625"/>
              <a:gd name="connsiteX6" fmla="*/ 183451 w 809625"/>
              <a:gd name="connsiteY6" fmla="*/ 207835 h 809625"/>
              <a:gd name="connsiteX7" fmla="*/ 183451 w 809625"/>
              <a:gd name="connsiteY7" fmla="*/ 601789 h 809625"/>
              <a:gd name="connsiteX8" fmla="*/ 207835 w 809625"/>
              <a:gd name="connsiteY8" fmla="*/ 626173 h 809625"/>
              <a:gd name="connsiteX9" fmla="*/ 419957 w 809625"/>
              <a:gd name="connsiteY9" fmla="*/ 626173 h 809625"/>
              <a:gd name="connsiteX10" fmla="*/ 419957 w 809625"/>
              <a:gd name="connsiteY10" fmla="*/ 454723 h 809625"/>
              <a:gd name="connsiteX11" fmla="*/ 361950 w 809625"/>
              <a:gd name="connsiteY11" fmla="*/ 454723 h 809625"/>
              <a:gd name="connsiteX12" fmla="*/ 361950 w 809625"/>
              <a:gd name="connsiteY12" fmla="*/ 388048 h 809625"/>
              <a:gd name="connsiteX13" fmla="*/ 419671 w 809625"/>
              <a:gd name="connsiteY13" fmla="*/ 388048 h 809625"/>
              <a:gd name="connsiteX14" fmla="*/ 419671 w 809625"/>
              <a:gd name="connsiteY14" fmla="*/ 338613 h 809625"/>
              <a:gd name="connsiteX15" fmla="*/ 505396 w 809625"/>
              <a:gd name="connsiteY15" fmla="*/ 250317 h 809625"/>
              <a:gd name="connsiteX16" fmla="*/ 556926 w 809625"/>
              <a:gd name="connsiteY16" fmla="*/ 252984 h 809625"/>
              <a:gd name="connsiteX17" fmla="*/ 556926 w 809625"/>
              <a:gd name="connsiteY17" fmla="*/ 312705 h 809625"/>
              <a:gd name="connsiteX18" fmla="*/ 522065 w 809625"/>
              <a:gd name="connsiteY18" fmla="*/ 312705 h 809625"/>
              <a:gd name="connsiteX19" fmla="*/ 488918 w 809625"/>
              <a:gd name="connsiteY19" fmla="*/ 345281 h 809625"/>
              <a:gd name="connsiteX20" fmla="*/ 488918 w 809625"/>
              <a:gd name="connsiteY20" fmla="*/ 387953 h 809625"/>
              <a:gd name="connsiteX21" fmla="*/ 555593 w 809625"/>
              <a:gd name="connsiteY21" fmla="*/ 387953 h 809625"/>
              <a:gd name="connsiteX22" fmla="*/ 546925 w 809625"/>
              <a:gd name="connsiteY22" fmla="*/ 454628 h 809625"/>
              <a:gd name="connsiteX23" fmla="*/ 489775 w 809625"/>
              <a:gd name="connsiteY23" fmla="*/ 454628 h 809625"/>
              <a:gd name="connsiteX24" fmla="*/ 489775 w 809625"/>
              <a:gd name="connsiteY24" fmla="*/ 626078 h 809625"/>
              <a:gd name="connsiteX25" fmla="*/ 601789 w 809625"/>
              <a:gd name="connsiteY25" fmla="*/ 626078 h 809625"/>
              <a:gd name="connsiteX26" fmla="*/ 626173 w 809625"/>
              <a:gd name="connsiteY26" fmla="*/ 601694 h 809625"/>
              <a:gd name="connsiteX27" fmla="*/ 626173 w 809625"/>
              <a:gd name="connsiteY27" fmla="*/ 207835 h 809625"/>
              <a:gd name="connsiteX28" fmla="*/ 601789 w 809625"/>
              <a:gd name="connsiteY28" fmla="*/ 183451 h 809625"/>
              <a:gd name="connsiteX29" fmla="*/ 207835 w 809625"/>
              <a:gd name="connsiteY29" fmla="*/ 183451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207835" y="183451"/>
                </a:moveTo>
                <a:cubicBezTo>
                  <a:pt x="194368" y="183451"/>
                  <a:pt x="183451" y="194368"/>
                  <a:pt x="183451" y="207835"/>
                </a:cubicBezTo>
                <a:lnTo>
                  <a:pt x="183451" y="601789"/>
                </a:lnTo>
                <a:cubicBezTo>
                  <a:pt x="183451" y="615256"/>
                  <a:pt x="194368" y="626173"/>
                  <a:pt x="207835" y="626173"/>
                </a:cubicBezTo>
                <a:lnTo>
                  <a:pt x="419957" y="626173"/>
                </a:lnTo>
                <a:lnTo>
                  <a:pt x="419957" y="454723"/>
                </a:lnTo>
                <a:lnTo>
                  <a:pt x="361950" y="454723"/>
                </a:lnTo>
                <a:lnTo>
                  <a:pt x="361950" y="388048"/>
                </a:lnTo>
                <a:lnTo>
                  <a:pt x="419671" y="388048"/>
                </a:lnTo>
                <a:lnTo>
                  <a:pt x="419671" y="338613"/>
                </a:lnTo>
                <a:cubicBezTo>
                  <a:pt x="419671" y="281463"/>
                  <a:pt x="454533" y="250317"/>
                  <a:pt x="505396" y="250317"/>
                </a:cubicBezTo>
                <a:cubicBezTo>
                  <a:pt x="522609" y="250238"/>
                  <a:pt x="539813" y="251128"/>
                  <a:pt x="556926" y="252984"/>
                </a:cubicBezTo>
                <a:lnTo>
                  <a:pt x="556926" y="312705"/>
                </a:lnTo>
                <a:lnTo>
                  <a:pt x="522065" y="312705"/>
                </a:lnTo>
                <a:cubicBezTo>
                  <a:pt x="494252" y="312705"/>
                  <a:pt x="488918" y="325945"/>
                  <a:pt x="488918" y="345281"/>
                </a:cubicBezTo>
                <a:lnTo>
                  <a:pt x="488918" y="387953"/>
                </a:lnTo>
                <a:lnTo>
                  <a:pt x="555593" y="387953"/>
                </a:lnTo>
                <a:lnTo>
                  <a:pt x="546925" y="454628"/>
                </a:lnTo>
                <a:lnTo>
                  <a:pt x="489775" y="454628"/>
                </a:lnTo>
                <a:lnTo>
                  <a:pt x="489775" y="626078"/>
                </a:lnTo>
                <a:lnTo>
                  <a:pt x="601789" y="626078"/>
                </a:lnTo>
                <a:cubicBezTo>
                  <a:pt x="615256" y="626078"/>
                  <a:pt x="626173" y="615161"/>
                  <a:pt x="626173" y="601694"/>
                </a:cubicBezTo>
                <a:lnTo>
                  <a:pt x="626173" y="207835"/>
                </a:lnTo>
                <a:cubicBezTo>
                  <a:pt x="626173" y="194368"/>
                  <a:pt x="615256" y="183451"/>
                  <a:pt x="601789" y="183451"/>
                </a:cubicBezTo>
                <a:lnTo>
                  <a:pt x="207835" y="183451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49106F87-54D7-E8EE-C6CA-26ECF7B74B2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4484" y="2549185"/>
            <a:ext cx="1976093" cy="879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911884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76849F14-4971-4208-82A8-1F0513897926}"/>
              </a:ext>
            </a:extLst>
          </p:cNvPr>
          <p:cNvSpPr/>
          <p:nvPr userDrawn="1"/>
        </p:nvSpPr>
        <p:spPr>
          <a:xfrm>
            <a:off x="719400" y="-2"/>
            <a:ext cx="107532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096AA35B-6D3E-4809-9D78-9CF31081E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9400" y="-2"/>
            <a:ext cx="4680000" cy="4068000"/>
          </a:xfrm>
          <a:solidFill>
            <a:schemeClr val="tx2"/>
          </a:solidFill>
        </p:spPr>
        <p:txBody>
          <a:bodyPr lIns="342000" tIns="342000" rIns="0" bIns="504000" anchor="b" anchorCtr="0"/>
          <a:lstStyle>
            <a:lvl1pPr>
              <a:defRPr sz="4500">
                <a:solidFill>
                  <a:schemeClr val="accent1"/>
                </a:solidFill>
              </a:defRPr>
            </a:lvl1pPr>
          </a:lstStyle>
          <a:p>
            <a:r>
              <a:rPr lang="en-US"/>
              <a:t>Thank you</a:t>
            </a:r>
            <a:endParaRPr lang="en-AU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FD95F930-CD55-469B-9FD0-1150DA73B39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-2"/>
            <a:ext cx="12192000" cy="6876000"/>
          </a:xfrm>
          <a:custGeom>
            <a:avLst/>
            <a:gdLst>
              <a:gd name="connsiteX0" fmla="*/ 114726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472600 w 12192000"/>
              <a:gd name="connsiteY3" fmla="*/ 6858000 h 6858000"/>
              <a:gd name="connsiteX4" fmla="*/ 0 w 12192000"/>
              <a:gd name="connsiteY4" fmla="*/ 0 h 6858000"/>
              <a:gd name="connsiteX5" fmla="*/ 719400 w 12192000"/>
              <a:gd name="connsiteY5" fmla="*/ 0 h 6858000"/>
              <a:gd name="connsiteX6" fmla="*/ 7194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14726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472600" y="6858000"/>
                </a:lnTo>
                <a:close/>
                <a:moveTo>
                  <a:pt x="0" y="0"/>
                </a:moveTo>
                <a:lnTo>
                  <a:pt x="719400" y="0"/>
                </a:lnTo>
                <a:lnTo>
                  <a:pt x="7194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08000" tIns="108000" rIns="115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4417D20-4CB7-471C-A5C4-50706D404792}"/>
              </a:ext>
            </a:extLst>
          </p:cNvPr>
          <p:cNvSpPr txBox="1"/>
          <p:nvPr userDrawn="1"/>
        </p:nvSpPr>
        <p:spPr>
          <a:xfrm>
            <a:off x="7877158" y="3841087"/>
            <a:ext cx="3321238" cy="25564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 cap="none" baseline="0">
                <a:solidFill>
                  <a:schemeClr val="bg1"/>
                </a:solidFill>
              </a:defRPr>
            </a:lvl1pPr>
            <a:lvl2pPr marL="0" lvl="1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b="1" cap="all" baseline="0">
                <a:solidFill>
                  <a:schemeClr val="bg1"/>
                </a:solidFill>
              </a:defRPr>
            </a:lvl2pPr>
            <a:lvl3pPr marL="0" lvl="2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3pPr>
            <a:lvl4pPr marL="0" lvl="3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4pPr>
            <a:lvl5pPr marL="0" lvl="4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5pPr>
            <a:lvl6pPr marL="0" lvl="5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6pPr>
            <a:lvl7pPr marL="0" lvl="6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7pPr>
            <a:lvl8pPr marL="0" lvl="7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8pPr>
            <a:lvl9pPr marL="0" lvl="8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9pPr>
          </a:lstStyle>
          <a:p>
            <a:pPr lvl="0">
              <a:spcBef>
                <a:spcPts val="400"/>
              </a:spcBef>
            </a:pPr>
            <a:r>
              <a:rPr lang="en-US" altLang="en-US" sz="1600" b="0">
                <a:solidFill>
                  <a:schemeClr val="bg2"/>
                </a:solidFill>
                <a:latin typeface="+mj-lt"/>
              </a:rPr>
              <a:t>Forest Stewardship Council®</a:t>
            </a:r>
          </a:p>
          <a:p>
            <a:pPr lvl="0">
              <a:spcBef>
                <a:spcPts val="400"/>
              </a:spcBef>
              <a:spcAft>
                <a:spcPts val="1200"/>
              </a:spcAft>
            </a:pPr>
            <a:r>
              <a:rPr lang="en-US" altLang="en-US" sz="1500" b="1">
                <a:solidFill>
                  <a:schemeClr val="bg2"/>
                </a:solidFill>
              </a:rPr>
              <a:t>FSC® Asociación Civil </a:t>
            </a:r>
          </a:p>
          <a:p>
            <a:pPr lvl="0"/>
            <a:endParaRPr lang="en-US" altLang="en-US" sz="1600" b="0"/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Calle Margarita </a:t>
            </a:r>
            <a:r>
              <a:rPr lang="en-US" altLang="en-US" sz="1200" b="0" err="1">
                <a:solidFill>
                  <a:schemeClr val="bg2"/>
                </a:solidFill>
              </a:rPr>
              <a:t>Maza</a:t>
            </a:r>
            <a:r>
              <a:rPr lang="en-US" altLang="en-US" sz="1200" b="0">
                <a:solidFill>
                  <a:schemeClr val="bg2"/>
                </a:solidFill>
              </a:rPr>
              <a:t> de Juárez 422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Colonia Centro,  Oaxaca, México, CP. 68000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Phone: +52 951 502 6533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Fax: +52 951 502 6594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FSC Asociación Civil © All rights reserved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 err="1">
                <a:solidFill>
                  <a:schemeClr val="bg2"/>
                </a:solidFill>
              </a:rPr>
              <a:t>FSC</a:t>
            </a:r>
            <a:r>
              <a:rPr lang="en-US" altLang="en-US" sz="1200" b="0">
                <a:solidFill>
                  <a:schemeClr val="bg2"/>
                </a:solidFill>
              </a:rPr>
              <a:t>® </a:t>
            </a:r>
            <a:r>
              <a:rPr lang="en-US" altLang="en-US" sz="1200" b="0" err="1">
                <a:solidFill>
                  <a:schemeClr val="bg2"/>
                </a:solidFill>
              </a:rPr>
              <a:t>F000100</a:t>
            </a:r>
            <a:r>
              <a:rPr lang="en-US" altLang="en-US" sz="1200" b="0">
                <a:solidFill>
                  <a:schemeClr val="bg2"/>
                </a:solidFill>
              </a:rPr>
              <a:t> </a:t>
            </a:r>
          </a:p>
          <a:p>
            <a:pPr lvl="0"/>
            <a:r>
              <a:rPr lang="en-US" altLang="en-US" sz="1400" b="0" err="1">
                <a:solidFill>
                  <a:schemeClr val="bg2"/>
                </a:solidFill>
                <a:latin typeface="+mj-lt"/>
              </a:rPr>
              <a:t>www.fsc.org</a:t>
            </a:r>
            <a:endParaRPr lang="en-US" altLang="en-US" sz="1400" b="0">
              <a:solidFill>
                <a:schemeClr val="bg2"/>
              </a:solidFill>
              <a:latin typeface="+mj-lt"/>
            </a:endParaRPr>
          </a:p>
          <a:p>
            <a:pPr lvl="0"/>
            <a:endParaRPr lang="en-US" altLang="en-US" sz="1600" b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F8BC909C-567D-4F9C-A0DF-D05DE8F82075}"/>
              </a:ext>
            </a:extLst>
          </p:cNvPr>
          <p:cNvSpPr>
            <a:spLocks noChangeAspect="1"/>
          </p:cNvSpPr>
          <p:nvPr/>
        </p:nvSpPr>
        <p:spPr>
          <a:xfrm>
            <a:off x="7916652" y="4501548"/>
            <a:ext cx="242382" cy="242382"/>
          </a:xfrm>
          <a:custGeom>
            <a:avLst/>
            <a:gdLst>
              <a:gd name="connsiteX0" fmla="*/ 357950 w 809625"/>
              <a:gd name="connsiteY0" fmla="*/ 333375 h 809625"/>
              <a:gd name="connsiteX1" fmla="*/ 480537 w 809625"/>
              <a:gd name="connsiteY1" fmla="*/ 397002 h 809625"/>
              <a:gd name="connsiteX2" fmla="*/ 357950 w 809625"/>
              <a:gd name="connsiteY2" fmla="*/ 460439 h 809625"/>
              <a:gd name="connsiteX3" fmla="*/ 242887 w 809625"/>
              <a:gd name="connsiteY3" fmla="*/ 249555 h 809625"/>
              <a:gd name="connsiteX4" fmla="*/ 178117 w 809625"/>
              <a:gd name="connsiteY4" fmla="*/ 314325 h 809625"/>
              <a:gd name="connsiteX5" fmla="*/ 178117 w 809625"/>
              <a:gd name="connsiteY5" fmla="*/ 495300 h 809625"/>
              <a:gd name="connsiteX6" fmla="*/ 242887 w 809625"/>
              <a:gd name="connsiteY6" fmla="*/ 560070 h 809625"/>
              <a:gd name="connsiteX7" fmla="*/ 566737 w 809625"/>
              <a:gd name="connsiteY7" fmla="*/ 560070 h 809625"/>
              <a:gd name="connsiteX8" fmla="*/ 631507 w 809625"/>
              <a:gd name="connsiteY8" fmla="*/ 495300 h 809625"/>
              <a:gd name="connsiteX9" fmla="*/ 631507 w 809625"/>
              <a:gd name="connsiteY9" fmla="*/ 314325 h 809625"/>
              <a:gd name="connsiteX10" fmla="*/ 566737 w 809625"/>
              <a:gd name="connsiteY10" fmla="*/ 249555 h 809625"/>
              <a:gd name="connsiteX11" fmla="*/ 404813 w 809625"/>
              <a:gd name="connsiteY11" fmla="*/ 0 h 809625"/>
              <a:gd name="connsiteX12" fmla="*/ 809625 w 809625"/>
              <a:gd name="connsiteY12" fmla="*/ 404813 h 809625"/>
              <a:gd name="connsiteX13" fmla="*/ 404813 w 809625"/>
              <a:gd name="connsiteY13" fmla="*/ 809625 h 809625"/>
              <a:gd name="connsiteX14" fmla="*/ 0 w 809625"/>
              <a:gd name="connsiteY14" fmla="*/ 404813 h 809625"/>
              <a:gd name="connsiteX15" fmla="*/ 404813 w 809625"/>
              <a:gd name="connsiteY15" fmla="*/ 0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809625" h="809625">
                <a:moveTo>
                  <a:pt x="357950" y="333375"/>
                </a:moveTo>
                <a:lnTo>
                  <a:pt x="480537" y="397002"/>
                </a:lnTo>
                <a:lnTo>
                  <a:pt x="357950" y="460439"/>
                </a:lnTo>
                <a:close/>
                <a:moveTo>
                  <a:pt x="242887" y="249555"/>
                </a:moveTo>
                <a:cubicBezTo>
                  <a:pt x="207159" y="249660"/>
                  <a:pt x="178222" y="278597"/>
                  <a:pt x="178117" y="314325"/>
                </a:cubicBezTo>
                <a:lnTo>
                  <a:pt x="178117" y="495300"/>
                </a:lnTo>
                <a:cubicBezTo>
                  <a:pt x="178222" y="531028"/>
                  <a:pt x="207159" y="559965"/>
                  <a:pt x="242887" y="560070"/>
                </a:cubicBezTo>
                <a:lnTo>
                  <a:pt x="566737" y="560070"/>
                </a:lnTo>
                <a:cubicBezTo>
                  <a:pt x="602465" y="559965"/>
                  <a:pt x="631402" y="531028"/>
                  <a:pt x="631507" y="495300"/>
                </a:cubicBezTo>
                <a:lnTo>
                  <a:pt x="631507" y="314325"/>
                </a:lnTo>
                <a:cubicBezTo>
                  <a:pt x="631402" y="278597"/>
                  <a:pt x="602465" y="249660"/>
                  <a:pt x="566737" y="249555"/>
                </a:cubicBezTo>
                <a:close/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2487C176-18A9-4BB0-BD80-DEC34233A800}"/>
              </a:ext>
            </a:extLst>
          </p:cNvPr>
          <p:cNvSpPr>
            <a:spLocks noChangeAspect="1"/>
          </p:cNvSpPr>
          <p:nvPr/>
        </p:nvSpPr>
        <p:spPr>
          <a:xfrm>
            <a:off x="8298996" y="4501548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495146 w 809625"/>
              <a:gd name="connsiteY5" fmla="*/ 220645 h 809625"/>
              <a:gd name="connsiteX6" fmla="*/ 428527 w 809625"/>
              <a:gd name="connsiteY6" fmla="*/ 245841 h 809625"/>
              <a:gd name="connsiteX7" fmla="*/ 399192 w 809625"/>
              <a:gd name="connsiteY7" fmla="*/ 313563 h 809625"/>
              <a:gd name="connsiteX8" fmla="*/ 401573 w 809625"/>
              <a:gd name="connsiteY8" fmla="*/ 334803 h 809625"/>
              <a:gd name="connsiteX9" fmla="*/ 209549 w 809625"/>
              <a:gd name="connsiteY9" fmla="*/ 238125 h 809625"/>
              <a:gd name="connsiteX10" fmla="*/ 238124 w 809625"/>
              <a:gd name="connsiteY10" fmla="*/ 361950 h 809625"/>
              <a:gd name="connsiteX11" fmla="*/ 195928 w 809625"/>
              <a:gd name="connsiteY11" fmla="*/ 350329 h 809625"/>
              <a:gd name="connsiteX12" fmla="*/ 195929 w 809625"/>
              <a:gd name="connsiteY12" fmla="*/ 351567 h 809625"/>
              <a:gd name="connsiteX13" fmla="*/ 270605 w 809625"/>
              <a:gd name="connsiteY13" fmla="*/ 442722 h 809625"/>
              <a:gd name="connsiteX14" fmla="*/ 228599 w 809625"/>
              <a:gd name="connsiteY14" fmla="*/ 444341 h 809625"/>
              <a:gd name="connsiteX15" fmla="*/ 315467 w 809625"/>
              <a:gd name="connsiteY15" fmla="*/ 508920 h 809625"/>
              <a:gd name="connsiteX16" fmla="*/ 200024 w 809625"/>
              <a:gd name="connsiteY16" fmla="*/ 548544 h 809625"/>
              <a:gd name="connsiteX17" fmla="*/ 177831 w 809625"/>
              <a:gd name="connsiteY17" fmla="*/ 547211 h 809625"/>
              <a:gd name="connsiteX18" fmla="*/ 320706 w 809625"/>
              <a:gd name="connsiteY18" fmla="*/ 589026 h 809625"/>
              <a:gd name="connsiteX19" fmla="*/ 585406 w 809625"/>
              <a:gd name="connsiteY19" fmla="*/ 324421 h 809625"/>
              <a:gd name="connsiteX20" fmla="*/ 585406 w 809625"/>
              <a:gd name="connsiteY20" fmla="*/ 312324 h 809625"/>
              <a:gd name="connsiteX21" fmla="*/ 631507 w 809625"/>
              <a:gd name="connsiteY21" fmla="*/ 264223 h 809625"/>
              <a:gd name="connsiteX22" fmla="*/ 578072 w 809625"/>
              <a:gd name="connsiteY22" fmla="*/ 278892 h 809625"/>
              <a:gd name="connsiteX23" fmla="*/ 619124 w 809625"/>
              <a:gd name="connsiteY23" fmla="*/ 227361 h 809625"/>
              <a:gd name="connsiteX24" fmla="*/ 560069 w 809625"/>
              <a:gd name="connsiteY24" fmla="*/ 249936 h 809625"/>
              <a:gd name="connsiteX25" fmla="*/ 495146 w 809625"/>
              <a:gd name="connsiteY25" fmla="*/ 220645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495146" y="220645"/>
                </a:moveTo>
                <a:cubicBezTo>
                  <a:pt x="471342" y="219904"/>
                  <a:pt x="447255" y="228245"/>
                  <a:pt x="428527" y="245841"/>
                </a:cubicBezTo>
                <a:cubicBezTo>
                  <a:pt x="409833" y="263407"/>
                  <a:pt x="399219" y="287911"/>
                  <a:pt x="399192" y="313563"/>
                </a:cubicBezTo>
                <a:cubicBezTo>
                  <a:pt x="399204" y="320709"/>
                  <a:pt x="400003" y="327832"/>
                  <a:pt x="401573" y="334803"/>
                </a:cubicBezTo>
                <a:cubicBezTo>
                  <a:pt x="326768" y="331204"/>
                  <a:pt x="256991" y="296073"/>
                  <a:pt x="209549" y="238125"/>
                </a:cubicBezTo>
                <a:cubicBezTo>
                  <a:pt x="185023" y="280491"/>
                  <a:pt x="197513" y="334615"/>
                  <a:pt x="238124" y="361950"/>
                </a:cubicBezTo>
                <a:cubicBezTo>
                  <a:pt x="223336" y="361482"/>
                  <a:pt x="208871" y="357499"/>
                  <a:pt x="195928" y="350329"/>
                </a:cubicBezTo>
                <a:lnTo>
                  <a:pt x="195929" y="351567"/>
                </a:lnTo>
                <a:cubicBezTo>
                  <a:pt x="195962" y="395849"/>
                  <a:pt x="227195" y="433974"/>
                  <a:pt x="270605" y="442722"/>
                </a:cubicBezTo>
                <a:cubicBezTo>
                  <a:pt x="256901" y="446399"/>
                  <a:pt x="242546" y="446952"/>
                  <a:pt x="228599" y="444341"/>
                </a:cubicBezTo>
                <a:cubicBezTo>
                  <a:pt x="240745" y="482243"/>
                  <a:pt x="275672" y="508209"/>
                  <a:pt x="315467" y="508920"/>
                </a:cubicBezTo>
                <a:cubicBezTo>
                  <a:pt x="282513" y="534690"/>
                  <a:pt x="241858" y="548644"/>
                  <a:pt x="200024" y="548544"/>
                </a:cubicBezTo>
                <a:cubicBezTo>
                  <a:pt x="192607" y="548536"/>
                  <a:pt x="185196" y="548091"/>
                  <a:pt x="177831" y="547211"/>
                </a:cubicBezTo>
                <a:cubicBezTo>
                  <a:pt x="220421" y="574649"/>
                  <a:pt x="270043" y="589172"/>
                  <a:pt x="320706" y="589026"/>
                </a:cubicBezTo>
                <a:cubicBezTo>
                  <a:pt x="492156" y="589026"/>
                  <a:pt x="585406" y="447294"/>
                  <a:pt x="585406" y="324421"/>
                </a:cubicBezTo>
                <a:cubicBezTo>
                  <a:pt x="585406" y="320325"/>
                  <a:pt x="585406" y="316325"/>
                  <a:pt x="585406" y="312324"/>
                </a:cubicBezTo>
                <a:cubicBezTo>
                  <a:pt x="603503" y="299151"/>
                  <a:pt x="619113" y="282863"/>
                  <a:pt x="631507" y="264223"/>
                </a:cubicBezTo>
                <a:cubicBezTo>
                  <a:pt x="614513" y="271713"/>
                  <a:pt x="596508" y="276656"/>
                  <a:pt x="578072" y="278892"/>
                </a:cubicBezTo>
                <a:cubicBezTo>
                  <a:pt x="597588" y="267302"/>
                  <a:pt x="612190" y="248974"/>
                  <a:pt x="619124" y="227361"/>
                </a:cubicBezTo>
                <a:cubicBezTo>
                  <a:pt x="600877" y="238213"/>
                  <a:pt x="580902" y="245848"/>
                  <a:pt x="560069" y="249936"/>
                </a:cubicBezTo>
                <a:cubicBezTo>
                  <a:pt x="542473" y="231209"/>
                  <a:pt x="518951" y="221387"/>
                  <a:pt x="495146" y="22064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41393088-2A2D-4F19-A536-4C5B46718A69}"/>
              </a:ext>
            </a:extLst>
          </p:cNvPr>
          <p:cNvSpPr>
            <a:spLocks noChangeAspect="1"/>
          </p:cNvSpPr>
          <p:nvPr/>
        </p:nvSpPr>
        <p:spPr>
          <a:xfrm>
            <a:off x="8681340" y="4501548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230981 w 809625"/>
              <a:gd name="connsiteY5" fmla="*/ 177069 h 809625"/>
              <a:gd name="connsiteX6" fmla="*/ 176498 w 809625"/>
              <a:gd name="connsiteY6" fmla="*/ 231552 h 809625"/>
              <a:gd name="connsiteX7" fmla="*/ 230981 w 809625"/>
              <a:gd name="connsiteY7" fmla="*/ 286035 h 809625"/>
              <a:gd name="connsiteX8" fmla="*/ 285464 w 809625"/>
              <a:gd name="connsiteY8" fmla="*/ 231552 h 809625"/>
              <a:gd name="connsiteX9" fmla="*/ 230981 w 809625"/>
              <a:gd name="connsiteY9" fmla="*/ 177069 h 809625"/>
              <a:gd name="connsiteX10" fmla="*/ 517493 w 809625"/>
              <a:gd name="connsiteY10" fmla="*/ 319849 h 809625"/>
              <a:gd name="connsiteX11" fmla="*/ 428625 w 809625"/>
              <a:gd name="connsiteY11" fmla="*/ 368617 h 809625"/>
              <a:gd name="connsiteX12" fmla="*/ 426910 w 809625"/>
              <a:gd name="connsiteY12" fmla="*/ 368617 h 809625"/>
              <a:gd name="connsiteX13" fmla="*/ 426910 w 809625"/>
              <a:gd name="connsiteY13" fmla="*/ 327278 h 809625"/>
              <a:gd name="connsiteX14" fmla="*/ 336899 w 809625"/>
              <a:gd name="connsiteY14" fmla="*/ 327278 h 809625"/>
              <a:gd name="connsiteX15" fmla="*/ 336899 w 809625"/>
              <a:gd name="connsiteY15" fmla="*/ 629602 h 809625"/>
              <a:gd name="connsiteX16" fmla="*/ 430720 w 809625"/>
              <a:gd name="connsiteY16" fmla="*/ 629602 h 809625"/>
              <a:gd name="connsiteX17" fmla="*/ 430720 w 809625"/>
              <a:gd name="connsiteY17" fmla="*/ 480059 h 809625"/>
              <a:gd name="connsiteX18" fmla="*/ 487108 w 809625"/>
              <a:gd name="connsiteY18" fmla="*/ 402430 h 809625"/>
              <a:gd name="connsiteX19" fmla="*/ 535876 w 809625"/>
              <a:gd name="connsiteY19" fmla="*/ 482631 h 809625"/>
              <a:gd name="connsiteX20" fmla="*/ 535876 w 809625"/>
              <a:gd name="connsiteY20" fmla="*/ 629602 h 809625"/>
              <a:gd name="connsiteX21" fmla="*/ 630174 w 809625"/>
              <a:gd name="connsiteY21" fmla="*/ 629602 h 809625"/>
              <a:gd name="connsiteX22" fmla="*/ 630174 w 809625"/>
              <a:gd name="connsiteY22" fmla="*/ 463771 h 809625"/>
              <a:gd name="connsiteX23" fmla="*/ 517493 w 809625"/>
              <a:gd name="connsiteY23" fmla="*/ 319849 h 809625"/>
              <a:gd name="connsiteX24" fmla="*/ 183927 w 809625"/>
              <a:gd name="connsiteY24" fmla="*/ 327278 h 809625"/>
              <a:gd name="connsiteX25" fmla="*/ 183927 w 809625"/>
              <a:gd name="connsiteY25" fmla="*/ 629602 h 809625"/>
              <a:gd name="connsiteX26" fmla="*/ 277939 w 809625"/>
              <a:gd name="connsiteY26" fmla="*/ 629602 h 809625"/>
              <a:gd name="connsiteX27" fmla="*/ 277939 w 809625"/>
              <a:gd name="connsiteY27" fmla="*/ 327278 h 809625"/>
              <a:gd name="connsiteX28" fmla="*/ 183927 w 809625"/>
              <a:gd name="connsiteY28" fmla="*/ 327278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230981" y="177069"/>
                </a:moveTo>
                <a:cubicBezTo>
                  <a:pt x="200891" y="177069"/>
                  <a:pt x="176498" y="201462"/>
                  <a:pt x="176498" y="231552"/>
                </a:cubicBezTo>
                <a:cubicBezTo>
                  <a:pt x="176498" y="261642"/>
                  <a:pt x="200891" y="286035"/>
                  <a:pt x="230981" y="286035"/>
                </a:cubicBezTo>
                <a:cubicBezTo>
                  <a:pt x="261071" y="286035"/>
                  <a:pt x="285464" y="261642"/>
                  <a:pt x="285464" y="231552"/>
                </a:cubicBezTo>
                <a:cubicBezTo>
                  <a:pt x="285464" y="201462"/>
                  <a:pt x="261071" y="177069"/>
                  <a:pt x="230981" y="177069"/>
                </a:cubicBezTo>
                <a:close/>
                <a:moveTo>
                  <a:pt x="517493" y="319849"/>
                </a:moveTo>
                <a:cubicBezTo>
                  <a:pt x="481146" y="318484"/>
                  <a:pt x="446996" y="337225"/>
                  <a:pt x="428625" y="368617"/>
                </a:cubicBezTo>
                <a:lnTo>
                  <a:pt x="426910" y="368617"/>
                </a:lnTo>
                <a:lnTo>
                  <a:pt x="426910" y="327278"/>
                </a:lnTo>
                <a:lnTo>
                  <a:pt x="336899" y="327278"/>
                </a:lnTo>
                <a:lnTo>
                  <a:pt x="336899" y="629602"/>
                </a:lnTo>
                <a:lnTo>
                  <a:pt x="430720" y="629602"/>
                </a:lnTo>
                <a:lnTo>
                  <a:pt x="430720" y="480059"/>
                </a:lnTo>
                <a:cubicBezTo>
                  <a:pt x="430720" y="440530"/>
                  <a:pt x="438912" y="402430"/>
                  <a:pt x="487108" y="402430"/>
                </a:cubicBezTo>
                <a:cubicBezTo>
                  <a:pt x="535305" y="402430"/>
                  <a:pt x="535876" y="447579"/>
                  <a:pt x="535876" y="482631"/>
                </a:cubicBezTo>
                <a:lnTo>
                  <a:pt x="535876" y="629602"/>
                </a:lnTo>
                <a:lnTo>
                  <a:pt x="630174" y="629602"/>
                </a:lnTo>
                <a:lnTo>
                  <a:pt x="630174" y="463771"/>
                </a:lnTo>
                <a:cubicBezTo>
                  <a:pt x="630174" y="382428"/>
                  <a:pt x="612743" y="319849"/>
                  <a:pt x="517493" y="319849"/>
                </a:cubicBezTo>
                <a:close/>
                <a:moveTo>
                  <a:pt x="183927" y="327278"/>
                </a:moveTo>
                <a:lnTo>
                  <a:pt x="183927" y="629602"/>
                </a:lnTo>
                <a:lnTo>
                  <a:pt x="277939" y="629602"/>
                </a:lnTo>
                <a:lnTo>
                  <a:pt x="277939" y="327278"/>
                </a:lnTo>
                <a:lnTo>
                  <a:pt x="183927" y="32727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F1F78FC3-536A-4C34-B2A3-95085DF38A8D}"/>
              </a:ext>
            </a:extLst>
          </p:cNvPr>
          <p:cNvSpPr>
            <a:spLocks noChangeAspect="1"/>
          </p:cNvSpPr>
          <p:nvPr/>
        </p:nvSpPr>
        <p:spPr>
          <a:xfrm>
            <a:off x="9063685" y="4501548"/>
            <a:ext cx="242382" cy="242382"/>
          </a:xfrm>
          <a:custGeom>
            <a:avLst/>
            <a:gdLst>
              <a:gd name="connsiteX0" fmla="*/ 404812 w 809625"/>
              <a:gd name="connsiteY0" fmla="*/ 288417 h 809625"/>
              <a:gd name="connsiteX1" fmla="*/ 288417 w 809625"/>
              <a:gd name="connsiteY1" fmla="*/ 404812 h 809625"/>
              <a:gd name="connsiteX2" fmla="*/ 404812 w 809625"/>
              <a:gd name="connsiteY2" fmla="*/ 521208 h 809625"/>
              <a:gd name="connsiteX3" fmla="*/ 521208 w 809625"/>
              <a:gd name="connsiteY3" fmla="*/ 404812 h 809625"/>
              <a:gd name="connsiteX4" fmla="*/ 404812 w 809625"/>
              <a:gd name="connsiteY4" fmla="*/ 288417 h 809625"/>
              <a:gd name="connsiteX5" fmla="*/ 525780 w 809625"/>
              <a:gd name="connsiteY5" fmla="*/ 256603 h 809625"/>
              <a:gd name="connsiteX6" fmla="*/ 498538 w 809625"/>
              <a:gd name="connsiteY6" fmla="*/ 283844 h 809625"/>
              <a:gd name="connsiteX7" fmla="*/ 525780 w 809625"/>
              <a:gd name="connsiteY7" fmla="*/ 311086 h 809625"/>
              <a:gd name="connsiteX8" fmla="*/ 553021 w 809625"/>
              <a:gd name="connsiteY8" fmla="*/ 283844 h 809625"/>
              <a:gd name="connsiteX9" fmla="*/ 525780 w 809625"/>
              <a:gd name="connsiteY9" fmla="*/ 256603 h 809625"/>
              <a:gd name="connsiteX10" fmla="*/ 404812 w 809625"/>
              <a:gd name="connsiteY10" fmla="*/ 219075 h 809625"/>
              <a:gd name="connsiteX11" fmla="*/ 496443 w 809625"/>
              <a:gd name="connsiteY11" fmla="*/ 220408 h 809625"/>
              <a:gd name="connsiteX12" fmla="*/ 538543 w 809625"/>
              <a:gd name="connsiteY12" fmla="*/ 228218 h 809625"/>
              <a:gd name="connsiteX13" fmla="*/ 581501 w 809625"/>
              <a:gd name="connsiteY13" fmla="*/ 271176 h 809625"/>
              <a:gd name="connsiteX14" fmla="*/ 589311 w 809625"/>
              <a:gd name="connsiteY14" fmla="*/ 313277 h 809625"/>
              <a:gd name="connsiteX15" fmla="*/ 590645 w 809625"/>
              <a:gd name="connsiteY15" fmla="*/ 404907 h 809625"/>
              <a:gd name="connsiteX16" fmla="*/ 589311 w 809625"/>
              <a:gd name="connsiteY16" fmla="*/ 496538 h 809625"/>
              <a:gd name="connsiteX17" fmla="*/ 581501 w 809625"/>
              <a:gd name="connsiteY17" fmla="*/ 538638 h 809625"/>
              <a:gd name="connsiteX18" fmla="*/ 538543 w 809625"/>
              <a:gd name="connsiteY18" fmla="*/ 581596 h 809625"/>
              <a:gd name="connsiteX19" fmla="*/ 496443 w 809625"/>
              <a:gd name="connsiteY19" fmla="*/ 589406 h 809625"/>
              <a:gd name="connsiteX20" fmla="*/ 404812 w 809625"/>
              <a:gd name="connsiteY20" fmla="*/ 590740 h 809625"/>
              <a:gd name="connsiteX21" fmla="*/ 313182 w 809625"/>
              <a:gd name="connsiteY21" fmla="*/ 589407 h 809625"/>
              <a:gd name="connsiteX22" fmla="*/ 271081 w 809625"/>
              <a:gd name="connsiteY22" fmla="*/ 581596 h 809625"/>
              <a:gd name="connsiteX23" fmla="*/ 228600 w 809625"/>
              <a:gd name="connsiteY23" fmla="*/ 538543 h 809625"/>
              <a:gd name="connsiteX24" fmla="*/ 220789 w 809625"/>
              <a:gd name="connsiteY24" fmla="*/ 496443 h 809625"/>
              <a:gd name="connsiteX25" fmla="*/ 219075 w 809625"/>
              <a:gd name="connsiteY25" fmla="*/ 404812 h 809625"/>
              <a:gd name="connsiteX26" fmla="*/ 220408 w 809625"/>
              <a:gd name="connsiteY26" fmla="*/ 313182 h 809625"/>
              <a:gd name="connsiteX27" fmla="*/ 228600 w 809625"/>
              <a:gd name="connsiteY27" fmla="*/ 271081 h 809625"/>
              <a:gd name="connsiteX28" fmla="*/ 271081 w 809625"/>
              <a:gd name="connsiteY28" fmla="*/ 228600 h 809625"/>
              <a:gd name="connsiteX29" fmla="*/ 313181 w 809625"/>
              <a:gd name="connsiteY29" fmla="*/ 220789 h 809625"/>
              <a:gd name="connsiteX30" fmla="*/ 404812 w 809625"/>
              <a:gd name="connsiteY30" fmla="*/ 219075 h 809625"/>
              <a:gd name="connsiteX31" fmla="*/ 405669 w 809625"/>
              <a:gd name="connsiteY31" fmla="*/ 177736 h 809625"/>
              <a:gd name="connsiteX32" fmla="*/ 404812 w 809625"/>
              <a:gd name="connsiteY32" fmla="*/ 178212 h 809625"/>
              <a:gd name="connsiteX33" fmla="*/ 311372 w 809625"/>
              <a:gd name="connsiteY33" fmla="*/ 179546 h 809625"/>
              <a:gd name="connsiteX34" fmla="*/ 256317 w 809625"/>
              <a:gd name="connsiteY34" fmla="*/ 190500 h 809625"/>
              <a:gd name="connsiteX35" fmla="*/ 189642 w 809625"/>
              <a:gd name="connsiteY35" fmla="*/ 257175 h 809625"/>
              <a:gd name="connsiteX36" fmla="*/ 179069 w 809625"/>
              <a:gd name="connsiteY36" fmla="*/ 312229 h 809625"/>
              <a:gd name="connsiteX37" fmla="*/ 177736 w 809625"/>
              <a:gd name="connsiteY37" fmla="*/ 405669 h 809625"/>
              <a:gd name="connsiteX38" fmla="*/ 179069 w 809625"/>
              <a:gd name="connsiteY38" fmla="*/ 499110 h 809625"/>
              <a:gd name="connsiteX39" fmla="*/ 190500 w 809625"/>
              <a:gd name="connsiteY39" fmla="*/ 553307 h 809625"/>
              <a:gd name="connsiteX40" fmla="*/ 257175 w 809625"/>
              <a:gd name="connsiteY40" fmla="*/ 619982 h 809625"/>
              <a:gd name="connsiteX41" fmla="*/ 312229 w 809625"/>
              <a:gd name="connsiteY41" fmla="*/ 630554 h 809625"/>
              <a:gd name="connsiteX42" fmla="*/ 405669 w 809625"/>
              <a:gd name="connsiteY42" fmla="*/ 631888 h 809625"/>
              <a:gd name="connsiteX43" fmla="*/ 499110 w 809625"/>
              <a:gd name="connsiteY43" fmla="*/ 630554 h 809625"/>
              <a:gd name="connsiteX44" fmla="*/ 554164 w 809625"/>
              <a:gd name="connsiteY44" fmla="*/ 619982 h 809625"/>
              <a:gd name="connsiteX45" fmla="*/ 620839 w 809625"/>
              <a:gd name="connsiteY45" fmla="*/ 553307 h 809625"/>
              <a:gd name="connsiteX46" fmla="*/ 631412 w 809625"/>
              <a:gd name="connsiteY46" fmla="*/ 498252 h 809625"/>
              <a:gd name="connsiteX47" fmla="*/ 632745 w 809625"/>
              <a:gd name="connsiteY47" fmla="*/ 404812 h 809625"/>
              <a:gd name="connsiteX48" fmla="*/ 631412 w 809625"/>
              <a:gd name="connsiteY48" fmla="*/ 311372 h 809625"/>
              <a:gd name="connsiteX49" fmla="*/ 620839 w 809625"/>
              <a:gd name="connsiteY49" fmla="*/ 256317 h 809625"/>
              <a:gd name="connsiteX50" fmla="*/ 554164 w 809625"/>
              <a:gd name="connsiteY50" fmla="*/ 189642 h 809625"/>
              <a:gd name="connsiteX51" fmla="*/ 499110 w 809625"/>
              <a:gd name="connsiteY51" fmla="*/ 179069 h 809625"/>
              <a:gd name="connsiteX52" fmla="*/ 405669 w 809625"/>
              <a:gd name="connsiteY52" fmla="*/ 177736 h 809625"/>
              <a:gd name="connsiteX53" fmla="*/ 404813 w 809625"/>
              <a:gd name="connsiteY53" fmla="*/ 0 h 809625"/>
              <a:gd name="connsiteX54" fmla="*/ 809625 w 809625"/>
              <a:gd name="connsiteY54" fmla="*/ 404813 h 809625"/>
              <a:gd name="connsiteX55" fmla="*/ 404813 w 809625"/>
              <a:gd name="connsiteY55" fmla="*/ 809625 h 809625"/>
              <a:gd name="connsiteX56" fmla="*/ 0 w 809625"/>
              <a:gd name="connsiteY56" fmla="*/ 404813 h 809625"/>
              <a:gd name="connsiteX57" fmla="*/ 404813 w 809625"/>
              <a:gd name="connsiteY57" fmla="*/ 0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809625" h="809625">
                <a:moveTo>
                  <a:pt x="404812" y="288417"/>
                </a:moveTo>
                <a:cubicBezTo>
                  <a:pt x="340529" y="288417"/>
                  <a:pt x="288417" y="340529"/>
                  <a:pt x="288417" y="404812"/>
                </a:cubicBezTo>
                <a:cubicBezTo>
                  <a:pt x="288417" y="469096"/>
                  <a:pt x="340529" y="521208"/>
                  <a:pt x="404812" y="521208"/>
                </a:cubicBezTo>
                <a:cubicBezTo>
                  <a:pt x="469096" y="521208"/>
                  <a:pt x="521208" y="469096"/>
                  <a:pt x="521208" y="404812"/>
                </a:cubicBezTo>
                <a:cubicBezTo>
                  <a:pt x="521208" y="340529"/>
                  <a:pt x="469096" y="288417"/>
                  <a:pt x="404812" y="288417"/>
                </a:cubicBezTo>
                <a:close/>
                <a:moveTo>
                  <a:pt x="525780" y="256603"/>
                </a:moveTo>
                <a:cubicBezTo>
                  <a:pt x="510734" y="256603"/>
                  <a:pt x="498538" y="268799"/>
                  <a:pt x="498538" y="283844"/>
                </a:cubicBezTo>
                <a:cubicBezTo>
                  <a:pt x="498538" y="298890"/>
                  <a:pt x="510734" y="311086"/>
                  <a:pt x="525780" y="311086"/>
                </a:cubicBezTo>
                <a:cubicBezTo>
                  <a:pt x="540825" y="311086"/>
                  <a:pt x="553021" y="298890"/>
                  <a:pt x="553021" y="283844"/>
                </a:cubicBezTo>
                <a:cubicBezTo>
                  <a:pt x="553021" y="268799"/>
                  <a:pt x="540825" y="256603"/>
                  <a:pt x="525780" y="256603"/>
                </a:cubicBezTo>
                <a:close/>
                <a:moveTo>
                  <a:pt x="404812" y="219075"/>
                </a:moveTo>
                <a:cubicBezTo>
                  <a:pt x="465296" y="219075"/>
                  <a:pt x="472535" y="219075"/>
                  <a:pt x="496443" y="220408"/>
                </a:cubicBezTo>
                <a:cubicBezTo>
                  <a:pt x="510824" y="220533"/>
                  <a:pt x="525073" y="223177"/>
                  <a:pt x="538543" y="228218"/>
                </a:cubicBezTo>
                <a:cubicBezTo>
                  <a:pt x="558257" y="235874"/>
                  <a:pt x="573845" y="251463"/>
                  <a:pt x="581501" y="271176"/>
                </a:cubicBezTo>
                <a:cubicBezTo>
                  <a:pt x="586542" y="284646"/>
                  <a:pt x="589186" y="298895"/>
                  <a:pt x="589311" y="313277"/>
                </a:cubicBezTo>
                <a:cubicBezTo>
                  <a:pt x="590454" y="337185"/>
                  <a:pt x="590645" y="344424"/>
                  <a:pt x="590645" y="404907"/>
                </a:cubicBezTo>
                <a:cubicBezTo>
                  <a:pt x="590645" y="465391"/>
                  <a:pt x="590645" y="472630"/>
                  <a:pt x="589311" y="496538"/>
                </a:cubicBezTo>
                <a:cubicBezTo>
                  <a:pt x="589186" y="510920"/>
                  <a:pt x="586543" y="525168"/>
                  <a:pt x="581501" y="538638"/>
                </a:cubicBezTo>
                <a:cubicBezTo>
                  <a:pt x="573845" y="558352"/>
                  <a:pt x="558257" y="573940"/>
                  <a:pt x="538543" y="581596"/>
                </a:cubicBezTo>
                <a:cubicBezTo>
                  <a:pt x="525073" y="586638"/>
                  <a:pt x="510824" y="589281"/>
                  <a:pt x="496443" y="589406"/>
                </a:cubicBezTo>
                <a:cubicBezTo>
                  <a:pt x="472535" y="590550"/>
                  <a:pt x="465391" y="590740"/>
                  <a:pt x="404812" y="590740"/>
                </a:cubicBezTo>
                <a:cubicBezTo>
                  <a:pt x="344233" y="590740"/>
                  <a:pt x="337089" y="590740"/>
                  <a:pt x="313182" y="589407"/>
                </a:cubicBezTo>
                <a:cubicBezTo>
                  <a:pt x="298800" y="589281"/>
                  <a:pt x="284551" y="586638"/>
                  <a:pt x="271081" y="581596"/>
                </a:cubicBezTo>
                <a:cubicBezTo>
                  <a:pt x="251529" y="573808"/>
                  <a:pt x="236125" y="558197"/>
                  <a:pt x="228600" y="538543"/>
                </a:cubicBezTo>
                <a:cubicBezTo>
                  <a:pt x="223558" y="525073"/>
                  <a:pt x="220914" y="510824"/>
                  <a:pt x="220789" y="496443"/>
                </a:cubicBezTo>
                <a:cubicBezTo>
                  <a:pt x="219075" y="472535"/>
                  <a:pt x="219075" y="465296"/>
                  <a:pt x="219075" y="404812"/>
                </a:cubicBezTo>
                <a:cubicBezTo>
                  <a:pt x="219075" y="344328"/>
                  <a:pt x="219075" y="337089"/>
                  <a:pt x="220408" y="313182"/>
                </a:cubicBezTo>
                <a:cubicBezTo>
                  <a:pt x="220655" y="298777"/>
                  <a:pt x="223428" y="284527"/>
                  <a:pt x="228600" y="271081"/>
                </a:cubicBezTo>
                <a:cubicBezTo>
                  <a:pt x="236258" y="251643"/>
                  <a:pt x="251643" y="236258"/>
                  <a:pt x="271081" y="228600"/>
                </a:cubicBezTo>
                <a:cubicBezTo>
                  <a:pt x="284551" y="223558"/>
                  <a:pt x="298800" y="220914"/>
                  <a:pt x="313181" y="220789"/>
                </a:cubicBezTo>
                <a:cubicBezTo>
                  <a:pt x="337089" y="219075"/>
                  <a:pt x="344328" y="219075"/>
                  <a:pt x="404812" y="219075"/>
                </a:cubicBezTo>
                <a:close/>
                <a:moveTo>
                  <a:pt x="405669" y="177736"/>
                </a:moveTo>
                <a:lnTo>
                  <a:pt x="404812" y="178212"/>
                </a:lnTo>
                <a:cubicBezTo>
                  <a:pt x="343281" y="178212"/>
                  <a:pt x="335565" y="178212"/>
                  <a:pt x="311372" y="179546"/>
                </a:cubicBezTo>
                <a:cubicBezTo>
                  <a:pt x="292533" y="180057"/>
                  <a:pt x="273917" y="183760"/>
                  <a:pt x="256317" y="190500"/>
                </a:cubicBezTo>
                <a:cubicBezTo>
                  <a:pt x="225602" y="202200"/>
                  <a:pt x="201343" y="226459"/>
                  <a:pt x="189642" y="257175"/>
                </a:cubicBezTo>
                <a:cubicBezTo>
                  <a:pt x="183033" y="274797"/>
                  <a:pt x="179458" y="293412"/>
                  <a:pt x="179069" y="312229"/>
                </a:cubicBezTo>
                <a:cubicBezTo>
                  <a:pt x="178022" y="336423"/>
                  <a:pt x="177736" y="344138"/>
                  <a:pt x="177736" y="405669"/>
                </a:cubicBezTo>
                <a:cubicBezTo>
                  <a:pt x="177736" y="467201"/>
                  <a:pt x="177736" y="474916"/>
                  <a:pt x="179069" y="499110"/>
                </a:cubicBezTo>
                <a:cubicBezTo>
                  <a:pt x="179828" y="517687"/>
                  <a:pt x="183692" y="536005"/>
                  <a:pt x="190500" y="553307"/>
                </a:cubicBezTo>
                <a:cubicBezTo>
                  <a:pt x="202200" y="584022"/>
                  <a:pt x="226459" y="608281"/>
                  <a:pt x="257175" y="619982"/>
                </a:cubicBezTo>
                <a:cubicBezTo>
                  <a:pt x="274797" y="626591"/>
                  <a:pt x="293412" y="630165"/>
                  <a:pt x="312229" y="630554"/>
                </a:cubicBezTo>
                <a:cubicBezTo>
                  <a:pt x="336423" y="631602"/>
                  <a:pt x="344138" y="631888"/>
                  <a:pt x="405669" y="631888"/>
                </a:cubicBezTo>
                <a:cubicBezTo>
                  <a:pt x="467201" y="631888"/>
                  <a:pt x="474916" y="631888"/>
                  <a:pt x="499110" y="630554"/>
                </a:cubicBezTo>
                <a:cubicBezTo>
                  <a:pt x="517927" y="630165"/>
                  <a:pt x="536542" y="626591"/>
                  <a:pt x="554164" y="619982"/>
                </a:cubicBezTo>
                <a:cubicBezTo>
                  <a:pt x="584880" y="608281"/>
                  <a:pt x="609138" y="584022"/>
                  <a:pt x="620839" y="553307"/>
                </a:cubicBezTo>
                <a:cubicBezTo>
                  <a:pt x="627448" y="535684"/>
                  <a:pt x="631023" y="517069"/>
                  <a:pt x="631412" y="498252"/>
                </a:cubicBezTo>
                <a:cubicBezTo>
                  <a:pt x="632460" y="474059"/>
                  <a:pt x="632745" y="466344"/>
                  <a:pt x="632745" y="404812"/>
                </a:cubicBezTo>
                <a:cubicBezTo>
                  <a:pt x="632745" y="343281"/>
                  <a:pt x="632745" y="335565"/>
                  <a:pt x="631412" y="311372"/>
                </a:cubicBezTo>
                <a:cubicBezTo>
                  <a:pt x="631023" y="292555"/>
                  <a:pt x="627448" y="273940"/>
                  <a:pt x="620839" y="256317"/>
                </a:cubicBezTo>
                <a:cubicBezTo>
                  <a:pt x="609138" y="225602"/>
                  <a:pt x="584880" y="201343"/>
                  <a:pt x="554164" y="189642"/>
                </a:cubicBezTo>
                <a:cubicBezTo>
                  <a:pt x="536542" y="183033"/>
                  <a:pt x="517927" y="179458"/>
                  <a:pt x="499110" y="179069"/>
                </a:cubicBezTo>
                <a:cubicBezTo>
                  <a:pt x="474916" y="178022"/>
                  <a:pt x="467201" y="177736"/>
                  <a:pt x="405669" y="177736"/>
                </a:cubicBezTo>
                <a:close/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37645F6A-EDD9-42D2-A01C-F8414798D57C}"/>
              </a:ext>
            </a:extLst>
          </p:cNvPr>
          <p:cNvSpPr>
            <a:spLocks noChangeAspect="1"/>
          </p:cNvSpPr>
          <p:nvPr/>
        </p:nvSpPr>
        <p:spPr>
          <a:xfrm>
            <a:off x="9446029" y="4501548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207835 w 809625"/>
              <a:gd name="connsiteY5" fmla="*/ 183451 h 809625"/>
              <a:gd name="connsiteX6" fmla="*/ 183451 w 809625"/>
              <a:gd name="connsiteY6" fmla="*/ 207835 h 809625"/>
              <a:gd name="connsiteX7" fmla="*/ 183451 w 809625"/>
              <a:gd name="connsiteY7" fmla="*/ 601789 h 809625"/>
              <a:gd name="connsiteX8" fmla="*/ 207835 w 809625"/>
              <a:gd name="connsiteY8" fmla="*/ 626173 h 809625"/>
              <a:gd name="connsiteX9" fmla="*/ 419957 w 809625"/>
              <a:gd name="connsiteY9" fmla="*/ 626173 h 809625"/>
              <a:gd name="connsiteX10" fmla="*/ 419957 w 809625"/>
              <a:gd name="connsiteY10" fmla="*/ 454723 h 809625"/>
              <a:gd name="connsiteX11" fmla="*/ 361950 w 809625"/>
              <a:gd name="connsiteY11" fmla="*/ 454723 h 809625"/>
              <a:gd name="connsiteX12" fmla="*/ 361950 w 809625"/>
              <a:gd name="connsiteY12" fmla="*/ 388048 h 809625"/>
              <a:gd name="connsiteX13" fmla="*/ 419671 w 809625"/>
              <a:gd name="connsiteY13" fmla="*/ 388048 h 809625"/>
              <a:gd name="connsiteX14" fmla="*/ 419671 w 809625"/>
              <a:gd name="connsiteY14" fmla="*/ 338613 h 809625"/>
              <a:gd name="connsiteX15" fmla="*/ 505396 w 809625"/>
              <a:gd name="connsiteY15" fmla="*/ 250317 h 809625"/>
              <a:gd name="connsiteX16" fmla="*/ 556926 w 809625"/>
              <a:gd name="connsiteY16" fmla="*/ 252984 h 809625"/>
              <a:gd name="connsiteX17" fmla="*/ 556926 w 809625"/>
              <a:gd name="connsiteY17" fmla="*/ 312705 h 809625"/>
              <a:gd name="connsiteX18" fmla="*/ 522065 w 809625"/>
              <a:gd name="connsiteY18" fmla="*/ 312705 h 809625"/>
              <a:gd name="connsiteX19" fmla="*/ 488918 w 809625"/>
              <a:gd name="connsiteY19" fmla="*/ 345281 h 809625"/>
              <a:gd name="connsiteX20" fmla="*/ 488918 w 809625"/>
              <a:gd name="connsiteY20" fmla="*/ 387953 h 809625"/>
              <a:gd name="connsiteX21" fmla="*/ 555593 w 809625"/>
              <a:gd name="connsiteY21" fmla="*/ 387953 h 809625"/>
              <a:gd name="connsiteX22" fmla="*/ 546925 w 809625"/>
              <a:gd name="connsiteY22" fmla="*/ 454628 h 809625"/>
              <a:gd name="connsiteX23" fmla="*/ 489775 w 809625"/>
              <a:gd name="connsiteY23" fmla="*/ 454628 h 809625"/>
              <a:gd name="connsiteX24" fmla="*/ 489775 w 809625"/>
              <a:gd name="connsiteY24" fmla="*/ 626078 h 809625"/>
              <a:gd name="connsiteX25" fmla="*/ 601789 w 809625"/>
              <a:gd name="connsiteY25" fmla="*/ 626078 h 809625"/>
              <a:gd name="connsiteX26" fmla="*/ 626173 w 809625"/>
              <a:gd name="connsiteY26" fmla="*/ 601694 h 809625"/>
              <a:gd name="connsiteX27" fmla="*/ 626173 w 809625"/>
              <a:gd name="connsiteY27" fmla="*/ 207835 h 809625"/>
              <a:gd name="connsiteX28" fmla="*/ 601789 w 809625"/>
              <a:gd name="connsiteY28" fmla="*/ 183451 h 809625"/>
              <a:gd name="connsiteX29" fmla="*/ 207835 w 809625"/>
              <a:gd name="connsiteY29" fmla="*/ 183451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207835" y="183451"/>
                </a:moveTo>
                <a:cubicBezTo>
                  <a:pt x="194368" y="183451"/>
                  <a:pt x="183451" y="194368"/>
                  <a:pt x="183451" y="207835"/>
                </a:cubicBezTo>
                <a:lnTo>
                  <a:pt x="183451" y="601789"/>
                </a:lnTo>
                <a:cubicBezTo>
                  <a:pt x="183451" y="615256"/>
                  <a:pt x="194368" y="626173"/>
                  <a:pt x="207835" y="626173"/>
                </a:cubicBezTo>
                <a:lnTo>
                  <a:pt x="419957" y="626173"/>
                </a:lnTo>
                <a:lnTo>
                  <a:pt x="419957" y="454723"/>
                </a:lnTo>
                <a:lnTo>
                  <a:pt x="361950" y="454723"/>
                </a:lnTo>
                <a:lnTo>
                  <a:pt x="361950" y="388048"/>
                </a:lnTo>
                <a:lnTo>
                  <a:pt x="419671" y="388048"/>
                </a:lnTo>
                <a:lnTo>
                  <a:pt x="419671" y="338613"/>
                </a:lnTo>
                <a:cubicBezTo>
                  <a:pt x="419671" y="281463"/>
                  <a:pt x="454533" y="250317"/>
                  <a:pt x="505396" y="250317"/>
                </a:cubicBezTo>
                <a:cubicBezTo>
                  <a:pt x="522609" y="250238"/>
                  <a:pt x="539813" y="251128"/>
                  <a:pt x="556926" y="252984"/>
                </a:cubicBezTo>
                <a:lnTo>
                  <a:pt x="556926" y="312705"/>
                </a:lnTo>
                <a:lnTo>
                  <a:pt x="522065" y="312705"/>
                </a:lnTo>
                <a:cubicBezTo>
                  <a:pt x="494252" y="312705"/>
                  <a:pt x="488918" y="325945"/>
                  <a:pt x="488918" y="345281"/>
                </a:cubicBezTo>
                <a:lnTo>
                  <a:pt x="488918" y="387953"/>
                </a:lnTo>
                <a:lnTo>
                  <a:pt x="555593" y="387953"/>
                </a:lnTo>
                <a:lnTo>
                  <a:pt x="546925" y="454628"/>
                </a:lnTo>
                <a:lnTo>
                  <a:pt x="489775" y="454628"/>
                </a:lnTo>
                <a:lnTo>
                  <a:pt x="489775" y="626078"/>
                </a:lnTo>
                <a:lnTo>
                  <a:pt x="601789" y="626078"/>
                </a:lnTo>
                <a:cubicBezTo>
                  <a:pt x="615256" y="626078"/>
                  <a:pt x="626173" y="615161"/>
                  <a:pt x="626173" y="601694"/>
                </a:cubicBezTo>
                <a:lnTo>
                  <a:pt x="626173" y="207835"/>
                </a:lnTo>
                <a:cubicBezTo>
                  <a:pt x="626173" y="194368"/>
                  <a:pt x="615256" y="183451"/>
                  <a:pt x="601789" y="183451"/>
                </a:cubicBezTo>
                <a:lnTo>
                  <a:pt x="207835" y="183451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35DA1C13-417D-70D7-BC88-4FD67A39D2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4484" y="2549185"/>
            <a:ext cx="1976093" cy="879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9258725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76849F14-4971-4208-82A8-1F0513897926}"/>
              </a:ext>
            </a:extLst>
          </p:cNvPr>
          <p:cNvSpPr/>
          <p:nvPr userDrawn="1"/>
        </p:nvSpPr>
        <p:spPr>
          <a:xfrm>
            <a:off x="719400" y="-2"/>
            <a:ext cx="107532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096AA35B-6D3E-4809-9D78-9CF31081E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9400" y="-2"/>
            <a:ext cx="4680000" cy="4068000"/>
          </a:xfrm>
          <a:solidFill>
            <a:schemeClr val="tx2"/>
          </a:solidFill>
        </p:spPr>
        <p:txBody>
          <a:bodyPr lIns="342000" tIns="342000" rIns="0" bIns="504000" anchor="b" anchorCtr="0"/>
          <a:lstStyle>
            <a:lvl1pPr>
              <a:defRPr sz="4500">
                <a:solidFill>
                  <a:schemeClr val="accent1"/>
                </a:solidFill>
              </a:defRPr>
            </a:lvl1pPr>
          </a:lstStyle>
          <a:p>
            <a:r>
              <a:rPr lang="en-US"/>
              <a:t>Thank you</a:t>
            </a:r>
            <a:endParaRPr lang="en-AU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FD95F930-CD55-469B-9FD0-1150DA73B39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-2"/>
            <a:ext cx="12192000" cy="6876000"/>
          </a:xfrm>
          <a:custGeom>
            <a:avLst/>
            <a:gdLst>
              <a:gd name="connsiteX0" fmla="*/ 114726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472600 w 12192000"/>
              <a:gd name="connsiteY3" fmla="*/ 6858000 h 6858000"/>
              <a:gd name="connsiteX4" fmla="*/ 0 w 12192000"/>
              <a:gd name="connsiteY4" fmla="*/ 0 h 6858000"/>
              <a:gd name="connsiteX5" fmla="*/ 719400 w 12192000"/>
              <a:gd name="connsiteY5" fmla="*/ 0 h 6858000"/>
              <a:gd name="connsiteX6" fmla="*/ 7194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14726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472600" y="6858000"/>
                </a:lnTo>
                <a:close/>
                <a:moveTo>
                  <a:pt x="0" y="0"/>
                </a:moveTo>
                <a:lnTo>
                  <a:pt x="719400" y="0"/>
                </a:lnTo>
                <a:lnTo>
                  <a:pt x="7194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08000" tIns="108000" rIns="115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4417D20-4CB7-471C-A5C4-50706D404792}"/>
              </a:ext>
            </a:extLst>
          </p:cNvPr>
          <p:cNvSpPr txBox="1"/>
          <p:nvPr userDrawn="1"/>
        </p:nvSpPr>
        <p:spPr>
          <a:xfrm>
            <a:off x="7877158" y="3841087"/>
            <a:ext cx="3321238" cy="25564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 cap="none" baseline="0">
                <a:solidFill>
                  <a:schemeClr val="bg1"/>
                </a:solidFill>
              </a:defRPr>
            </a:lvl1pPr>
            <a:lvl2pPr marL="0" lvl="1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b="1" cap="all" baseline="0">
                <a:solidFill>
                  <a:schemeClr val="bg1"/>
                </a:solidFill>
              </a:defRPr>
            </a:lvl2pPr>
            <a:lvl3pPr marL="0" lvl="2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3pPr>
            <a:lvl4pPr marL="0" lvl="3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4pPr>
            <a:lvl5pPr marL="0" lvl="4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5pPr>
            <a:lvl6pPr marL="0" lvl="5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6pPr>
            <a:lvl7pPr marL="0" lvl="6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7pPr>
            <a:lvl8pPr marL="0" lvl="7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8pPr>
            <a:lvl9pPr marL="0" lvl="8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9pPr>
          </a:lstStyle>
          <a:p>
            <a:pPr lvl="0">
              <a:spcBef>
                <a:spcPts val="400"/>
              </a:spcBef>
            </a:pPr>
            <a:r>
              <a:rPr lang="en-US" altLang="en-US" sz="1600" b="0">
                <a:solidFill>
                  <a:schemeClr val="bg2"/>
                </a:solidFill>
                <a:latin typeface="+mj-lt"/>
              </a:rPr>
              <a:t>Forest Stewardship Council®</a:t>
            </a:r>
          </a:p>
          <a:p>
            <a:pPr lvl="0">
              <a:spcBef>
                <a:spcPts val="400"/>
              </a:spcBef>
              <a:spcAft>
                <a:spcPts val="1200"/>
              </a:spcAft>
            </a:pPr>
            <a:r>
              <a:rPr lang="en-US" altLang="en-US" sz="1500" b="1">
                <a:solidFill>
                  <a:schemeClr val="bg2"/>
                </a:solidFill>
              </a:rPr>
              <a:t>FSC® Asociación Civil </a:t>
            </a:r>
          </a:p>
          <a:p>
            <a:pPr lvl="0"/>
            <a:endParaRPr lang="en-US" altLang="en-US" sz="1600" b="0"/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Calle Margarita </a:t>
            </a:r>
            <a:r>
              <a:rPr lang="en-US" altLang="en-US" sz="1200" b="0" err="1">
                <a:solidFill>
                  <a:schemeClr val="bg2"/>
                </a:solidFill>
              </a:rPr>
              <a:t>Maza</a:t>
            </a:r>
            <a:r>
              <a:rPr lang="en-US" altLang="en-US" sz="1200" b="0">
                <a:solidFill>
                  <a:schemeClr val="bg2"/>
                </a:solidFill>
              </a:rPr>
              <a:t> de Juárez 422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Colonia Centro,  Oaxaca, México, CP. 68000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Phone: +52 951 502 6533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Fax: +52 951 502 6594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FSC Asociación Civil © All rights reserved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 err="1">
                <a:solidFill>
                  <a:schemeClr val="bg2"/>
                </a:solidFill>
              </a:rPr>
              <a:t>FSC</a:t>
            </a:r>
            <a:r>
              <a:rPr lang="en-US" altLang="en-US" sz="1200" b="0">
                <a:solidFill>
                  <a:schemeClr val="bg2"/>
                </a:solidFill>
              </a:rPr>
              <a:t>® </a:t>
            </a:r>
            <a:r>
              <a:rPr lang="en-US" altLang="en-US" sz="1200" b="0" err="1">
                <a:solidFill>
                  <a:schemeClr val="bg2"/>
                </a:solidFill>
              </a:rPr>
              <a:t>F000100</a:t>
            </a:r>
            <a:r>
              <a:rPr lang="en-US" altLang="en-US" sz="1200" b="0">
                <a:solidFill>
                  <a:schemeClr val="bg2"/>
                </a:solidFill>
              </a:rPr>
              <a:t> </a:t>
            </a:r>
          </a:p>
          <a:p>
            <a:pPr lvl="0"/>
            <a:r>
              <a:rPr lang="en-US" altLang="en-US" sz="1400" b="0" err="1">
                <a:solidFill>
                  <a:schemeClr val="bg2"/>
                </a:solidFill>
                <a:latin typeface="+mj-lt"/>
              </a:rPr>
              <a:t>www.fsc.org</a:t>
            </a:r>
            <a:endParaRPr lang="en-US" altLang="en-US" sz="1400" b="0">
              <a:solidFill>
                <a:schemeClr val="bg2"/>
              </a:solidFill>
              <a:latin typeface="+mj-lt"/>
            </a:endParaRPr>
          </a:p>
          <a:p>
            <a:pPr lvl="0"/>
            <a:endParaRPr lang="en-US" altLang="en-US" sz="1600" b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F8BC909C-567D-4F9C-A0DF-D05DE8F82075}"/>
              </a:ext>
            </a:extLst>
          </p:cNvPr>
          <p:cNvSpPr>
            <a:spLocks noChangeAspect="1"/>
          </p:cNvSpPr>
          <p:nvPr/>
        </p:nvSpPr>
        <p:spPr>
          <a:xfrm>
            <a:off x="7916652" y="4501548"/>
            <a:ext cx="242382" cy="242382"/>
          </a:xfrm>
          <a:custGeom>
            <a:avLst/>
            <a:gdLst>
              <a:gd name="connsiteX0" fmla="*/ 357950 w 809625"/>
              <a:gd name="connsiteY0" fmla="*/ 333375 h 809625"/>
              <a:gd name="connsiteX1" fmla="*/ 480537 w 809625"/>
              <a:gd name="connsiteY1" fmla="*/ 397002 h 809625"/>
              <a:gd name="connsiteX2" fmla="*/ 357950 w 809625"/>
              <a:gd name="connsiteY2" fmla="*/ 460439 h 809625"/>
              <a:gd name="connsiteX3" fmla="*/ 242887 w 809625"/>
              <a:gd name="connsiteY3" fmla="*/ 249555 h 809625"/>
              <a:gd name="connsiteX4" fmla="*/ 178117 w 809625"/>
              <a:gd name="connsiteY4" fmla="*/ 314325 h 809625"/>
              <a:gd name="connsiteX5" fmla="*/ 178117 w 809625"/>
              <a:gd name="connsiteY5" fmla="*/ 495300 h 809625"/>
              <a:gd name="connsiteX6" fmla="*/ 242887 w 809625"/>
              <a:gd name="connsiteY6" fmla="*/ 560070 h 809625"/>
              <a:gd name="connsiteX7" fmla="*/ 566737 w 809625"/>
              <a:gd name="connsiteY7" fmla="*/ 560070 h 809625"/>
              <a:gd name="connsiteX8" fmla="*/ 631507 w 809625"/>
              <a:gd name="connsiteY8" fmla="*/ 495300 h 809625"/>
              <a:gd name="connsiteX9" fmla="*/ 631507 w 809625"/>
              <a:gd name="connsiteY9" fmla="*/ 314325 h 809625"/>
              <a:gd name="connsiteX10" fmla="*/ 566737 w 809625"/>
              <a:gd name="connsiteY10" fmla="*/ 249555 h 809625"/>
              <a:gd name="connsiteX11" fmla="*/ 404813 w 809625"/>
              <a:gd name="connsiteY11" fmla="*/ 0 h 809625"/>
              <a:gd name="connsiteX12" fmla="*/ 809625 w 809625"/>
              <a:gd name="connsiteY12" fmla="*/ 404813 h 809625"/>
              <a:gd name="connsiteX13" fmla="*/ 404813 w 809625"/>
              <a:gd name="connsiteY13" fmla="*/ 809625 h 809625"/>
              <a:gd name="connsiteX14" fmla="*/ 0 w 809625"/>
              <a:gd name="connsiteY14" fmla="*/ 404813 h 809625"/>
              <a:gd name="connsiteX15" fmla="*/ 404813 w 809625"/>
              <a:gd name="connsiteY15" fmla="*/ 0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809625" h="809625">
                <a:moveTo>
                  <a:pt x="357950" y="333375"/>
                </a:moveTo>
                <a:lnTo>
                  <a:pt x="480537" y="397002"/>
                </a:lnTo>
                <a:lnTo>
                  <a:pt x="357950" y="460439"/>
                </a:lnTo>
                <a:close/>
                <a:moveTo>
                  <a:pt x="242887" y="249555"/>
                </a:moveTo>
                <a:cubicBezTo>
                  <a:pt x="207159" y="249660"/>
                  <a:pt x="178222" y="278597"/>
                  <a:pt x="178117" y="314325"/>
                </a:cubicBezTo>
                <a:lnTo>
                  <a:pt x="178117" y="495300"/>
                </a:lnTo>
                <a:cubicBezTo>
                  <a:pt x="178222" y="531028"/>
                  <a:pt x="207159" y="559965"/>
                  <a:pt x="242887" y="560070"/>
                </a:cubicBezTo>
                <a:lnTo>
                  <a:pt x="566737" y="560070"/>
                </a:lnTo>
                <a:cubicBezTo>
                  <a:pt x="602465" y="559965"/>
                  <a:pt x="631402" y="531028"/>
                  <a:pt x="631507" y="495300"/>
                </a:cubicBezTo>
                <a:lnTo>
                  <a:pt x="631507" y="314325"/>
                </a:lnTo>
                <a:cubicBezTo>
                  <a:pt x="631402" y="278597"/>
                  <a:pt x="602465" y="249660"/>
                  <a:pt x="566737" y="249555"/>
                </a:cubicBezTo>
                <a:close/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2487C176-18A9-4BB0-BD80-DEC34233A800}"/>
              </a:ext>
            </a:extLst>
          </p:cNvPr>
          <p:cNvSpPr>
            <a:spLocks noChangeAspect="1"/>
          </p:cNvSpPr>
          <p:nvPr/>
        </p:nvSpPr>
        <p:spPr>
          <a:xfrm>
            <a:off x="8298996" y="4501548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495146 w 809625"/>
              <a:gd name="connsiteY5" fmla="*/ 220645 h 809625"/>
              <a:gd name="connsiteX6" fmla="*/ 428527 w 809625"/>
              <a:gd name="connsiteY6" fmla="*/ 245841 h 809625"/>
              <a:gd name="connsiteX7" fmla="*/ 399192 w 809625"/>
              <a:gd name="connsiteY7" fmla="*/ 313563 h 809625"/>
              <a:gd name="connsiteX8" fmla="*/ 401573 w 809625"/>
              <a:gd name="connsiteY8" fmla="*/ 334803 h 809625"/>
              <a:gd name="connsiteX9" fmla="*/ 209549 w 809625"/>
              <a:gd name="connsiteY9" fmla="*/ 238125 h 809625"/>
              <a:gd name="connsiteX10" fmla="*/ 238124 w 809625"/>
              <a:gd name="connsiteY10" fmla="*/ 361950 h 809625"/>
              <a:gd name="connsiteX11" fmla="*/ 195928 w 809625"/>
              <a:gd name="connsiteY11" fmla="*/ 350329 h 809625"/>
              <a:gd name="connsiteX12" fmla="*/ 195929 w 809625"/>
              <a:gd name="connsiteY12" fmla="*/ 351567 h 809625"/>
              <a:gd name="connsiteX13" fmla="*/ 270605 w 809625"/>
              <a:gd name="connsiteY13" fmla="*/ 442722 h 809625"/>
              <a:gd name="connsiteX14" fmla="*/ 228599 w 809625"/>
              <a:gd name="connsiteY14" fmla="*/ 444341 h 809625"/>
              <a:gd name="connsiteX15" fmla="*/ 315467 w 809625"/>
              <a:gd name="connsiteY15" fmla="*/ 508920 h 809625"/>
              <a:gd name="connsiteX16" fmla="*/ 200024 w 809625"/>
              <a:gd name="connsiteY16" fmla="*/ 548544 h 809625"/>
              <a:gd name="connsiteX17" fmla="*/ 177831 w 809625"/>
              <a:gd name="connsiteY17" fmla="*/ 547211 h 809625"/>
              <a:gd name="connsiteX18" fmla="*/ 320706 w 809625"/>
              <a:gd name="connsiteY18" fmla="*/ 589026 h 809625"/>
              <a:gd name="connsiteX19" fmla="*/ 585406 w 809625"/>
              <a:gd name="connsiteY19" fmla="*/ 324421 h 809625"/>
              <a:gd name="connsiteX20" fmla="*/ 585406 w 809625"/>
              <a:gd name="connsiteY20" fmla="*/ 312324 h 809625"/>
              <a:gd name="connsiteX21" fmla="*/ 631507 w 809625"/>
              <a:gd name="connsiteY21" fmla="*/ 264223 h 809625"/>
              <a:gd name="connsiteX22" fmla="*/ 578072 w 809625"/>
              <a:gd name="connsiteY22" fmla="*/ 278892 h 809625"/>
              <a:gd name="connsiteX23" fmla="*/ 619124 w 809625"/>
              <a:gd name="connsiteY23" fmla="*/ 227361 h 809625"/>
              <a:gd name="connsiteX24" fmla="*/ 560069 w 809625"/>
              <a:gd name="connsiteY24" fmla="*/ 249936 h 809625"/>
              <a:gd name="connsiteX25" fmla="*/ 495146 w 809625"/>
              <a:gd name="connsiteY25" fmla="*/ 220645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495146" y="220645"/>
                </a:moveTo>
                <a:cubicBezTo>
                  <a:pt x="471342" y="219904"/>
                  <a:pt x="447255" y="228245"/>
                  <a:pt x="428527" y="245841"/>
                </a:cubicBezTo>
                <a:cubicBezTo>
                  <a:pt x="409833" y="263407"/>
                  <a:pt x="399219" y="287911"/>
                  <a:pt x="399192" y="313563"/>
                </a:cubicBezTo>
                <a:cubicBezTo>
                  <a:pt x="399204" y="320709"/>
                  <a:pt x="400003" y="327832"/>
                  <a:pt x="401573" y="334803"/>
                </a:cubicBezTo>
                <a:cubicBezTo>
                  <a:pt x="326768" y="331204"/>
                  <a:pt x="256991" y="296073"/>
                  <a:pt x="209549" y="238125"/>
                </a:cubicBezTo>
                <a:cubicBezTo>
                  <a:pt x="185023" y="280491"/>
                  <a:pt x="197513" y="334615"/>
                  <a:pt x="238124" y="361950"/>
                </a:cubicBezTo>
                <a:cubicBezTo>
                  <a:pt x="223336" y="361482"/>
                  <a:pt x="208871" y="357499"/>
                  <a:pt x="195928" y="350329"/>
                </a:cubicBezTo>
                <a:lnTo>
                  <a:pt x="195929" y="351567"/>
                </a:lnTo>
                <a:cubicBezTo>
                  <a:pt x="195962" y="395849"/>
                  <a:pt x="227195" y="433974"/>
                  <a:pt x="270605" y="442722"/>
                </a:cubicBezTo>
                <a:cubicBezTo>
                  <a:pt x="256901" y="446399"/>
                  <a:pt x="242546" y="446952"/>
                  <a:pt x="228599" y="444341"/>
                </a:cubicBezTo>
                <a:cubicBezTo>
                  <a:pt x="240745" y="482243"/>
                  <a:pt x="275672" y="508209"/>
                  <a:pt x="315467" y="508920"/>
                </a:cubicBezTo>
                <a:cubicBezTo>
                  <a:pt x="282513" y="534690"/>
                  <a:pt x="241858" y="548644"/>
                  <a:pt x="200024" y="548544"/>
                </a:cubicBezTo>
                <a:cubicBezTo>
                  <a:pt x="192607" y="548536"/>
                  <a:pt x="185196" y="548091"/>
                  <a:pt x="177831" y="547211"/>
                </a:cubicBezTo>
                <a:cubicBezTo>
                  <a:pt x="220421" y="574649"/>
                  <a:pt x="270043" y="589172"/>
                  <a:pt x="320706" y="589026"/>
                </a:cubicBezTo>
                <a:cubicBezTo>
                  <a:pt x="492156" y="589026"/>
                  <a:pt x="585406" y="447294"/>
                  <a:pt x="585406" y="324421"/>
                </a:cubicBezTo>
                <a:cubicBezTo>
                  <a:pt x="585406" y="320325"/>
                  <a:pt x="585406" y="316325"/>
                  <a:pt x="585406" y="312324"/>
                </a:cubicBezTo>
                <a:cubicBezTo>
                  <a:pt x="603503" y="299151"/>
                  <a:pt x="619113" y="282863"/>
                  <a:pt x="631507" y="264223"/>
                </a:cubicBezTo>
                <a:cubicBezTo>
                  <a:pt x="614513" y="271713"/>
                  <a:pt x="596508" y="276656"/>
                  <a:pt x="578072" y="278892"/>
                </a:cubicBezTo>
                <a:cubicBezTo>
                  <a:pt x="597588" y="267302"/>
                  <a:pt x="612190" y="248974"/>
                  <a:pt x="619124" y="227361"/>
                </a:cubicBezTo>
                <a:cubicBezTo>
                  <a:pt x="600877" y="238213"/>
                  <a:pt x="580902" y="245848"/>
                  <a:pt x="560069" y="249936"/>
                </a:cubicBezTo>
                <a:cubicBezTo>
                  <a:pt x="542473" y="231209"/>
                  <a:pt x="518951" y="221387"/>
                  <a:pt x="495146" y="22064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41393088-2A2D-4F19-A536-4C5B46718A69}"/>
              </a:ext>
            </a:extLst>
          </p:cNvPr>
          <p:cNvSpPr>
            <a:spLocks noChangeAspect="1"/>
          </p:cNvSpPr>
          <p:nvPr userDrawn="1"/>
        </p:nvSpPr>
        <p:spPr>
          <a:xfrm>
            <a:off x="8681340" y="4501548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230981 w 809625"/>
              <a:gd name="connsiteY5" fmla="*/ 177069 h 809625"/>
              <a:gd name="connsiteX6" fmla="*/ 176498 w 809625"/>
              <a:gd name="connsiteY6" fmla="*/ 231552 h 809625"/>
              <a:gd name="connsiteX7" fmla="*/ 230981 w 809625"/>
              <a:gd name="connsiteY7" fmla="*/ 286035 h 809625"/>
              <a:gd name="connsiteX8" fmla="*/ 285464 w 809625"/>
              <a:gd name="connsiteY8" fmla="*/ 231552 h 809625"/>
              <a:gd name="connsiteX9" fmla="*/ 230981 w 809625"/>
              <a:gd name="connsiteY9" fmla="*/ 177069 h 809625"/>
              <a:gd name="connsiteX10" fmla="*/ 517493 w 809625"/>
              <a:gd name="connsiteY10" fmla="*/ 319849 h 809625"/>
              <a:gd name="connsiteX11" fmla="*/ 428625 w 809625"/>
              <a:gd name="connsiteY11" fmla="*/ 368617 h 809625"/>
              <a:gd name="connsiteX12" fmla="*/ 426910 w 809625"/>
              <a:gd name="connsiteY12" fmla="*/ 368617 h 809625"/>
              <a:gd name="connsiteX13" fmla="*/ 426910 w 809625"/>
              <a:gd name="connsiteY13" fmla="*/ 327278 h 809625"/>
              <a:gd name="connsiteX14" fmla="*/ 336899 w 809625"/>
              <a:gd name="connsiteY14" fmla="*/ 327278 h 809625"/>
              <a:gd name="connsiteX15" fmla="*/ 336899 w 809625"/>
              <a:gd name="connsiteY15" fmla="*/ 629602 h 809625"/>
              <a:gd name="connsiteX16" fmla="*/ 430720 w 809625"/>
              <a:gd name="connsiteY16" fmla="*/ 629602 h 809625"/>
              <a:gd name="connsiteX17" fmla="*/ 430720 w 809625"/>
              <a:gd name="connsiteY17" fmla="*/ 480059 h 809625"/>
              <a:gd name="connsiteX18" fmla="*/ 487108 w 809625"/>
              <a:gd name="connsiteY18" fmla="*/ 402430 h 809625"/>
              <a:gd name="connsiteX19" fmla="*/ 535876 w 809625"/>
              <a:gd name="connsiteY19" fmla="*/ 482631 h 809625"/>
              <a:gd name="connsiteX20" fmla="*/ 535876 w 809625"/>
              <a:gd name="connsiteY20" fmla="*/ 629602 h 809625"/>
              <a:gd name="connsiteX21" fmla="*/ 630174 w 809625"/>
              <a:gd name="connsiteY21" fmla="*/ 629602 h 809625"/>
              <a:gd name="connsiteX22" fmla="*/ 630174 w 809625"/>
              <a:gd name="connsiteY22" fmla="*/ 463771 h 809625"/>
              <a:gd name="connsiteX23" fmla="*/ 517493 w 809625"/>
              <a:gd name="connsiteY23" fmla="*/ 319849 h 809625"/>
              <a:gd name="connsiteX24" fmla="*/ 183927 w 809625"/>
              <a:gd name="connsiteY24" fmla="*/ 327278 h 809625"/>
              <a:gd name="connsiteX25" fmla="*/ 183927 w 809625"/>
              <a:gd name="connsiteY25" fmla="*/ 629602 h 809625"/>
              <a:gd name="connsiteX26" fmla="*/ 277939 w 809625"/>
              <a:gd name="connsiteY26" fmla="*/ 629602 h 809625"/>
              <a:gd name="connsiteX27" fmla="*/ 277939 w 809625"/>
              <a:gd name="connsiteY27" fmla="*/ 327278 h 809625"/>
              <a:gd name="connsiteX28" fmla="*/ 183927 w 809625"/>
              <a:gd name="connsiteY28" fmla="*/ 327278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230981" y="177069"/>
                </a:moveTo>
                <a:cubicBezTo>
                  <a:pt x="200891" y="177069"/>
                  <a:pt x="176498" y="201462"/>
                  <a:pt x="176498" y="231552"/>
                </a:cubicBezTo>
                <a:cubicBezTo>
                  <a:pt x="176498" y="261642"/>
                  <a:pt x="200891" y="286035"/>
                  <a:pt x="230981" y="286035"/>
                </a:cubicBezTo>
                <a:cubicBezTo>
                  <a:pt x="261071" y="286035"/>
                  <a:pt x="285464" y="261642"/>
                  <a:pt x="285464" y="231552"/>
                </a:cubicBezTo>
                <a:cubicBezTo>
                  <a:pt x="285464" y="201462"/>
                  <a:pt x="261071" y="177069"/>
                  <a:pt x="230981" y="177069"/>
                </a:cubicBezTo>
                <a:close/>
                <a:moveTo>
                  <a:pt x="517493" y="319849"/>
                </a:moveTo>
                <a:cubicBezTo>
                  <a:pt x="481146" y="318484"/>
                  <a:pt x="446996" y="337225"/>
                  <a:pt x="428625" y="368617"/>
                </a:cubicBezTo>
                <a:lnTo>
                  <a:pt x="426910" y="368617"/>
                </a:lnTo>
                <a:lnTo>
                  <a:pt x="426910" y="327278"/>
                </a:lnTo>
                <a:lnTo>
                  <a:pt x="336899" y="327278"/>
                </a:lnTo>
                <a:lnTo>
                  <a:pt x="336899" y="629602"/>
                </a:lnTo>
                <a:lnTo>
                  <a:pt x="430720" y="629602"/>
                </a:lnTo>
                <a:lnTo>
                  <a:pt x="430720" y="480059"/>
                </a:lnTo>
                <a:cubicBezTo>
                  <a:pt x="430720" y="440530"/>
                  <a:pt x="438912" y="402430"/>
                  <a:pt x="487108" y="402430"/>
                </a:cubicBezTo>
                <a:cubicBezTo>
                  <a:pt x="535305" y="402430"/>
                  <a:pt x="535876" y="447579"/>
                  <a:pt x="535876" y="482631"/>
                </a:cubicBezTo>
                <a:lnTo>
                  <a:pt x="535876" y="629602"/>
                </a:lnTo>
                <a:lnTo>
                  <a:pt x="630174" y="629602"/>
                </a:lnTo>
                <a:lnTo>
                  <a:pt x="630174" y="463771"/>
                </a:lnTo>
                <a:cubicBezTo>
                  <a:pt x="630174" y="382428"/>
                  <a:pt x="612743" y="319849"/>
                  <a:pt x="517493" y="319849"/>
                </a:cubicBezTo>
                <a:close/>
                <a:moveTo>
                  <a:pt x="183927" y="327278"/>
                </a:moveTo>
                <a:lnTo>
                  <a:pt x="183927" y="629602"/>
                </a:lnTo>
                <a:lnTo>
                  <a:pt x="277939" y="629602"/>
                </a:lnTo>
                <a:lnTo>
                  <a:pt x="277939" y="327278"/>
                </a:lnTo>
                <a:lnTo>
                  <a:pt x="183927" y="32727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F1F78FC3-536A-4C34-B2A3-95085DF38A8D}"/>
              </a:ext>
            </a:extLst>
          </p:cNvPr>
          <p:cNvSpPr>
            <a:spLocks noChangeAspect="1"/>
          </p:cNvSpPr>
          <p:nvPr userDrawn="1"/>
        </p:nvSpPr>
        <p:spPr>
          <a:xfrm>
            <a:off x="9063685" y="4501548"/>
            <a:ext cx="242382" cy="242382"/>
          </a:xfrm>
          <a:custGeom>
            <a:avLst/>
            <a:gdLst>
              <a:gd name="connsiteX0" fmla="*/ 404812 w 809625"/>
              <a:gd name="connsiteY0" fmla="*/ 288417 h 809625"/>
              <a:gd name="connsiteX1" fmla="*/ 288417 w 809625"/>
              <a:gd name="connsiteY1" fmla="*/ 404812 h 809625"/>
              <a:gd name="connsiteX2" fmla="*/ 404812 w 809625"/>
              <a:gd name="connsiteY2" fmla="*/ 521208 h 809625"/>
              <a:gd name="connsiteX3" fmla="*/ 521208 w 809625"/>
              <a:gd name="connsiteY3" fmla="*/ 404812 h 809625"/>
              <a:gd name="connsiteX4" fmla="*/ 404812 w 809625"/>
              <a:gd name="connsiteY4" fmla="*/ 288417 h 809625"/>
              <a:gd name="connsiteX5" fmla="*/ 525780 w 809625"/>
              <a:gd name="connsiteY5" fmla="*/ 256603 h 809625"/>
              <a:gd name="connsiteX6" fmla="*/ 498538 w 809625"/>
              <a:gd name="connsiteY6" fmla="*/ 283844 h 809625"/>
              <a:gd name="connsiteX7" fmla="*/ 525780 w 809625"/>
              <a:gd name="connsiteY7" fmla="*/ 311086 h 809625"/>
              <a:gd name="connsiteX8" fmla="*/ 553021 w 809625"/>
              <a:gd name="connsiteY8" fmla="*/ 283844 h 809625"/>
              <a:gd name="connsiteX9" fmla="*/ 525780 w 809625"/>
              <a:gd name="connsiteY9" fmla="*/ 256603 h 809625"/>
              <a:gd name="connsiteX10" fmla="*/ 404812 w 809625"/>
              <a:gd name="connsiteY10" fmla="*/ 219075 h 809625"/>
              <a:gd name="connsiteX11" fmla="*/ 496443 w 809625"/>
              <a:gd name="connsiteY11" fmla="*/ 220408 h 809625"/>
              <a:gd name="connsiteX12" fmla="*/ 538543 w 809625"/>
              <a:gd name="connsiteY12" fmla="*/ 228218 h 809625"/>
              <a:gd name="connsiteX13" fmla="*/ 581501 w 809625"/>
              <a:gd name="connsiteY13" fmla="*/ 271176 h 809625"/>
              <a:gd name="connsiteX14" fmla="*/ 589311 w 809625"/>
              <a:gd name="connsiteY14" fmla="*/ 313277 h 809625"/>
              <a:gd name="connsiteX15" fmla="*/ 590645 w 809625"/>
              <a:gd name="connsiteY15" fmla="*/ 404907 h 809625"/>
              <a:gd name="connsiteX16" fmla="*/ 589311 w 809625"/>
              <a:gd name="connsiteY16" fmla="*/ 496538 h 809625"/>
              <a:gd name="connsiteX17" fmla="*/ 581501 w 809625"/>
              <a:gd name="connsiteY17" fmla="*/ 538638 h 809625"/>
              <a:gd name="connsiteX18" fmla="*/ 538543 w 809625"/>
              <a:gd name="connsiteY18" fmla="*/ 581596 h 809625"/>
              <a:gd name="connsiteX19" fmla="*/ 496443 w 809625"/>
              <a:gd name="connsiteY19" fmla="*/ 589406 h 809625"/>
              <a:gd name="connsiteX20" fmla="*/ 404812 w 809625"/>
              <a:gd name="connsiteY20" fmla="*/ 590740 h 809625"/>
              <a:gd name="connsiteX21" fmla="*/ 313182 w 809625"/>
              <a:gd name="connsiteY21" fmla="*/ 589407 h 809625"/>
              <a:gd name="connsiteX22" fmla="*/ 271081 w 809625"/>
              <a:gd name="connsiteY22" fmla="*/ 581596 h 809625"/>
              <a:gd name="connsiteX23" fmla="*/ 228600 w 809625"/>
              <a:gd name="connsiteY23" fmla="*/ 538543 h 809625"/>
              <a:gd name="connsiteX24" fmla="*/ 220789 w 809625"/>
              <a:gd name="connsiteY24" fmla="*/ 496443 h 809625"/>
              <a:gd name="connsiteX25" fmla="*/ 219075 w 809625"/>
              <a:gd name="connsiteY25" fmla="*/ 404812 h 809625"/>
              <a:gd name="connsiteX26" fmla="*/ 220408 w 809625"/>
              <a:gd name="connsiteY26" fmla="*/ 313182 h 809625"/>
              <a:gd name="connsiteX27" fmla="*/ 228600 w 809625"/>
              <a:gd name="connsiteY27" fmla="*/ 271081 h 809625"/>
              <a:gd name="connsiteX28" fmla="*/ 271081 w 809625"/>
              <a:gd name="connsiteY28" fmla="*/ 228600 h 809625"/>
              <a:gd name="connsiteX29" fmla="*/ 313181 w 809625"/>
              <a:gd name="connsiteY29" fmla="*/ 220789 h 809625"/>
              <a:gd name="connsiteX30" fmla="*/ 404812 w 809625"/>
              <a:gd name="connsiteY30" fmla="*/ 219075 h 809625"/>
              <a:gd name="connsiteX31" fmla="*/ 405669 w 809625"/>
              <a:gd name="connsiteY31" fmla="*/ 177736 h 809625"/>
              <a:gd name="connsiteX32" fmla="*/ 404812 w 809625"/>
              <a:gd name="connsiteY32" fmla="*/ 178212 h 809625"/>
              <a:gd name="connsiteX33" fmla="*/ 311372 w 809625"/>
              <a:gd name="connsiteY33" fmla="*/ 179546 h 809625"/>
              <a:gd name="connsiteX34" fmla="*/ 256317 w 809625"/>
              <a:gd name="connsiteY34" fmla="*/ 190500 h 809625"/>
              <a:gd name="connsiteX35" fmla="*/ 189642 w 809625"/>
              <a:gd name="connsiteY35" fmla="*/ 257175 h 809625"/>
              <a:gd name="connsiteX36" fmla="*/ 179069 w 809625"/>
              <a:gd name="connsiteY36" fmla="*/ 312229 h 809625"/>
              <a:gd name="connsiteX37" fmla="*/ 177736 w 809625"/>
              <a:gd name="connsiteY37" fmla="*/ 405669 h 809625"/>
              <a:gd name="connsiteX38" fmla="*/ 179069 w 809625"/>
              <a:gd name="connsiteY38" fmla="*/ 499110 h 809625"/>
              <a:gd name="connsiteX39" fmla="*/ 190500 w 809625"/>
              <a:gd name="connsiteY39" fmla="*/ 553307 h 809625"/>
              <a:gd name="connsiteX40" fmla="*/ 257175 w 809625"/>
              <a:gd name="connsiteY40" fmla="*/ 619982 h 809625"/>
              <a:gd name="connsiteX41" fmla="*/ 312229 w 809625"/>
              <a:gd name="connsiteY41" fmla="*/ 630554 h 809625"/>
              <a:gd name="connsiteX42" fmla="*/ 405669 w 809625"/>
              <a:gd name="connsiteY42" fmla="*/ 631888 h 809625"/>
              <a:gd name="connsiteX43" fmla="*/ 499110 w 809625"/>
              <a:gd name="connsiteY43" fmla="*/ 630554 h 809625"/>
              <a:gd name="connsiteX44" fmla="*/ 554164 w 809625"/>
              <a:gd name="connsiteY44" fmla="*/ 619982 h 809625"/>
              <a:gd name="connsiteX45" fmla="*/ 620839 w 809625"/>
              <a:gd name="connsiteY45" fmla="*/ 553307 h 809625"/>
              <a:gd name="connsiteX46" fmla="*/ 631412 w 809625"/>
              <a:gd name="connsiteY46" fmla="*/ 498252 h 809625"/>
              <a:gd name="connsiteX47" fmla="*/ 632745 w 809625"/>
              <a:gd name="connsiteY47" fmla="*/ 404812 h 809625"/>
              <a:gd name="connsiteX48" fmla="*/ 631412 w 809625"/>
              <a:gd name="connsiteY48" fmla="*/ 311372 h 809625"/>
              <a:gd name="connsiteX49" fmla="*/ 620839 w 809625"/>
              <a:gd name="connsiteY49" fmla="*/ 256317 h 809625"/>
              <a:gd name="connsiteX50" fmla="*/ 554164 w 809625"/>
              <a:gd name="connsiteY50" fmla="*/ 189642 h 809625"/>
              <a:gd name="connsiteX51" fmla="*/ 499110 w 809625"/>
              <a:gd name="connsiteY51" fmla="*/ 179069 h 809625"/>
              <a:gd name="connsiteX52" fmla="*/ 405669 w 809625"/>
              <a:gd name="connsiteY52" fmla="*/ 177736 h 809625"/>
              <a:gd name="connsiteX53" fmla="*/ 404813 w 809625"/>
              <a:gd name="connsiteY53" fmla="*/ 0 h 809625"/>
              <a:gd name="connsiteX54" fmla="*/ 809625 w 809625"/>
              <a:gd name="connsiteY54" fmla="*/ 404813 h 809625"/>
              <a:gd name="connsiteX55" fmla="*/ 404813 w 809625"/>
              <a:gd name="connsiteY55" fmla="*/ 809625 h 809625"/>
              <a:gd name="connsiteX56" fmla="*/ 0 w 809625"/>
              <a:gd name="connsiteY56" fmla="*/ 404813 h 809625"/>
              <a:gd name="connsiteX57" fmla="*/ 404813 w 809625"/>
              <a:gd name="connsiteY57" fmla="*/ 0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809625" h="809625">
                <a:moveTo>
                  <a:pt x="404812" y="288417"/>
                </a:moveTo>
                <a:cubicBezTo>
                  <a:pt x="340529" y="288417"/>
                  <a:pt x="288417" y="340529"/>
                  <a:pt x="288417" y="404812"/>
                </a:cubicBezTo>
                <a:cubicBezTo>
                  <a:pt x="288417" y="469096"/>
                  <a:pt x="340529" y="521208"/>
                  <a:pt x="404812" y="521208"/>
                </a:cubicBezTo>
                <a:cubicBezTo>
                  <a:pt x="469096" y="521208"/>
                  <a:pt x="521208" y="469096"/>
                  <a:pt x="521208" y="404812"/>
                </a:cubicBezTo>
                <a:cubicBezTo>
                  <a:pt x="521208" y="340529"/>
                  <a:pt x="469096" y="288417"/>
                  <a:pt x="404812" y="288417"/>
                </a:cubicBezTo>
                <a:close/>
                <a:moveTo>
                  <a:pt x="525780" y="256603"/>
                </a:moveTo>
                <a:cubicBezTo>
                  <a:pt x="510734" y="256603"/>
                  <a:pt x="498538" y="268799"/>
                  <a:pt x="498538" y="283844"/>
                </a:cubicBezTo>
                <a:cubicBezTo>
                  <a:pt x="498538" y="298890"/>
                  <a:pt x="510734" y="311086"/>
                  <a:pt x="525780" y="311086"/>
                </a:cubicBezTo>
                <a:cubicBezTo>
                  <a:pt x="540825" y="311086"/>
                  <a:pt x="553021" y="298890"/>
                  <a:pt x="553021" y="283844"/>
                </a:cubicBezTo>
                <a:cubicBezTo>
                  <a:pt x="553021" y="268799"/>
                  <a:pt x="540825" y="256603"/>
                  <a:pt x="525780" y="256603"/>
                </a:cubicBezTo>
                <a:close/>
                <a:moveTo>
                  <a:pt x="404812" y="219075"/>
                </a:moveTo>
                <a:cubicBezTo>
                  <a:pt x="465296" y="219075"/>
                  <a:pt x="472535" y="219075"/>
                  <a:pt x="496443" y="220408"/>
                </a:cubicBezTo>
                <a:cubicBezTo>
                  <a:pt x="510824" y="220533"/>
                  <a:pt x="525073" y="223177"/>
                  <a:pt x="538543" y="228218"/>
                </a:cubicBezTo>
                <a:cubicBezTo>
                  <a:pt x="558257" y="235874"/>
                  <a:pt x="573845" y="251463"/>
                  <a:pt x="581501" y="271176"/>
                </a:cubicBezTo>
                <a:cubicBezTo>
                  <a:pt x="586542" y="284646"/>
                  <a:pt x="589186" y="298895"/>
                  <a:pt x="589311" y="313277"/>
                </a:cubicBezTo>
                <a:cubicBezTo>
                  <a:pt x="590454" y="337185"/>
                  <a:pt x="590645" y="344424"/>
                  <a:pt x="590645" y="404907"/>
                </a:cubicBezTo>
                <a:cubicBezTo>
                  <a:pt x="590645" y="465391"/>
                  <a:pt x="590645" y="472630"/>
                  <a:pt x="589311" y="496538"/>
                </a:cubicBezTo>
                <a:cubicBezTo>
                  <a:pt x="589186" y="510920"/>
                  <a:pt x="586543" y="525168"/>
                  <a:pt x="581501" y="538638"/>
                </a:cubicBezTo>
                <a:cubicBezTo>
                  <a:pt x="573845" y="558352"/>
                  <a:pt x="558257" y="573940"/>
                  <a:pt x="538543" y="581596"/>
                </a:cubicBezTo>
                <a:cubicBezTo>
                  <a:pt x="525073" y="586638"/>
                  <a:pt x="510824" y="589281"/>
                  <a:pt x="496443" y="589406"/>
                </a:cubicBezTo>
                <a:cubicBezTo>
                  <a:pt x="472535" y="590550"/>
                  <a:pt x="465391" y="590740"/>
                  <a:pt x="404812" y="590740"/>
                </a:cubicBezTo>
                <a:cubicBezTo>
                  <a:pt x="344233" y="590740"/>
                  <a:pt x="337089" y="590740"/>
                  <a:pt x="313182" y="589407"/>
                </a:cubicBezTo>
                <a:cubicBezTo>
                  <a:pt x="298800" y="589281"/>
                  <a:pt x="284551" y="586638"/>
                  <a:pt x="271081" y="581596"/>
                </a:cubicBezTo>
                <a:cubicBezTo>
                  <a:pt x="251529" y="573808"/>
                  <a:pt x="236125" y="558197"/>
                  <a:pt x="228600" y="538543"/>
                </a:cubicBezTo>
                <a:cubicBezTo>
                  <a:pt x="223558" y="525073"/>
                  <a:pt x="220914" y="510824"/>
                  <a:pt x="220789" y="496443"/>
                </a:cubicBezTo>
                <a:cubicBezTo>
                  <a:pt x="219075" y="472535"/>
                  <a:pt x="219075" y="465296"/>
                  <a:pt x="219075" y="404812"/>
                </a:cubicBezTo>
                <a:cubicBezTo>
                  <a:pt x="219075" y="344328"/>
                  <a:pt x="219075" y="337089"/>
                  <a:pt x="220408" y="313182"/>
                </a:cubicBezTo>
                <a:cubicBezTo>
                  <a:pt x="220655" y="298777"/>
                  <a:pt x="223428" y="284527"/>
                  <a:pt x="228600" y="271081"/>
                </a:cubicBezTo>
                <a:cubicBezTo>
                  <a:pt x="236258" y="251643"/>
                  <a:pt x="251643" y="236258"/>
                  <a:pt x="271081" y="228600"/>
                </a:cubicBezTo>
                <a:cubicBezTo>
                  <a:pt x="284551" y="223558"/>
                  <a:pt x="298800" y="220914"/>
                  <a:pt x="313181" y="220789"/>
                </a:cubicBezTo>
                <a:cubicBezTo>
                  <a:pt x="337089" y="219075"/>
                  <a:pt x="344328" y="219075"/>
                  <a:pt x="404812" y="219075"/>
                </a:cubicBezTo>
                <a:close/>
                <a:moveTo>
                  <a:pt x="405669" y="177736"/>
                </a:moveTo>
                <a:lnTo>
                  <a:pt x="404812" y="178212"/>
                </a:lnTo>
                <a:cubicBezTo>
                  <a:pt x="343281" y="178212"/>
                  <a:pt x="335565" y="178212"/>
                  <a:pt x="311372" y="179546"/>
                </a:cubicBezTo>
                <a:cubicBezTo>
                  <a:pt x="292533" y="180057"/>
                  <a:pt x="273917" y="183760"/>
                  <a:pt x="256317" y="190500"/>
                </a:cubicBezTo>
                <a:cubicBezTo>
                  <a:pt x="225602" y="202200"/>
                  <a:pt x="201343" y="226459"/>
                  <a:pt x="189642" y="257175"/>
                </a:cubicBezTo>
                <a:cubicBezTo>
                  <a:pt x="183033" y="274797"/>
                  <a:pt x="179458" y="293412"/>
                  <a:pt x="179069" y="312229"/>
                </a:cubicBezTo>
                <a:cubicBezTo>
                  <a:pt x="178022" y="336423"/>
                  <a:pt x="177736" y="344138"/>
                  <a:pt x="177736" y="405669"/>
                </a:cubicBezTo>
                <a:cubicBezTo>
                  <a:pt x="177736" y="467201"/>
                  <a:pt x="177736" y="474916"/>
                  <a:pt x="179069" y="499110"/>
                </a:cubicBezTo>
                <a:cubicBezTo>
                  <a:pt x="179828" y="517687"/>
                  <a:pt x="183692" y="536005"/>
                  <a:pt x="190500" y="553307"/>
                </a:cubicBezTo>
                <a:cubicBezTo>
                  <a:pt x="202200" y="584022"/>
                  <a:pt x="226459" y="608281"/>
                  <a:pt x="257175" y="619982"/>
                </a:cubicBezTo>
                <a:cubicBezTo>
                  <a:pt x="274797" y="626591"/>
                  <a:pt x="293412" y="630165"/>
                  <a:pt x="312229" y="630554"/>
                </a:cubicBezTo>
                <a:cubicBezTo>
                  <a:pt x="336423" y="631602"/>
                  <a:pt x="344138" y="631888"/>
                  <a:pt x="405669" y="631888"/>
                </a:cubicBezTo>
                <a:cubicBezTo>
                  <a:pt x="467201" y="631888"/>
                  <a:pt x="474916" y="631888"/>
                  <a:pt x="499110" y="630554"/>
                </a:cubicBezTo>
                <a:cubicBezTo>
                  <a:pt x="517927" y="630165"/>
                  <a:pt x="536542" y="626591"/>
                  <a:pt x="554164" y="619982"/>
                </a:cubicBezTo>
                <a:cubicBezTo>
                  <a:pt x="584880" y="608281"/>
                  <a:pt x="609138" y="584022"/>
                  <a:pt x="620839" y="553307"/>
                </a:cubicBezTo>
                <a:cubicBezTo>
                  <a:pt x="627448" y="535684"/>
                  <a:pt x="631023" y="517069"/>
                  <a:pt x="631412" y="498252"/>
                </a:cubicBezTo>
                <a:cubicBezTo>
                  <a:pt x="632460" y="474059"/>
                  <a:pt x="632745" y="466344"/>
                  <a:pt x="632745" y="404812"/>
                </a:cubicBezTo>
                <a:cubicBezTo>
                  <a:pt x="632745" y="343281"/>
                  <a:pt x="632745" y="335565"/>
                  <a:pt x="631412" y="311372"/>
                </a:cubicBezTo>
                <a:cubicBezTo>
                  <a:pt x="631023" y="292555"/>
                  <a:pt x="627448" y="273940"/>
                  <a:pt x="620839" y="256317"/>
                </a:cubicBezTo>
                <a:cubicBezTo>
                  <a:pt x="609138" y="225602"/>
                  <a:pt x="584880" y="201343"/>
                  <a:pt x="554164" y="189642"/>
                </a:cubicBezTo>
                <a:cubicBezTo>
                  <a:pt x="536542" y="183033"/>
                  <a:pt x="517927" y="179458"/>
                  <a:pt x="499110" y="179069"/>
                </a:cubicBezTo>
                <a:cubicBezTo>
                  <a:pt x="474916" y="178022"/>
                  <a:pt x="467201" y="177736"/>
                  <a:pt x="405669" y="177736"/>
                </a:cubicBezTo>
                <a:close/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37645F6A-EDD9-42D2-A01C-F8414798D57C}"/>
              </a:ext>
            </a:extLst>
          </p:cNvPr>
          <p:cNvSpPr>
            <a:spLocks noChangeAspect="1"/>
          </p:cNvSpPr>
          <p:nvPr/>
        </p:nvSpPr>
        <p:spPr>
          <a:xfrm>
            <a:off x="9446029" y="4501548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207835 w 809625"/>
              <a:gd name="connsiteY5" fmla="*/ 183451 h 809625"/>
              <a:gd name="connsiteX6" fmla="*/ 183451 w 809625"/>
              <a:gd name="connsiteY6" fmla="*/ 207835 h 809625"/>
              <a:gd name="connsiteX7" fmla="*/ 183451 w 809625"/>
              <a:gd name="connsiteY7" fmla="*/ 601789 h 809625"/>
              <a:gd name="connsiteX8" fmla="*/ 207835 w 809625"/>
              <a:gd name="connsiteY8" fmla="*/ 626173 h 809625"/>
              <a:gd name="connsiteX9" fmla="*/ 419957 w 809625"/>
              <a:gd name="connsiteY9" fmla="*/ 626173 h 809625"/>
              <a:gd name="connsiteX10" fmla="*/ 419957 w 809625"/>
              <a:gd name="connsiteY10" fmla="*/ 454723 h 809625"/>
              <a:gd name="connsiteX11" fmla="*/ 361950 w 809625"/>
              <a:gd name="connsiteY11" fmla="*/ 454723 h 809625"/>
              <a:gd name="connsiteX12" fmla="*/ 361950 w 809625"/>
              <a:gd name="connsiteY12" fmla="*/ 388048 h 809625"/>
              <a:gd name="connsiteX13" fmla="*/ 419671 w 809625"/>
              <a:gd name="connsiteY13" fmla="*/ 388048 h 809625"/>
              <a:gd name="connsiteX14" fmla="*/ 419671 w 809625"/>
              <a:gd name="connsiteY14" fmla="*/ 338613 h 809625"/>
              <a:gd name="connsiteX15" fmla="*/ 505396 w 809625"/>
              <a:gd name="connsiteY15" fmla="*/ 250317 h 809625"/>
              <a:gd name="connsiteX16" fmla="*/ 556926 w 809625"/>
              <a:gd name="connsiteY16" fmla="*/ 252984 h 809625"/>
              <a:gd name="connsiteX17" fmla="*/ 556926 w 809625"/>
              <a:gd name="connsiteY17" fmla="*/ 312705 h 809625"/>
              <a:gd name="connsiteX18" fmla="*/ 522065 w 809625"/>
              <a:gd name="connsiteY18" fmla="*/ 312705 h 809625"/>
              <a:gd name="connsiteX19" fmla="*/ 488918 w 809625"/>
              <a:gd name="connsiteY19" fmla="*/ 345281 h 809625"/>
              <a:gd name="connsiteX20" fmla="*/ 488918 w 809625"/>
              <a:gd name="connsiteY20" fmla="*/ 387953 h 809625"/>
              <a:gd name="connsiteX21" fmla="*/ 555593 w 809625"/>
              <a:gd name="connsiteY21" fmla="*/ 387953 h 809625"/>
              <a:gd name="connsiteX22" fmla="*/ 546925 w 809625"/>
              <a:gd name="connsiteY22" fmla="*/ 454628 h 809625"/>
              <a:gd name="connsiteX23" fmla="*/ 489775 w 809625"/>
              <a:gd name="connsiteY23" fmla="*/ 454628 h 809625"/>
              <a:gd name="connsiteX24" fmla="*/ 489775 w 809625"/>
              <a:gd name="connsiteY24" fmla="*/ 626078 h 809625"/>
              <a:gd name="connsiteX25" fmla="*/ 601789 w 809625"/>
              <a:gd name="connsiteY25" fmla="*/ 626078 h 809625"/>
              <a:gd name="connsiteX26" fmla="*/ 626173 w 809625"/>
              <a:gd name="connsiteY26" fmla="*/ 601694 h 809625"/>
              <a:gd name="connsiteX27" fmla="*/ 626173 w 809625"/>
              <a:gd name="connsiteY27" fmla="*/ 207835 h 809625"/>
              <a:gd name="connsiteX28" fmla="*/ 601789 w 809625"/>
              <a:gd name="connsiteY28" fmla="*/ 183451 h 809625"/>
              <a:gd name="connsiteX29" fmla="*/ 207835 w 809625"/>
              <a:gd name="connsiteY29" fmla="*/ 183451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207835" y="183451"/>
                </a:moveTo>
                <a:cubicBezTo>
                  <a:pt x="194368" y="183451"/>
                  <a:pt x="183451" y="194368"/>
                  <a:pt x="183451" y="207835"/>
                </a:cubicBezTo>
                <a:lnTo>
                  <a:pt x="183451" y="601789"/>
                </a:lnTo>
                <a:cubicBezTo>
                  <a:pt x="183451" y="615256"/>
                  <a:pt x="194368" y="626173"/>
                  <a:pt x="207835" y="626173"/>
                </a:cubicBezTo>
                <a:lnTo>
                  <a:pt x="419957" y="626173"/>
                </a:lnTo>
                <a:lnTo>
                  <a:pt x="419957" y="454723"/>
                </a:lnTo>
                <a:lnTo>
                  <a:pt x="361950" y="454723"/>
                </a:lnTo>
                <a:lnTo>
                  <a:pt x="361950" y="388048"/>
                </a:lnTo>
                <a:lnTo>
                  <a:pt x="419671" y="388048"/>
                </a:lnTo>
                <a:lnTo>
                  <a:pt x="419671" y="338613"/>
                </a:lnTo>
                <a:cubicBezTo>
                  <a:pt x="419671" y="281463"/>
                  <a:pt x="454533" y="250317"/>
                  <a:pt x="505396" y="250317"/>
                </a:cubicBezTo>
                <a:cubicBezTo>
                  <a:pt x="522609" y="250238"/>
                  <a:pt x="539813" y="251128"/>
                  <a:pt x="556926" y="252984"/>
                </a:cubicBezTo>
                <a:lnTo>
                  <a:pt x="556926" y="312705"/>
                </a:lnTo>
                <a:lnTo>
                  <a:pt x="522065" y="312705"/>
                </a:lnTo>
                <a:cubicBezTo>
                  <a:pt x="494252" y="312705"/>
                  <a:pt x="488918" y="325945"/>
                  <a:pt x="488918" y="345281"/>
                </a:cubicBezTo>
                <a:lnTo>
                  <a:pt x="488918" y="387953"/>
                </a:lnTo>
                <a:lnTo>
                  <a:pt x="555593" y="387953"/>
                </a:lnTo>
                <a:lnTo>
                  <a:pt x="546925" y="454628"/>
                </a:lnTo>
                <a:lnTo>
                  <a:pt x="489775" y="454628"/>
                </a:lnTo>
                <a:lnTo>
                  <a:pt x="489775" y="626078"/>
                </a:lnTo>
                <a:lnTo>
                  <a:pt x="601789" y="626078"/>
                </a:lnTo>
                <a:cubicBezTo>
                  <a:pt x="615256" y="626078"/>
                  <a:pt x="626173" y="615161"/>
                  <a:pt x="626173" y="601694"/>
                </a:cubicBezTo>
                <a:lnTo>
                  <a:pt x="626173" y="207835"/>
                </a:lnTo>
                <a:cubicBezTo>
                  <a:pt x="626173" y="194368"/>
                  <a:pt x="615256" y="183451"/>
                  <a:pt x="601789" y="183451"/>
                </a:cubicBezTo>
                <a:lnTo>
                  <a:pt x="207835" y="183451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2C0FD023-579A-62CD-4A09-817C603D34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4484" y="2549185"/>
            <a:ext cx="1976093" cy="879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5339415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76849F14-4971-4208-82A8-1F0513897926}"/>
              </a:ext>
            </a:extLst>
          </p:cNvPr>
          <p:cNvSpPr/>
          <p:nvPr userDrawn="1"/>
        </p:nvSpPr>
        <p:spPr>
          <a:xfrm>
            <a:off x="719400" y="-2"/>
            <a:ext cx="107532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096AA35B-6D3E-4809-9D78-9CF31081E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9400" y="-2"/>
            <a:ext cx="4680000" cy="4068000"/>
          </a:xfrm>
          <a:solidFill>
            <a:schemeClr val="tx2"/>
          </a:solidFill>
        </p:spPr>
        <p:txBody>
          <a:bodyPr lIns="342000" tIns="342000" rIns="0" bIns="504000" anchor="b" anchorCtr="0"/>
          <a:lstStyle>
            <a:lvl1pPr>
              <a:defRPr sz="4500">
                <a:solidFill>
                  <a:schemeClr val="accent1"/>
                </a:solidFill>
              </a:defRPr>
            </a:lvl1pPr>
          </a:lstStyle>
          <a:p>
            <a:r>
              <a:rPr lang="en-US"/>
              <a:t>Thank you</a:t>
            </a:r>
            <a:endParaRPr lang="en-AU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FD95F930-CD55-469B-9FD0-1150DA73B39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-2"/>
            <a:ext cx="12192000" cy="6876000"/>
          </a:xfrm>
          <a:custGeom>
            <a:avLst/>
            <a:gdLst>
              <a:gd name="connsiteX0" fmla="*/ 114726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472600 w 12192000"/>
              <a:gd name="connsiteY3" fmla="*/ 6858000 h 6858000"/>
              <a:gd name="connsiteX4" fmla="*/ 0 w 12192000"/>
              <a:gd name="connsiteY4" fmla="*/ 0 h 6858000"/>
              <a:gd name="connsiteX5" fmla="*/ 719400 w 12192000"/>
              <a:gd name="connsiteY5" fmla="*/ 0 h 6858000"/>
              <a:gd name="connsiteX6" fmla="*/ 7194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14726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472600" y="6858000"/>
                </a:lnTo>
                <a:close/>
                <a:moveTo>
                  <a:pt x="0" y="0"/>
                </a:moveTo>
                <a:lnTo>
                  <a:pt x="719400" y="0"/>
                </a:lnTo>
                <a:lnTo>
                  <a:pt x="7194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08000" tIns="108000" rIns="115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F8BC909C-567D-4F9C-A0DF-D05DE8F82075}"/>
              </a:ext>
            </a:extLst>
          </p:cNvPr>
          <p:cNvSpPr>
            <a:spLocks noChangeAspect="1"/>
          </p:cNvSpPr>
          <p:nvPr/>
        </p:nvSpPr>
        <p:spPr>
          <a:xfrm>
            <a:off x="7916652" y="4501548"/>
            <a:ext cx="242382" cy="242382"/>
          </a:xfrm>
          <a:custGeom>
            <a:avLst/>
            <a:gdLst>
              <a:gd name="connsiteX0" fmla="*/ 357950 w 809625"/>
              <a:gd name="connsiteY0" fmla="*/ 333375 h 809625"/>
              <a:gd name="connsiteX1" fmla="*/ 480537 w 809625"/>
              <a:gd name="connsiteY1" fmla="*/ 397002 h 809625"/>
              <a:gd name="connsiteX2" fmla="*/ 357950 w 809625"/>
              <a:gd name="connsiteY2" fmla="*/ 460439 h 809625"/>
              <a:gd name="connsiteX3" fmla="*/ 242887 w 809625"/>
              <a:gd name="connsiteY3" fmla="*/ 249555 h 809625"/>
              <a:gd name="connsiteX4" fmla="*/ 178117 w 809625"/>
              <a:gd name="connsiteY4" fmla="*/ 314325 h 809625"/>
              <a:gd name="connsiteX5" fmla="*/ 178117 w 809625"/>
              <a:gd name="connsiteY5" fmla="*/ 495300 h 809625"/>
              <a:gd name="connsiteX6" fmla="*/ 242887 w 809625"/>
              <a:gd name="connsiteY6" fmla="*/ 560070 h 809625"/>
              <a:gd name="connsiteX7" fmla="*/ 566737 w 809625"/>
              <a:gd name="connsiteY7" fmla="*/ 560070 h 809625"/>
              <a:gd name="connsiteX8" fmla="*/ 631507 w 809625"/>
              <a:gd name="connsiteY8" fmla="*/ 495300 h 809625"/>
              <a:gd name="connsiteX9" fmla="*/ 631507 w 809625"/>
              <a:gd name="connsiteY9" fmla="*/ 314325 h 809625"/>
              <a:gd name="connsiteX10" fmla="*/ 566737 w 809625"/>
              <a:gd name="connsiteY10" fmla="*/ 249555 h 809625"/>
              <a:gd name="connsiteX11" fmla="*/ 404813 w 809625"/>
              <a:gd name="connsiteY11" fmla="*/ 0 h 809625"/>
              <a:gd name="connsiteX12" fmla="*/ 809625 w 809625"/>
              <a:gd name="connsiteY12" fmla="*/ 404813 h 809625"/>
              <a:gd name="connsiteX13" fmla="*/ 404813 w 809625"/>
              <a:gd name="connsiteY13" fmla="*/ 809625 h 809625"/>
              <a:gd name="connsiteX14" fmla="*/ 0 w 809625"/>
              <a:gd name="connsiteY14" fmla="*/ 404813 h 809625"/>
              <a:gd name="connsiteX15" fmla="*/ 404813 w 809625"/>
              <a:gd name="connsiteY15" fmla="*/ 0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809625" h="809625">
                <a:moveTo>
                  <a:pt x="357950" y="333375"/>
                </a:moveTo>
                <a:lnTo>
                  <a:pt x="480537" y="397002"/>
                </a:lnTo>
                <a:lnTo>
                  <a:pt x="357950" y="460439"/>
                </a:lnTo>
                <a:close/>
                <a:moveTo>
                  <a:pt x="242887" y="249555"/>
                </a:moveTo>
                <a:cubicBezTo>
                  <a:pt x="207159" y="249660"/>
                  <a:pt x="178222" y="278597"/>
                  <a:pt x="178117" y="314325"/>
                </a:cubicBezTo>
                <a:lnTo>
                  <a:pt x="178117" y="495300"/>
                </a:lnTo>
                <a:cubicBezTo>
                  <a:pt x="178222" y="531028"/>
                  <a:pt x="207159" y="559965"/>
                  <a:pt x="242887" y="560070"/>
                </a:cubicBezTo>
                <a:lnTo>
                  <a:pt x="566737" y="560070"/>
                </a:lnTo>
                <a:cubicBezTo>
                  <a:pt x="602465" y="559965"/>
                  <a:pt x="631402" y="531028"/>
                  <a:pt x="631507" y="495300"/>
                </a:cubicBezTo>
                <a:lnTo>
                  <a:pt x="631507" y="314325"/>
                </a:lnTo>
                <a:cubicBezTo>
                  <a:pt x="631402" y="278597"/>
                  <a:pt x="602465" y="249660"/>
                  <a:pt x="566737" y="249555"/>
                </a:cubicBezTo>
                <a:close/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2487C176-18A9-4BB0-BD80-DEC34233A800}"/>
              </a:ext>
            </a:extLst>
          </p:cNvPr>
          <p:cNvSpPr>
            <a:spLocks noChangeAspect="1"/>
          </p:cNvSpPr>
          <p:nvPr/>
        </p:nvSpPr>
        <p:spPr>
          <a:xfrm>
            <a:off x="8298996" y="4501548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495146 w 809625"/>
              <a:gd name="connsiteY5" fmla="*/ 220645 h 809625"/>
              <a:gd name="connsiteX6" fmla="*/ 428527 w 809625"/>
              <a:gd name="connsiteY6" fmla="*/ 245841 h 809625"/>
              <a:gd name="connsiteX7" fmla="*/ 399192 w 809625"/>
              <a:gd name="connsiteY7" fmla="*/ 313563 h 809625"/>
              <a:gd name="connsiteX8" fmla="*/ 401573 w 809625"/>
              <a:gd name="connsiteY8" fmla="*/ 334803 h 809625"/>
              <a:gd name="connsiteX9" fmla="*/ 209549 w 809625"/>
              <a:gd name="connsiteY9" fmla="*/ 238125 h 809625"/>
              <a:gd name="connsiteX10" fmla="*/ 238124 w 809625"/>
              <a:gd name="connsiteY10" fmla="*/ 361950 h 809625"/>
              <a:gd name="connsiteX11" fmla="*/ 195928 w 809625"/>
              <a:gd name="connsiteY11" fmla="*/ 350329 h 809625"/>
              <a:gd name="connsiteX12" fmla="*/ 195929 w 809625"/>
              <a:gd name="connsiteY12" fmla="*/ 351567 h 809625"/>
              <a:gd name="connsiteX13" fmla="*/ 270605 w 809625"/>
              <a:gd name="connsiteY13" fmla="*/ 442722 h 809625"/>
              <a:gd name="connsiteX14" fmla="*/ 228599 w 809625"/>
              <a:gd name="connsiteY14" fmla="*/ 444341 h 809625"/>
              <a:gd name="connsiteX15" fmla="*/ 315467 w 809625"/>
              <a:gd name="connsiteY15" fmla="*/ 508920 h 809625"/>
              <a:gd name="connsiteX16" fmla="*/ 200024 w 809625"/>
              <a:gd name="connsiteY16" fmla="*/ 548544 h 809625"/>
              <a:gd name="connsiteX17" fmla="*/ 177831 w 809625"/>
              <a:gd name="connsiteY17" fmla="*/ 547211 h 809625"/>
              <a:gd name="connsiteX18" fmla="*/ 320706 w 809625"/>
              <a:gd name="connsiteY18" fmla="*/ 589026 h 809625"/>
              <a:gd name="connsiteX19" fmla="*/ 585406 w 809625"/>
              <a:gd name="connsiteY19" fmla="*/ 324421 h 809625"/>
              <a:gd name="connsiteX20" fmla="*/ 585406 w 809625"/>
              <a:gd name="connsiteY20" fmla="*/ 312324 h 809625"/>
              <a:gd name="connsiteX21" fmla="*/ 631507 w 809625"/>
              <a:gd name="connsiteY21" fmla="*/ 264223 h 809625"/>
              <a:gd name="connsiteX22" fmla="*/ 578072 w 809625"/>
              <a:gd name="connsiteY22" fmla="*/ 278892 h 809625"/>
              <a:gd name="connsiteX23" fmla="*/ 619124 w 809625"/>
              <a:gd name="connsiteY23" fmla="*/ 227361 h 809625"/>
              <a:gd name="connsiteX24" fmla="*/ 560069 w 809625"/>
              <a:gd name="connsiteY24" fmla="*/ 249936 h 809625"/>
              <a:gd name="connsiteX25" fmla="*/ 495146 w 809625"/>
              <a:gd name="connsiteY25" fmla="*/ 220645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495146" y="220645"/>
                </a:moveTo>
                <a:cubicBezTo>
                  <a:pt x="471342" y="219904"/>
                  <a:pt x="447255" y="228245"/>
                  <a:pt x="428527" y="245841"/>
                </a:cubicBezTo>
                <a:cubicBezTo>
                  <a:pt x="409833" y="263407"/>
                  <a:pt x="399219" y="287911"/>
                  <a:pt x="399192" y="313563"/>
                </a:cubicBezTo>
                <a:cubicBezTo>
                  <a:pt x="399204" y="320709"/>
                  <a:pt x="400003" y="327832"/>
                  <a:pt x="401573" y="334803"/>
                </a:cubicBezTo>
                <a:cubicBezTo>
                  <a:pt x="326768" y="331204"/>
                  <a:pt x="256991" y="296073"/>
                  <a:pt x="209549" y="238125"/>
                </a:cubicBezTo>
                <a:cubicBezTo>
                  <a:pt x="185023" y="280491"/>
                  <a:pt x="197513" y="334615"/>
                  <a:pt x="238124" y="361950"/>
                </a:cubicBezTo>
                <a:cubicBezTo>
                  <a:pt x="223336" y="361482"/>
                  <a:pt x="208871" y="357499"/>
                  <a:pt x="195928" y="350329"/>
                </a:cubicBezTo>
                <a:lnTo>
                  <a:pt x="195929" y="351567"/>
                </a:lnTo>
                <a:cubicBezTo>
                  <a:pt x="195962" y="395849"/>
                  <a:pt x="227195" y="433974"/>
                  <a:pt x="270605" y="442722"/>
                </a:cubicBezTo>
                <a:cubicBezTo>
                  <a:pt x="256901" y="446399"/>
                  <a:pt x="242546" y="446952"/>
                  <a:pt x="228599" y="444341"/>
                </a:cubicBezTo>
                <a:cubicBezTo>
                  <a:pt x="240745" y="482243"/>
                  <a:pt x="275672" y="508209"/>
                  <a:pt x="315467" y="508920"/>
                </a:cubicBezTo>
                <a:cubicBezTo>
                  <a:pt x="282513" y="534690"/>
                  <a:pt x="241858" y="548644"/>
                  <a:pt x="200024" y="548544"/>
                </a:cubicBezTo>
                <a:cubicBezTo>
                  <a:pt x="192607" y="548536"/>
                  <a:pt x="185196" y="548091"/>
                  <a:pt x="177831" y="547211"/>
                </a:cubicBezTo>
                <a:cubicBezTo>
                  <a:pt x="220421" y="574649"/>
                  <a:pt x="270043" y="589172"/>
                  <a:pt x="320706" y="589026"/>
                </a:cubicBezTo>
                <a:cubicBezTo>
                  <a:pt x="492156" y="589026"/>
                  <a:pt x="585406" y="447294"/>
                  <a:pt x="585406" y="324421"/>
                </a:cubicBezTo>
                <a:cubicBezTo>
                  <a:pt x="585406" y="320325"/>
                  <a:pt x="585406" y="316325"/>
                  <a:pt x="585406" y="312324"/>
                </a:cubicBezTo>
                <a:cubicBezTo>
                  <a:pt x="603503" y="299151"/>
                  <a:pt x="619113" y="282863"/>
                  <a:pt x="631507" y="264223"/>
                </a:cubicBezTo>
                <a:cubicBezTo>
                  <a:pt x="614513" y="271713"/>
                  <a:pt x="596508" y="276656"/>
                  <a:pt x="578072" y="278892"/>
                </a:cubicBezTo>
                <a:cubicBezTo>
                  <a:pt x="597588" y="267302"/>
                  <a:pt x="612190" y="248974"/>
                  <a:pt x="619124" y="227361"/>
                </a:cubicBezTo>
                <a:cubicBezTo>
                  <a:pt x="600877" y="238213"/>
                  <a:pt x="580902" y="245848"/>
                  <a:pt x="560069" y="249936"/>
                </a:cubicBezTo>
                <a:cubicBezTo>
                  <a:pt x="542473" y="231209"/>
                  <a:pt x="518951" y="221387"/>
                  <a:pt x="495146" y="22064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41393088-2A2D-4F19-A536-4C5B46718A69}"/>
              </a:ext>
            </a:extLst>
          </p:cNvPr>
          <p:cNvSpPr>
            <a:spLocks noChangeAspect="1"/>
          </p:cNvSpPr>
          <p:nvPr userDrawn="1"/>
        </p:nvSpPr>
        <p:spPr>
          <a:xfrm>
            <a:off x="8681340" y="4501548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230981 w 809625"/>
              <a:gd name="connsiteY5" fmla="*/ 177069 h 809625"/>
              <a:gd name="connsiteX6" fmla="*/ 176498 w 809625"/>
              <a:gd name="connsiteY6" fmla="*/ 231552 h 809625"/>
              <a:gd name="connsiteX7" fmla="*/ 230981 w 809625"/>
              <a:gd name="connsiteY7" fmla="*/ 286035 h 809625"/>
              <a:gd name="connsiteX8" fmla="*/ 285464 w 809625"/>
              <a:gd name="connsiteY8" fmla="*/ 231552 h 809625"/>
              <a:gd name="connsiteX9" fmla="*/ 230981 w 809625"/>
              <a:gd name="connsiteY9" fmla="*/ 177069 h 809625"/>
              <a:gd name="connsiteX10" fmla="*/ 517493 w 809625"/>
              <a:gd name="connsiteY10" fmla="*/ 319849 h 809625"/>
              <a:gd name="connsiteX11" fmla="*/ 428625 w 809625"/>
              <a:gd name="connsiteY11" fmla="*/ 368617 h 809625"/>
              <a:gd name="connsiteX12" fmla="*/ 426910 w 809625"/>
              <a:gd name="connsiteY12" fmla="*/ 368617 h 809625"/>
              <a:gd name="connsiteX13" fmla="*/ 426910 w 809625"/>
              <a:gd name="connsiteY13" fmla="*/ 327278 h 809625"/>
              <a:gd name="connsiteX14" fmla="*/ 336899 w 809625"/>
              <a:gd name="connsiteY14" fmla="*/ 327278 h 809625"/>
              <a:gd name="connsiteX15" fmla="*/ 336899 w 809625"/>
              <a:gd name="connsiteY15" fmla="*/ 629602 h 809625"/>
              <a:gd name="connsiteX16" fmla="*/ 430720 w 809625"/>
              <a:gd name="connsiteY16" fmla="*/ 629602 h 809625"/>
              <a:gd name="connsiteX17" fmla="*/ 430720 w 809625"/>
              <a:gd name="connsiteY17" fmla="*/ 480059 h 809625"/>
              <a:gd name="connsiteX18" fmla="*/ 487108 w 809625"/>
              <a:gd name="connsiteY18" fmla="*/ 402430 h 809625"/>
              <a:gd name="connsiteX19" fmla="*/ 535876 w 809625"/>
              <a:gd name="connsiteY19" fmla="*/ 482631 h 809625"/>
              <a:gd name="connsiteX20" fmla="*/ 535876 w 809625"/>
              <a:gd name="connsiteY20" fmla="*/ 629602 h 809625"/>
              <a:gd name="connsiteX21" fmla="*/ 630174 w 809625"/>
              <a:gd name="connsiteY21" fmla="*/ 629602 h 809625"/>
              <a:gd name="connsiteX22" fmla="*/ 630174 w 809625"/>
              <a:gd name="connsiteY22" fmla="*/ 463771 h 809625"/>
              <a:gd name="connsiteX23" fmla="*/ 517493 w 809625"/>
              <a:gd name="connsiteY23" fmla="*/ 319849 h 809625"/>
              <a:gd name="connsiteX24" fmla="*/ 183927 w 809625"/>
              <a:gd name="connsiteY24" fmla="*/ 327278 h 809625"/>
              <a:gd name="connsiteX25" fmla="*/ 183927 w 809625"/>
              <a:gd name="connsiteY25" fmla="*/ 629602 h 809625"/>
              <a:gd name="connsiteX26" fmla="*/ 277939 w 809625"/>
              <a:gd name="connsiteY26" fmla="*/ 629602 h 809625"/>
              <a:gd name="connsiteX27" fmla="*/ 277939 w 809625"/>
              <a:gd name="connsiteY27" fmla="*/ 327278 h 809625"/>
              <a:gd name="connsiteX28" fmla="*/ 183927 w 809625"/>
              <a:gd name="connsiteY28" fmla="*/ 327278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230981" y="177069"/>
                </a:moveTo>
                <a:cubicBezTo>
                  <a:pt x="200891" y="177069"/>
                  <a:pt x="176498" y="201462"/>
                  <a:pt x="176498" y="231552"/>
                </a:cubicBezTo>
                <a:cubicBezTo>
                  <a:pt x="176498" y="261642"/>
                  <a:pt x="200891" y="286035"/>
                  <a:pt x="230981" y="286035"/>
                </a:cubicBezTo>
                <a:cubicBezTo>
                  <a:pt x="261071" y="286035"/>
                  <a:pt x="285464" y="261642"/>
                  <a:pt x="285464" y="231552"/>
                </a:cubicBezTo>
                <a:cubicBezTo>
                  <a:pt x="285464" y="201462"/>
                  <a:pt x="261071" y="177069"/>
                  <a:pt x="230981" y="177069"/>
                </a:cubicBezTo>
                <a:close/>
                <a:moveTo>
                  <a:pt x="517493" y="319849"/>
                </a:moveTo>
                <a:cubicBezTo>
                  <a:pt x="481146" y="318484"/>
                  <a:pt x="446996" y="337225"/>
                  <a:pt x="428625" y="368617"/>
                </a:cubicBezTo>
                <a:lnTo>
                  <a:pt x="426910" y="368617"/>
                </a:lnTo>
                <a:lnTo>
                  <a:pt x="426910" y="327278"/>
                </a:lnTo>
                <a:lnTo>
                  <a:pt x="336899" y="327278"/>
                </a:lnTo>
                <a:lnTo>
                  <a:pt x="336899" y="629602"/>
                </a:lnTo>
                <a:lnTo>
                  <a:pt x="430720" y="629602"/>
                </a:lnTo>
                <a:lnTo>
                  <a:pt x="430720" y="480059"/>
                </a:lnTo>
                <a:cubicBezTo>
                  <a:pt x="430720" y="440530"/>
                  <a:pt x="438912" y="402430"/>
                  <a:pt x="487108" y="402430"/>
                </a:cubicBezTo>
                <a:cubicBezTo>
                  <a:pt x="535305" y="402430"/>
                  <a:pt x="535876" y="447579"/>
                  <a:pt x="535876" y="482631"/>
                </a:cubicBezTo>
                <a:lnTo>
                  <a:pt x="535876" y="629602"/>
                </a:lnTo>
                <a:lnTo>
                  <a:pt x="630174" y="629602"/>
                </a:lnTo>
                <a:lnTo>
                  <a:pt x="630174" y="463771"/>
                </a:lnTo>
                <a:cubicBezTo>
                  <a:pt x="630174" y="382428"/>
                  <a:pt x="612743" y="319849"/>
                  <a:pt x="517493" y="319849"/>
                </a:cubicBezTo>
                <a:close/>
                <a:moveTo>
                  <a:pt x="183927" y="327278"/>
                </a:moveTo>
                <a:lnTo>
                  <a:pt x="183927" y="629602"/>
                </a:lnTo>
                <a:lnTo>
                  <a:pt x="277939" y="629602"/>
                </a:lnTo>
                <a:lnTo>
                  <a:pt x="277939" y="327278"/>
                </a:lnTo>
                <a:lnTo>
                  <a:pt x="183927" y="32727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F1F78FC3-536A-4C34-B2A3-95085DF38A8D}"/>
              </a:ext>
            </a:extLst>
          </p:cNvPr>
          <p:cNvSpPr>
            <a:spLocks noChangeAspect="1"/>
          </p:cNvSpPr>
          <p:nvPr userDrawn="1"/>
        </p:nvSpPr>
        <p:spPr>
          <a:xfrm>
            <a:off x="9063685" y="4501548"/>
            <a:ext cx="242382" cy="242382"/>
          </a:xfrm>
          <a:custGeom>
            <a:avLst/>
            <a:gdLst>
              <a:gd name="connsiteX0" fmla="*/ 404812 w 809625"/>
              <a:gd name="connsiteY0" fmla="*/ 288417 h 809625"/>
              <a:gd name="connsiteX1" fmla="*/ 288417 w 809625"/>
              <a:gd name="connsiteY1" fmla="*/ 404812 h 809625"/>
              <a:gd name="connsiteX2" fmla="*/ 404812 w 809625"/>
              <a:gd name="connsiteY2" fmla="*/ 521208 h 809625"/>
              <a:gd name="connsiteX3" fmla="*/ 521208 w 809625"/>
              <a:gd name="connsiteY3" fmla="*/ 404812 h 809625"/>
              <a:gd name="connsiteX4" fmla="*/ 404812 w 809625"/>
              <a:gd name="connsiteY4" fmla="*/ 288417 h 809625"/>
              <a:gd name="connsiteX5" fmla="*/ 525780 w 809625"/>
              <a:gd name="connsiteY5" fmla="*/ 256603 h 809625"/>
              <a:gd name="connsiteX6" fmla="*/ 498538 w 809625"/>
              <a:gd name="connsiteY6" fmla="*/ 283844 h 809625"/>
              <a:gd name="connsiteX7" fmla="*/ 525780 w 809625"/>
              <a:gd name="connsiteY7" fmla="*/ 311086 h 809625"/>
              <a:gd name="connsiteX8" fmla="*/ 553021 w 809625"/>
              <a:gd name="connsiteY8" fmla="*/ 283844 h 809625"/>
              <a:gd name="connsiteX9" fmla="*/ 525780 w 809625"/>
              <a:gd name="connsiteY9" fmla="*/ 256603 h 809625"/>
              <a:gd name="connsiteX10" fmla="*/ 404812 w 809625"/>
              <a:gd name="connsiteY10" fmla="*/ 219075 h 809625"/>
              <a:gd name="connsiteX11" fmla="*/ 496443 w 809625"/>
              <a:gd name="connsiteY11" fmla="*/ 220408 h 809625"/>
              <a:gd name="connsiteX12" fmla="*/ 538543 w 809625"/>
              <a:gd name="connsiteY12" fmla="*/ 228218 h 809625"/>
              <a:gd name="connsiteX13" fmla="*/ 581501 w 809625"/>
              <a:gd name="connsiteY13" fmla="*/ 271176 h 809625"/>
              <a:gd name="connsiteX14" fmla="*/ 589311 w 809625"/>
              <a:gd name="connsiteY14" fmla="*/ 313277 h 809625"/>
              <a:gd name="connsiteX15" fmla="*/ 590645 w 809625"/>
              <a:gd name="connsiteY15" fmla="*/ 404907 h 809625"/>
              <a:gd name="connsiteX16" fmla="*/ 589311 w 809625"/>
              <a:gd name="connsiteY16" fmla="*/ 496538 h 809625"/>
              <a:gd name="connsiteX17" fmla="*/ 581501 w 809625"/>
              <a:gd name="connsiteY17" fmla="*/ 538638 h 809625"/>
              <a:gd name="connsiteX18" fmla="*/ 538543 w 809625"/>
              <a:gd name="connsiteY18" fmla="*/ 581596 h 809625"/>
              <a:gd name="connsiteX19" fmla="*/ 496443 w 809625"/>
              <a:gd name="connsiteY19" fmla="*/ 589406 h 809625"/>
              <a:gd name="connsiteX20" fmla="*/ 404812 w 809625"/>
              <a:gd name="connsiteY20" fmla="*/ 590740 h 809625"/>
              <a:gd name="connsiteX21" fmla="*/ 313182 w 809625"/>
              <a:gd name="connsiteY21" fmla="*/ 589407 h 809625"/>
              <a:gd name="connsiteX22" fmla="*/ 271081 w 809625"/>
              <a:gd name="connsiteY22" fmla="*/ 581596 h 809625"/>
              <a:gd name="connsiteX23" fmla="*/ 228600 w 809625"/>
              <a:gd name="connsiteY23" fmla="*/ 538543 h 809625"/>
              <a:gd name="connsiteX24" fmla="*/ 220789 w 809625"/>
              <a:gd name="connsiteY24" fmla="*/ 496443 h 809625"/>
              <a:gd name="connsiteX25" fmla="*/ 219075 w 809625"/>
              <a:gd name="connsiteY25" fmla="*/ 404812 h 809625"/>
              <a:gd name="connsiteX26" fmla="*/ 220408 w 809625"/>
              <a:gd name="connsiteY26" fmla="*/ 313182 h 809625"/>
              <a:gd name="connsiteX27" fmla="*/ 228600 w 809625"/>
              <a:gd name="connsiteY27" fmla="*/ 271081 h 809625"/>
              <a:gd name="connsiteX28" fmla="*/ 271081 w 809625"/>
              <a:gd name="connsiteY28" fmla="*/ 228600 h 809625"/>
              <a:gd name="connsiteX29" fmla="*/ 313181 w 809625"/>
              <a:gd name="connsiteY29" fmla="*/ 220789 h 809625"/>
              <a:gd name="connsiteX30" fmla="*/ 404812 w 809625"/>
              <a:gd name="connsiteY30" fmla="*/ 219075 h 809625"/>
              <a:gd name="connsiteX31" fmla="*/ 405669 w 809625"/>
              <a:gd name="connsiteY31" fmla="*/ 177736 h 809625"/>
              <a:gd name="connsiteX32" fmla="*/ 404812 w 809625"/>
              <a:gd name="connsiteY32" fmla="*/ 178212 h 809625"/>
              <a:gd name="connsiteX33" fmla="*/ 311372 w 809625"/>
              <a:gd name="connsiteY33" fmla="*/ 179546 h 809625"/>
              <a:gd name="connsiteX34" fmla="*/ 256317 w 809625"/>
              <a:gd name="connsiteY34" fmla="*/ 190500 h 809625"/>
              <a:gd name="connsiteX35" fmla="*/ 189642 w 809625"/>
              <a:gd name="connsiteY35" fmla="*/ 257175 h 809625"/>
              <a:gd name="connsiteX36" fmla="*/ 179069 w 809625"/>
              <a:gd name="connsiteY36" fmla="*/ 312229 h 809625"/>
              <a:gd name="connsiteX37" fmla="*/ 177736 w 809625"/>
              <a:gd name="connsiteY37" fmla="*/ 405669 h 809625"/>
              <a:gd name="connsiteX38" fmla="*/ 179069 w 809625"/>
              <a:gd name="connsiteY38" fmla="*/ 499110 h 809625"/>
              <a:gd name="connsiteX39" fmla="*/ 190500 w 809625"/>
              <a:gd name="connsiteY39" fmla="*/ 553307 h 809625"/>
              <a:gd name="connsiteX40" fmla="*/ 257175 w 809625"/>
              <a:gd name="connsiteY40" fmla="*/ 619982 h 809625"/>
              <a:gd name="connsiteX41" fmla="*/ 312229 w 809625"/>
              <a:gd name="connsiteY41" fmla="*/ 630554 h 809625"/>
              <a:gd name="connsiteX42" fmla="*/ 405669 w 809625"/>
              <a:gd name="connsiteY42" fmla="*/ 631888 h 809625"/>
              <a:gd name="connsiteX43" fmla="*/ 499110 w 809625"/>
              <a:gd name="connsiteY43" fmla="*/ 630554 h 809625"/>
              <a:gd name="connsiteX44" fmla="*/ 554164 w 809625"/>
              <a:gd name="connsiteY44" fmla="*/ 619982 h 809625"/>
              <a:gd name="connsiteX45" fmla="*/ 620839 w 809625"/>
              <a:gd name="connsiteY45" fmla="*/ 553307 h 809625"/>
              <a:gd name="connsiteX46" fmla="*/ 631412 w 809625"/>
              <a:gd name="connsiteY46" fmla="*/ 498252 h 809625"/>
              <a:gd name="connsiteX47" fmla="*/ 632745 w 809625"/>
              <a:gd name="connsiteY47" fmla="*/ 404812 h 809625"/>
              <a:gd name="connsiteX48" fmla="*/ 631412 w 809625"/>
              <a:gd name="connsiteY48" fmla="*/ 311372 h 809625"/>
              <a:gd name="connsiteX49" fmla="*/ 620839 w 809625"/>
              <a:gd name="connsiteY49" fmla="*/ 256317 h 809625"/>
              <a:gd name="connsiteX50" fmla="*/ 554164 w 809625"/>
              <a:gd name="connsiteY50" fmla="*/ 189642 h 809625"/>
              <a:gd name="connsiteX51" fmla="*/ 499110 w 809625"/>
              <a:gd name="connsiteY51" fmla="*/ 179069 h 809625"/>
              <a:gd name="connsiteX52" fmla="*/ 405669 w 809625"/>
              <a:gd name="connsiteY52" fmla="*/ 177736 h 809625"/>
              <a:gd name="connsiteX53" fmla="*/ 404813 w 809625"/>
              <a:gd name="connsiteY53" fmla="*/ 0 h 809625"/>
              <a:gd name="connsiteX54" fmla="*/ 809625 w 809625"/>
              <a:gd name="connsiteY54" fmla="*/ 404813 h 809625"/>
              <a:gd name="connsiteX55" fmla="*/ 404813 w 809625"/>
              <a:gd name="connsiteY55" fmla="*/ 809625 h 809625"/>
              <a:gd name="connsiteX56" fmla="*/ 0 w 809625"/>
              <a:gd name="connsiteY56" fmla="*/ 404813 h 809625"/>
              <a:gd name="connsiteX57" fmla="*/ 404813 w 809625"/>
              <a:gd name="connsiteY57" fmla="*/ 0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809625" h="809625">
                <a:moveTo>
                  <a:pt x="404812" y="288417"/>
                </a:moveTo>
                <a:cubicBezTo>
                  <a:pt x="340529" y="288417"/>
                  <a:pt x="288417" y="340529"/>
                  <a:pt x="288417" y="404812"/>
                </a:cubicBezTo>
                <a:cubicBezTo>
                  <a:pt x="288417" y="469096"/>
                  <a:pt x="340529" y="521208"/>
                  <a:pt x="404812" y="521208"/>
                </a:cubicBezTo>
                <a:cubicBezTo>
                  <a:pt x="469096" y="521208"/>
                  <a:pt x="521208" y="469096"/>
                  <a:pt x="521208" y="404812"/>
                </a:cubicBezTo>
                <a:cubicBezTo>
                  <a:pt x="521208" y="340529"/>
                  <a:pt x="469096" y="288417"/>
                  <a:pt x="404812" y="288417"/>
                </a:cubicBezTo>
                <a:close/>
                <a:moveTo>
                  <a:pt x="525780" y="256603"/>
                </a:moveTo>
                <a:cubicBezTo>
                  <a:pt x="510734" y="256603"/>
                  <a:pt x="498538" y="268799"/>
                  <a:pt x="498538" y="283844"/>
                </a:cubicBezTo>
                <a:cubicBezTo>
                  <a:pt x="498538" y="298890"/>
                  <a:pt x="510734" y="311086"/>
                  <a:pt x="525780" y="311086"/>
                </a:cubicBezTo>
                <a:cubicBezTo>
                  <a:pt x="540825" y="311086"/>
                  <a:pt x="553021" y="298890"/>
                  <a:pt x="553021" y="283844"/>
                </a:cubicBezTo>
                <a:cubicBezTo>
                  <a:pt x="553021" y="268799"/>
                  <a:pt x="540825" y="256603"/>
                  <a:pt x="525780" y="256603"/>
                </a:cubicBezTo>
                <a:close/>
                <a:moveTo>
                  <a:pt x="404812" y="219075"/>
                </a:moveTo>
                <a:cubicBezTo>
                  <a:pt x="465296" y="219075"/>
                  <a:pt x="472535" y="219075"/>
                  <a:pt x="496443" y="220408"/>
                </a:cubicBezTo>
                <a:cubicBezTo>
                  <a:pt x="510824" y="220533"/>
                  <a:pt x="525073" y="223177"/>
                  <a:pt x="538543" y="228218"/>
                </a:cubicBezTo>
                <a:cubicBezTo>
                  <a:pt x="558257" y="235874"/>
                  <a:pt x="573845" y="251463"/>
                  <a:pt x="581501" y="271176"/>
                </a:cubicBezTo>
                <a:cubicBezTo>
                  <a:pt x="586542" y="284646"/>
                  <a:pt x="589186" y="298895"/>
                  <a:pt x="589311" y="313277"/>
                </a:cubicBezTo>
                <a:cubicBezTo>
                  <a:pt x="590454" y="337185"/>
                  <a:pt x="590645" y="344424"/>
                  <a:pt x="590645" y="404907"/>
                </a:cubicBezTo>
                <a:cubicBezTo>
                  <a:pt x="590645" y="465391"/>
                  <a:pt x="590645" y="472630"/>
                  <a:pt x="589311" y="496538"/>
                </a:cubicBezTo>
                <a:cubicBezTo>
                  <a:pt x="589186" y="510920"/>
                  <a:pt x="586543" y="525168"/>
                  <a:pt x="581501" y="538638"/>
                </a:cubicBezTo>
                <a:cubicBezTo>
                  <a:pt x="573845" y="558352"/>
                  <a:pt x="558257" y="573940"/>
                  <a:pt x="538543" y="581596"/>
                </a:cubicBezTo>
                <a:cubicBezTo>
                  <a:pt x="525073" y="586638"/>
                  <a:pt x="510824" y="589281"/>
                  <a:pt x="496443" y="589406"/>
                </a:cubicBezTo>
                <a:cubicBezTo>
                  <a:pt x="472535" y="590550"/>
                  <a:pt x="465391" y="590740"/>
                  <a:pt x="404812" y="590740"/>
                </a:cubicBezTo>
                <a:cubicBezTo>
                  <a:pt x="344233" y="590740"/>
                  <a:pt x="337089" y="590740"/>
                  <a:pt x="313182" y="589407"/>
                </a:cubicBezTo>
                <a:cubicBezTo>
                  <a:pt x="298800" y="589281"/>
                  <a:pt x="284551" y="586638"/>
                  <a:pt x="271081" y="581596"/>
                </a:cubicBezTo>
                <a:cubicBezTo>
                  <a:pt x="251529" y="573808"/>
                  <a:pt x="236125" y="558197"/>
                  <a:pt x="228600" y="538543"/>
                </a:cubicBezTo>
                <a:cubicBezTo>
                  <a:pt x="223558" y="525073"/>
                  <a:pt x="220914" y="510824"/>
                  <a:pt x="220789" y="496443"/>
                </a:cubicBezTo>
                <a:cubicBezTo>
                  <a:pt x="219075" y="472535"/>
                  <a:pt x="219075" y="465296"/>
                  <a:pt x="219075" y="404812"/>
                </a:cubicBezTo>
                <a:cubicBezTo>
                  <a:pt x="219075" y="344328"/>
                  <a:pt x="219075" y="337089"/>
                  <a:pt x="220408" y="313182"/>
                </a:cubicBezTo>
                <a:cubicBezTo>
                  <a:pt x="220655" y="298777"/>
                  <a:pt x="223428" y="284527"/>
                  <a:pt x="228600" y="271081"/>
                </a:cubicBezTo>
                <a:cubicBezTo>
                  <a:pt x="236258" y="251643"/>
                  <a:pt x="251643" y="236258"/>
                  <a:pt x="271081" y="228600"/>
                </a:cubicBezTo>
                <a:cubicBezTo>
                  <a:pt x="284551" y="223558"/>
                  <a:pt x="298800" y="220914"/>
                  <a:pt x="313181" y="220789"/>
                </a:cubicBezTo>
                <a:cubicBezTo>
                  <a:pt x="337089" y="219075"/>
                  <a:pt x="344328" y="219075"/>
                  <a:pt x="404812" y="219075"/>
                </a:cubicBezTo>
                <a:close/>
                <a:moveTo>
                  <a:pt x="405669" y="177736"/>
                </a:moveTo>
                <a:lnTo>
                  <a:pt x="404812" y="178212"/>
                </a:lnTo>
                <a:cubicBezTo>
                  <a:pt x="343281" y="178212"/>
                  <a:pt x="335565" y="178212"/>
                  <a:pt x="311372" y="179546"/>
                </a:cubicBezTo>
                <a:cubicBezTo>
                  <a:pt x="292533" y="180057"/>
                  <a:pt x="273917" y="183760"/>
                  <a:pt x="256317" y="190500"/>
                </a:cubicBezTo>
                <a:cubicBezTo>
                  <a:pt x="225602" y="202200"/>
                  <a:pt x="201343" y="226459"/>
                  <a:pt x="189642" y="257175"/>
                </a:cubicBezTo>
                <a:cubicBezTo>
                  <a:pt x="183033" y="274797"/>
                  <a:pt x="179458" y="293412"/>
                  <a:pt x="179069" y="312229"/>
                </a:cubicBezTo>
                <a:cubicBezTo>
                  <a:pt x="178022" y="336423"/>
                  <a:pt x="177736" y="344138"/>
                  <a:pt x="177736" y="405669"/>
                </a:cubicBezTo>
                <a:cubicBezTo>
                  <a:pt x="177736" y="467201"/>
                  <a:pt x="177736" y="474916"/>
                  <a:pt x="179069" y="499110"/>
                </a:cubicBezTo>
                <a:cubicBezTo>
                  <a:pt x="179828" y="517687"/>
                  <a:pt x="183692" y="536005"/>
                  <a:pt x="190500" y="553307"/>
                </a:cubicBezTo>
                <a:cubicBezTo>
                  <a:pt x="202200" y="584022"/>
                  <a:pt x="226459" y="608281"/>
                  <a:pt x="257175" y="619982"/>
                </a:cubicBezTo>
                <a:cubicBezTo>
                  <a:pt x="274797" y="626591"/>
                  <a:pt x="293412" y="630165"/>
                  <a:pt x="312229" y="630554"/>
                </a:cubicBezTo>
                <a:cubicBezTo>
                  <a:pt x="336423" y="631602"/>
                  <a:pt x="344138" y="631888"/>
                  <a:pt x="405669" y="631888"/>
                </a:cubicBezTo>
                <a:cubicBezTo>
                  <a:pt x="467201" y="631888"/>
                  <a:pt x="474916" y="631888"/>
                  <a:pt x="499110" y="630554"/>
                </a:cubicBezTo>
                <a:cubicBezTo>
                  <a:pt x="517927" y="630165"/>
                  <a:pt x="536542" y="626591"/>
                  <a:pt x="554164" y="619982"/>
                </a:cubicBezTo>
                <a:cubicBezTo>
                  <a:pt x="584880" y="608281"/>
                  <a:pt x="609138" y="584022"/>
                  <a:pt x="620839" y="553307"/>
                </a:cubicBezTo>
                <a:cubicBezTo>
                  <a:pt x="627448" y="535684"/>
                  <a:pt x="631023" y="517069"/>
                  <a:pt x="631412" y="498252"/>
                </a:cubicBezTo>
                <a:cubicBezTo>
                  <a:pt x="632460" y="474059"/>
                  <a:pt x="632745" y="466344"/>
                  <a:pt x="632745" y="404812"/>
                </a:cubicBezTo>
                <a:cubicBezTo>
                  <a:pt x="632745" y="343281"/>
                  <a:pt x="632745" y="335565"/>
                  <a:pt x="631412" y="311372"/>
                </a:cubicBezTo>
                <a:cubicBezTo>
                  <a:pt x="631023" y="292555"/>
                  <a:pt x="627448" y="273940"/>
                  <a:pt x="620839" y="256317"/>
                </a:cubicBezTo>
                <a:cubicBezTo>
                  <a:pt x="609138" y="225602"/>
                  <a:pt x="584880" y="201343"/>
                  <a:pt x="554164" y="189642"/>
                </a:cubicBezTo>
                <a:cubicBezTo>
                  <a:pt x="536542" y="183033"/>
                  <a:pt x="517927" y="179458"/>
                  <a:pt x="499110" y="179069"/>
                </a:cubicBezTo>
                <a:cubicBezTo>
                  <a:pt x="474916" y="178022"/>
                  <a:pt x="467201" y="177736"/>
                  <a:pt x="405669" y="177736"/>
                </a:cubicBezTo>
                <a:close/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37645F6A-EDD9-42D2-A01C-F8414798D57C}"/>
              </a:ext>
            </a:extLst>
          </p:cNvPr>
          <p:cNvSpPr>
            <a:spLocks noChangeAspect="1"/>
          </p:cNvSpPr>
          <p:nvPr/>
        </p:nvSpPr>
        <p:spPr>
          <a:xfrm>
            <a:off x="9446029" y="4501548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207835 w 809625"/>
              <a:gd name="connsiteY5" fmla="*/ 183451 h 809625"/>
              <a:gd name="connsiteX6" fmla="*/ 183451 w 809625"/>
              <a:gd name="connsiteY6" fmla="*/ 207835 h 809625"/>
              <a:gd name="connsiteX7" fmla="*/ 183451 w 809625"/>
              <a:gd name="connsiteY7" fmla="*/ 601789 h 809625"/>
              <a:gd name="connsiteX8" fmla="*/ 207835 w 809625"/>
              <a:gd name="connsiteY8" fmla="*/ 626173 h 809625"/>
              <a:gd name="connsiteX9" fmla="*/ 419957 w 809625"/>
              <a:gd name="connsiteY9" fmla="*/ 626173 h 809625"/>
              <a:gd name="connsiteX10" fmla="*/ 419957 w 809625"/>
              <a:gd name="connsiteY10" fmla="*/ 454723 h 809625"/>
              <a:gd name="connsiteX11" fmla="*/ 361950 w 809625"/>
              <a:gd name="connsiteY11" fmla="*/ 454723 h 809625"/>
              <a:gd name="connsiteX12" fmla="*/ 361950 w 809625"/>
              <a:gd name="connsiteY12" fmla="*/ 388048 h 809625"/>
              <a:gd name="connsiteX13" fmla="*/ 419671 w 809625"/>
              <a:gd name="connsiteY13" fmla="*/ 388048 h 809625"/>
              <a:gd name="connsiteX14" fmla="*/ 419671 w 809625"/>
              <a:gd name="connsiteY14" fmla="*/ 338613 h 809625"/>
              <a:gd name="connsiteX15" fmla="*/ 505396 w 809625"/>
              <a:gd name="connsiteY15" fmla="*/ 250317 h 809625"/>
              <a:gd name="connsiteX16" fmla="*/ 556926 w 809625"/>
              <a:gd name="connsiteY16" fmla="*/ 252984 h 809625"/>
              <a:gd name="connsiteX17" fmla="*/ 556926 w 809625"/>
              <a:gd name="connsiteY17" fmla="*/ 312705 h 809625"/>
              <a:gd name="connsiteX18" fmla="*/ 522065 w 809625"/>
              <a:gd name="connsiteY18" fmla="*/ 312705 h 809625"/>
              <a:gd name="connsiteX19" fmla="*/ 488918 w 809625"/>
              <a:gd name="connsiteY19" fmla="*/ 345281 h 809625"/>
              <a:gd name="connsiteX20" fmla="*/ 488918 w 809625"/>
              <a:gd name="connsiteY20" fmla="*/ 387953 h 809625"/>
              <a:gd name="connsiteX21" fmla="*/ 555593 w 809625"/>
              <a:gd name="connsiteY21" fmla="*/ 387953 h 809625"/>
              <a:gd name="connsiteX22" fmla="*/ 546925 w 809625"/>
              <a:gd name="connsiteY22" fmla="*/ 454628 h 809625"/>
              <a:gd name="connsiteX23" fmla="*/ 489775 w 809625"/>
              <a:gd name="connsiteY23" fmla="*/ 454628 h 809625"/>
              <a:gd name="connsiteX24" fmla="*/ 489775 w 809625"/>
              <a:gd name="connsiteY24" fmla="*/ 626078 h 809625"/>
              <a:gd name="connsiteX25" fmla="*/ 601789 w 809625"/>
              <a:gd name="connsiteY25" fmla="*/ 626078 h 809625"/>
              <a:gd name="connsiteX26" fmla="*/ 626173 w 809625"/>
              <a:gd name="connsiteY26" fmla="*/ 601694 h 809625"/>
              <a:gd name="connsiteX27" fmla="*/ 626173 w 809625"/>
              <a:gd name="connsiteY27" fmla="*/ 207835 h 809625"/>
              <a:gd name="connsiteX28" fmla="*/ 601789 w 809625"/>
              <a:gd name="connsiteY28" fmla="*/ 183451 h 809625"/>
              <a:gd name="connsiteX29" fmla="*/ 207835 w 809625"/>
              <a:gd name="connsiteY29" fmla="*/ 183451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207835" y="183451"/>
                </a:moveTo>
                <a:cubicBezTo>
                  <a:pt x="194368" y="183451"/>
                  <a:pt x="183451" y="194368"/>
                  <a:pt x="183451" y="207835"/>
                </a:cubicBezTo>
                <a:lnTo>
                  <a:pt x="183451" y="601789"/>
                </a:lnTo>
                <a:cubicBezTo>
                  <a:pt x="183451" y="615256"/>
                  <a:pt x="194368" y="626173"/>
                  <a:pt x="207835" y="626173"/>
                </a:cubicBezTo>
                <a:lnTo>
                  <a:pt x="419957" y="626173"/>
                </a:lnTo>
                <a:lnTo>
                  <a:pt x="419957" y="454723"/>
                </a:lnTo>
                <a:lnTo>
                  <a:pt x="361950" y="454723"/>
                </a:lnTo>
                <a:lnTo>
                  <a:pt x="361950" y="388048"/>
                </a:lnTo>
                <a:lnTo>
                  <a:pt x="419671" y="388048"/>
                </a:lnTo>
                <a:lnTo>
                  <a:pt x="419671" y="338613"/>
                </a:lnTo>
                <a:cubicBezTo>
                  <a:pt x="419671" y="281463"/>
                  <a:pt x="454533" y="250317"/>
                  <a:pt x="505396" y="250317"/>
                </a:cubicBezTo>
                <a:cubicBezTo>
                  <a:pt x="522609" y="250238"/>
                  <a:pt x="539813" y="251128"/>
                  <a:pt x="556926" y="252984"/>
                </a:cubicBezTo>
                <a:lnTo>
                  <a:pt x="556926" y="312705"/>
                </a:lnTo>
                <a:lnTo>
                  <a:pt x="522065" y="312705"/>
                </a:lnTo>
                <a:cubicBezTo>
                  <a:pt x="494252" y="312705"/>
                  <a:pt x="488918" y="325945"/>
                  <a:pt x="488918" y="345281"/>
                </a:cubicBezTo>
                <a:lnTo>
                  <a:pt x="488918" y="387953"/>
                </a:lnTo>
                <a:lnTo>
                  <a:pt x="555593" y="387953"/>
                </a:lnTo>
                <a:lnTo>
                  <a:pt x="546925" y="454628"/>
                </a:lnTo>
                <a:lnTo>
                  <a:pt x="489775" y="454628"/>
                </a:lnTo>
                <a:lnTo>
                  <a:pt x="489775" y="626078"/>
                </a:lnTo>
                <a:lnTo>
                  <a:pt x="601789" y="626078"/>
                </a:lnTo>
                <a:cubicBezTo>
                  <a:pt x="615256" y="626078"/>
                  <a:pt x="626173" y="615161"/>
                  <a:pt x="626173" y="601694"/>
                </a:cubicBezTo>
                <a:lnTo>
                  <a:pt x="626173" y="207835"/>
                </a:lnTo>
                <a:cubicBezTo>
                  <a:pt x="626173" y="194368"/>
                  <a:pt x="615256" y="183451"/>
                  <a:pt x="601789" y="183451"/>
                </a:cubicBezTo>
                <a:lnTo>
                  <a:pt x="207835" y="183451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3D3ABB1F-7F2A-4579-5538-F4815BCE51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4484" y="2549185"/>
            <a:ext cx="1976093" cy="879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543984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E9670259-4695-428B-A004-7FC80D7094B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1062000" tIns="3348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FCAC8505-DEDF-4C01-A608-94D176EC4352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7540580" y="1"/>
            <a:ext cx="4651420" cy="1673605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1740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5383366-B84A-4AF0-9ECA-0C40F072B9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7C2BF5B2-F39C-5692-1D90-615BA55F4F0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170" y="303442"/>
            <a:ext cx="979715" cy="43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518077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233375"/>
            <a:ext cx="3600000" cy="4563542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06AFE3-EE64-4522-825B-815C6A28E9F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CCCCDE7-B8EA-4773-A164-304D34F89D0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C4FDAA8-8585-4D16-87AD-3485D164648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FDCDC4E8-4AA2-47C5-B535-B59B68E2368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296001" y="1233375"/>
            <a:ext cx="3600000" cy="4563542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110DB712-DE37-4722-A5B4-8E5304EC2D74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8257040" y="1233375"/>
            <a:ext cx="3600000" cy="4563542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BB2BBBA-A0B7-4C68-BAAA-DBE124769F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5116011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D50AE23D-06D1-4F9E-B490-E50D424CE9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DFCCD94-C178-488E-A0A8-B9933C21C8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B6B25C7-EDE8-4C6A-A016-B0BC2F236A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3CEBA6-B1B6-4DE4-9914-AA9310C6B7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8951947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87CEE9C-A8AE-431B-A0E0-C79E2E22CC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0C04917-818A-4A3D-87A1-5D1A3CEF6E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14D6DCE-44D6-472C-8A31-1D8DC27A62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6175939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E396722-86FB-4B61-980E-29BB1A84BF5F}"/>
              </a:ext>
            </a:extLst>
          </p:cNvPr>
          <p:cNvSpPr/>
          <p:nvPr userDrawn="1"/>
        </p:nvSpPr>
        <p:spPr>
          <a:xfrm>
            <a:off x="0" y="-1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D50AE23D-06D1-4F9E-B490-E50D424CE9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892E96-6CF9-4BCC-9A9B-CB94EC6D1A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97B376B-D4F9-4143-A8AE-817EB0EA6B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84A53671-41EC-45C8-A0C1-D1426C22F9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3719458C-151F-A29A-A9A7-BEFD54AD5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170" y="303442"/>
            <a:ext cx="979715" cy="43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4972516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E396722-86FB-4B61-980E-29BB1A84BF5F}"/>
              </a:ext>
            </a:extLst>
          </p:cNvPr>
          <p:cNvSpPr/>
          <p:nvPr userDrawn="1"/>
        </p:nvSpPr>
        <p:spPr>
          <a:xfrm>
            <a:off x="0" y="-1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892E96-6CF9-4BCC-9A9B-CB94EC6D1A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97B376B-D4F9-4143-A8AE-817EB0EA6B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84A53671-41EC-45C8-A0C1-D1426C22F9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EF831236-2046-FD7C-DFFA-DF8D44CC7F9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170" y="303442"/>
            <a:ext cx="979715" cy="43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287124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lank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E396722-86FB-4B61-980E-29BB1A84BF5F}"/>
              </a:ext>
            </a:extLst>
          </p:cNvPr>
          <p:cNvSpPr/>
          <p:nvPr userDrawn="1"/>
        </p:nvSpPr>
        <p:spPr>
          <a:xfrm>
            <a:off x="0" y="-1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892E96-6CF9-4BCC-9A9B-CB94EC6D1A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97B376B-D4F9-4143-A8AE-817EB0EA6B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84A53671-41EC-45C8-A0C1-D1426C22F9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8D9C795-633F-49DF-98A1-53A142CB8A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849886" y="333375"/>
            <a:ext cx="1006304" cy="448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0977418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1312C68-9CDC-4DDF-AFFD-F813984EE08A}"/>
              </a:ext>
            </a:extLst>
          </p:cNvPr>
          <p:cNvSpPr/>
          <p:nvPr userDrawn="1"/>
        </p:nvSpPr>
        <p:spPr>
          <a:xfrm>
            <a:off x="0" y="-11798"/>
            <a:ext cx="12192000" cy="690814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880315"/>
            <a:ext cx="10080000" cy="396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  <a:lvl6pPr>
              <a:defRPr>
                <a:solidFill>
                  <a:schemeClr val="bg2"/>
                </a:solidFill>
              </a:defRPr>
            </a:lvl6pPr>
            <a:lvl7pPr>
              <a:defRPr>
                <a:solidFill>
                  <a:schemeClr val="bg2"/>
                </a:solidFill>
              </a:defRPr>
            </a:lvl7pPr>
            <a:lvl8pPr>
              <a:defRPr>
                <a:solidFill>
                  <a:schemeClr val="bg2"/>
                </a:solidFill>
              </a:defRPr>
            </a:lvl8pPr>
            <a:lvl9pPr>
              <a:defRPr>
                <a:solidFill>
                  <a:schemeClr val="bg2"/>
                </a:solidFill>
              </a:defRPr>
            </a:lvl9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06AFE3-EE64-4522-825B-815C6A28E9F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CCCCDE7-B8EA-4773-A164-304D34F89D0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C4FDAA8-8585-4D16-87AD-3485D164648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EBAD129F-61B9-40EF-BB30-907F1E5EEA7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849886" y="333375"/>
            <a:ext cx="1006304" cy="448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012059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ntent and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C85B94B1-0EB5-4E42-9E85-6E0B4655B7C9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16EF975B-AD72-4CB0-A546-757A6175A51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83255" y="1880314"/>
            <a:ext cx="5761038" cy="4644311"/>
          </a:xfrm>
          <a:prstGeom prst="roundRect">
            <a:avLst>
              <a:gd name="adj" fmla="val 1982"/>
            </a:avLst>
          </a:prstGeom>
          <a:solidFill>
            <a:schemeClr val="bg1">
              <a:lumMod val="85000"/>
            </a:schemeClr>
          </a:solidFill>
        </p:spPr>
        <p:txBody>
          <a:bodyPr lIns="342000" tIns="342000" rIns="342000" bIns="342000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AU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880315"/>
            <a:ext cx="4691628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7707" y="333375"/>
            <a:ext cx="10080000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C94176C4-3B30-43F2-91DE-33D09AEA7B5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A95B7BCF-DC6C-46BC-B3D2-2F18F9BC75D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0A06AD-F673-47FE-B249-A9A6CC304BB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7707" y="926565"/>
            <a:ext cx="10080000" cy="72000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cap="all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None/>
              <a:defRPr cap="all">
                <a:solidFill>
                  <a:schemeClr val="accent1"/>
                </a:solidFill>
                <a:latin typeface="+mj-lt"/>
              </a:defRPr>
            </a:lvl2pPr>
            <a:lvl3pPr marL="0" indent="0">
              <a:buNone/>
              <a:defRPr cap="all">
                <a:solidFill>
                  <a:schemeClr val="accent1"/>
                </a:solidFill>
                <a:latin typeface="+mj-lt"/>
              </a:defRPr>
            </a:lvl3pPr>
            <a:lvl4pPr marL="0" indent="0">
              <a:buNone/>
              <a:defRPr cap="all">
                <a:solidFill>
                  <a:schemeClr val="accent1"/>
                </a:solidFill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cap="all">
                <a:solidFill>
                  <a:schemeClr val="accent1"/>
                </a:solidFill>
                <a:latin typeface="+mj-lt"/>
              </a:defRPr>
            </a:lvl5pPr>
            <a:lvl6pPr marL="0" indent="0">
              <a:buFont typeface="Arial" panose="020B0604020202020204" pitchFamily="34" charset="0"/>
              <a:buNone/>
              <a:defRPr cap="all">
                <a:solidFill>
                  <a:schemeClr val="accent1"/>
                </a:solidFill>
                <a:latin typeface="+mj-lt"/>
              </a:defRPr>
            </a:lvl6pPr>
            <a:lvl7pPr marL="0" indent="0">
              <a:buFont typeface="Arial" panose="020B0604020202020204" pitchFamily="34" charset="0"/>
              <a:buNone/>
              <a:defRPr cap="all">
                <a:solidFill>
                  <a:schemeClr val="accent1"/>
                </a:solidFill>
                <a:latin typeface="+mj-lt"/>
              </a:defRPr>
            </a:lvl7pPr>
            <a:lvl8pPr marL="0" indent="0">
              <a:buFont typeface="Arial" panose="020B0604020202020204" pitchFamily="34" charset="0"/>
              <a:buNone/>
              <a:defRPr cap="all">
                <a:solidFill>
                  <a:schemeClr val="accent1"/>
                </a:solidFill>
                <a:latin typeface="+mj-lt"/>
              </a:defRPr>
            </a:lvl8pPr>
            <a:lvl9pPr marL="0" indent="0">
              <a:buFont typeface="Arial" panose="020B0604020202020204" pitchFamily="34" charset="0"/>
              <a:buNone/>
              <a:defRPr cap="all">
                <a:solidFill>
                  <a:schemeClr val="accent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add text</a:t>
            </a:r>
            <a:endParaRPr lang="en-AU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FBB7B1FD-9C36-4A7D-AFAD-EB2419C855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849038" y="333375"/>
            <a:ext cx="1008000" cy="448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294730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our column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7F07ECCF-5EE7-4BA4-BD7C-50DF82C3F5BF}"/>
              </a:ext>
            </a:extLst>
          </p:cNvPr>
          <p:cNvSpPr/>
          <p:nvPr userDrawn="1"/>
        </p:nvSpPr>
        <p:spPr>
          <a:xfrm>
            <a:off x="0" y="0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10080000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08DD2E7-C8BF-4E45-AE9F-C1389B7B38D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963" y="2600315"/>
            <a:ext cx="2160000" cy="3240000"/>
          </a:xfrm>
        </p:spPr>
        <p:txBody>
          <a:bodyPr/>
          <a:lstStyle>
            <a:lvl1pPr>
              <a:defRPr sz="1600" cap="all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 b="0" cap="none" baseline="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D7BC8491-CCAE-458C-BD6D-862F904604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979212" y="2600315"/>
            <a:ext cx="2160000" cy="3240000"/>
          </a:xfrm>
        </p:spPr>
        <p:txBody>
          <a:bodyPr/>
          <a:lstStyle>
            <a:lvl1pPr>
              <a:defRPr sz="1600" cap="all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 b="0" cap="none" baseline="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B036190F-67DD-4555-BB1F-179E8E9C46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23461" y="2600315"/>
            <a:ext cx="2160000" cy="3240000"/>
          </a:xfrm>
        </p:spPr>
        <p:txBody>
          <a:bodyPr/>
          <a:lstStyle>
            <a:lvl1pPr>
              <a:defRPr sz="1600" cap="all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 b="0" cap="none" baseline="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F1044E10-4BD7-47DE-8A5A-57C9557A0B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67709" y="2600315"/>
            <a:ext cx="2160000" cy="3240000"/>
          </a:xfrm>
        </p:spPr>
        <p:txBody>
          <a:bodyPr/>
          <a:lstStyle>
            <a:lvl1pPr>
              <a:defRPr sz="1600" cap="all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 b="0" cap="none" baseline="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B900929-35E2-4B6A-A4BF-9E02733E3AB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6B47C34-75D5-42A4-8A99-FADDAF9BBA6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67B0344-E805-4D5F-B3FB-AF95BC74870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49792A8A-88CD-4947-B7C8-CF7FA124B20A}"/>
              </a:ext>
            </a:extLst>
          </p:cNvPr>
          <p:cNvSpPr>
            <a:spLocks noGrp="1" noChangeAspect="1"/>
          </p:cNvSpPr>
          <p:nvPr>
            <p:ph type="body" sz="quarter" idx="23"/>
          </p:nvPr>
        </p:nvSpPr>
        <p:spPr>
          <a:xfrm>
            <a:off x="10849038" y="333375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28625028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mage-full wid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8166547-372E-4215-A2D1-28413657AE73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23DD628-AE63-4907-AF4B-6B53C077707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4963" y="1880314"/>
            <a:ext cx="11509330" cy="4644311"/>
          </a:xfrm>
          <a:prstGeom prst="roundRect">
            <a:avLst>
              <a:gd name="adj" fmla="val 1982"/>
            </a:avLst>
          </a:prstGeom>
          <a:solidFill>
            <a:schemeClr val="bg1">
              <a:lumMod val="85000"/>
            </a:schemeClr>
          </a:solidFill>
        </p:spPr>
        <p:txBody>
          <a:bodyPr lIns="342000" tIns="342000" rIns="342000" bIns="342000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AU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6D4D6FD-7257-4C21-AAFC-7CC06BF77DD7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7797801" y="5080000"/>
            <a:ext cx="4046492" cy="1444625"/>
          </a:xfrm>
          <a:prstGeom prst="roundRect">
            <a:avLst>
              <a:gd name="adj" fmla="val 5336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45000"/>
                </a:schemeClr>
              </a:gs>
            </a:gsLst>
            <a:lin ang="432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6E7A7DD-8C14-4B85-B39F-1E990E1FFE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333375"/>
            <a:ext cx="5761038" cy="108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7750661B-4D22-41A7-8FA2-1E0D27586EF6}"/>
              </a:ext>
            </a:extLst>
          </p:cNvPr>
          <p:cNvSpPr>
            <a:spLocks noGrp="1" noChangeAspect="1"/>
          </p:cNvSpPr>
          <p:nvPr>
            <p:ph type="body" sz="quarter" idx="16"/>
          </p:nvPr>
        </p:nvSpPr>
        <p:spPr>
          <a:xfrm>
            <a:off x="10632313" y="5890388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7D8FAF2-858C-419E-A577-F0425218264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537038" y="333375"/>
            <a:ext cx="4320000" cy="126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D048DB48-6039-4A0D-ACBF-D5EB8DD358F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459140" y="6159500"/>
            <a:ext cx="727410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69877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dark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E9670259-4695-428B-A004-7FC80D7094B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19400" y="1"/>
            <a:ext cx="107532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342000" tIns="342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FC044026-2D0A-4F4C-B231-B0EF94B3258C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6096000" y="3940935"/>
            <a:ext cx="5376000" cy="2917066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40000"/>
                </a:schemeClr>
              </a:gs>
            </a:gsLst>
            <a:lin ang="372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F9144E-5217-4B9A-B2C1-83385827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1946566"/>
            <a:ext cx="10753200" cy="1620000"/>
          </a:xfrm>
          <a:noFill/>
        </p:spPr>
        <p:txBody>
          <a:bodyPr lIns="342000" tIns="342000" rIns="2160000" bIns="0" anchor="b" anchorCtr="0"/>
          <a:lstStyle>
            <a:lvl1pPr>
              <a:defRPr sz="4500" cap="all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113A054-12CB-4197-89CB-FBA21D5F89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5688" y="4097865"/>
            <a:ext cx="5040312" cy="14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800" b="1" cap="none">
                <a:solidFill>
                  <a:schemeClr val="bg2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6pPr>
            <a:lvl7pPr marL="0" indent="0" algn="l">
              <a:buNone/>
              <a:defRPr sz="1800" b="1">
                <a:solidFill>
                  <a:schemeClr val="bg2"/>
                </a:solidFill>
              </a:defRPr>
            </a:lvl7pPr>
            <a:lvl8pPr marL="0" indent="0" algn="l">
              <a:buNone/>
              <a:defRPr sz="1800" b="1">
                <a:solidFill>
                  <a:schemeClr val="bg2"/>
                </a:solidFill>
              </a:defRPr>
            </a:lvl8pPr>
            <a:lvl9pPr marL="0" indent="0" algn="l">
              <a:buNone/>
              <a:defRPr sz="1800" b="1">
                <a:solidFill>
                  <a:schemeClr val="bg2"/>
                </a:solidFill>
              </a:defRPr>
            </a:lvl9pPr>
          </a:lstStyle>
          <a:p>
            <a:r>
              <a:rPr lang="en-AU"/>
              <a:t>Subtitle or presenters name and date</a:t>
            </a:r>
            <a:endParaRPr lang="en-GB"/>
          </a:p>
          <a:p>
            <a:pPr lvl="1"/>
            <a:r>
              <a:rPr lang="en-US"/>
              <a:t>2</a:t>
            </a:r>
          </a:p>
          <a:p>
            <a:pPr lvl="2"/>
            <a:r>
              <a:rPr lang="en-US"/>
              <a:t>3</a:t>
            </a:r>
          </a:p>
          <a:p>
            <a:pPr lvl="3"/>
            <a:r>
              <a:rPr lang="en-US"/>
              <a:t>4</a:t>
            </a:r>
          </a:p>
          <a:p>
            <a:pPr lvl="4"/>
            <a:r>
              <a:rPr lang="en-US"/>
              <a:t>5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C3F7B8-0B35-40FF-8CB7-4337CBF123A9}"/>
              </a:ext>
            </a:extLst>
          </p:cNvPr>
          <p:cNvSpPr/>
          <p:nvPr userDrawn="1"/>
        </p:nvSpPr>
        <p:spPr>
          <a:xfrm>
            <a:off x="0" y="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CCB27E3-026E-4103-AE04-0346F7EF5C2F}"/>
              </a:ext>
            </a:extLst>
          </p:cNvPr>
          <p:cNvSpPr/>
          <p:nvPr userDrawn="1"/>
        </p:nvSpPr>
        <p:spPr>
          <a:xfrm>
            <a:off x="11472000" y="-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1C0FFFF4-D9E3-4A0E-BB93-6DCF367821CD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1055688" y="6288257"/>
            <a:ext cx="7913940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A1A03FF4-5A69-0640-DEAB-AAF9CEF38D5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69628" y="5537865"/>
            <a:ext cx="2285090" cy="1017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30503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Partial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C85B94B1-0EB5-4E42-9E85-6E0B4655B7C9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16EF975B-AD72-4CB0-A546-757A6175A51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513120" y="1"/>
            <a:ext cx="4678880" cy="6856690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</p:spPr>
        <p:txBody>
          <a:bodyPr lIns="342000" tIns="342000" rIns="342000" bIns="342000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AU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47706" y="1210733"/>
            <a:ext cx="6827253" cy="4629582"/>
          </a:xfrm>
        </p:spPr>
        <p:txBody>
          <a:bodyPr/>
          <a:lstStyle>
            <a:lvl1pPr>
              <a:defRPr/>
            </a:lvl1pPr>
            <a:lvl5pPr>
              <a:defRPr/>
            </a:lvl5pPr>
            <a:lvl6pPr>
              <a:defRPr sz="1400"/>
            </a:lvl6pPr>
            <a:lvl7pPr marL="180000">
              <a:defRPr sz="1400"/>
            </a:lvl7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7707" y="333375"/>
            <a:ext cx="10080000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C94176C4-3B30-43F2-91DE-33D09AEA7B5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A95B7BCF-DC6C-46BC-B3D2-2F18F9BC75D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D24732DA-0FE7-4734-BA92-D340F800C44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509919" y="4313208"/>
            <a:ext cx="4682081" cy="2541619"/>
          </a:xfrm>
          <a:gradFill>
            <a:gsLst>
              <a:gs pos="73000">
                <a:srgbClr val="000000">
                  <a:alpha val="22000"/>
                </a:srgbClr>
              </a:gs>
              <a:gs pos="35000">
                <a:schemeClr val="tx1">
                  <a:alpha val="0"/>
                </a:schemeClr>
              </a:gs>
              <a:gs pos="100000">
                <a:schemeClr val="tx1">
                  <a:alpha val="62000"/>
                </a:schemeClr>
              </a:gs>
            </a:gsLst>
            <a:lin ang="6000000" scaled="0"/>
          </a:gradFill>
        </p:spPr>
        <p:txBody>
          <a:bodyPr lIns="360000" tIns="360000" rIns="1800000" bIns="432000" anchor="b" anchorCtr="0"/>
          <a:lstStyle>
            <a:lvl1pPr marL="0" indent="0">
              <a:buFont typeface="Arial" panose="020B0604020202020204" pitchFamily="34" charset="0"/>
              <a:buNone/>
              <a:defRPr sz="1000" cap="none">
                <a:solidFill>
                  <a:schemeClr val="bg2"/>
                </a:solidFill>
                <a:latin typeface="+mn-lt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None/>
              <a:defRPr sz="1000" cap="none">
                <a:solidFill>
                  <a:schemeClr val="bg2"/>
                </a:solidFill>
                <a:latin typeface="+mn-lt"/>
              </a:defRPr>
            </a:lvl2pPr>
            <a:lvl3pPr marL="0" indent="0">
              <a:buNone/>
              <a:defRPr sz="1000" cap="none">
                <a:solidFill>
                  <a:schemeClr val="bg2"/>
                </a:solidFill>
                <a:latin typeface="+mn-lt"/>
              </a:defRPr>
            </a:lvl3pPr>
            <a:lvl4pPr marL="0" indent="0">
              <a:buNone/>
              <a:defRPr sz="1000" cap="none">
                <a:solidFill>
                  <a:schemeClr val="bg2"/>
                </a:solidFill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defRPr sz="1000" cap="none">
                <a:solidFill>
                  <a:schemeClr val="bg2"/>
                </a:solidFill>
                <a:latin typeface="+mn-lt"/>
              </a:defRPr>
            </a:lvl5pPr>
            <a:lvl6pPr marL="0" indent="0">
              <a:buFont typeface="Arial" panose="020B0604020202020204" pitchFamily="34" charset="0"/>
              <a:buNone/>
              <a:defRPr sz="1000" cap="none">
                <a:solidFill>
                  <a:schemeClr val="bg2"/>
                </a:solidFill>
                <a:latin typeface="+mn-lt"/>
              </a:defRPr>
            </a:lvl6pPr>
            <a:lvl7pPr marL="0" indent="0">
              <a:buFont typeface="Arial" panose="020B0604020202020204" pitchFamily="34" charset="0"/>
              <a:buNone/>
              <a:defRPr sz="1000" cap="none">
                <a:solidFill>
                  <a:schemeClr val="bg2"/>
                </a:solidFill>
                <a:latin typeface="+mn-lt"/>
              </a:defRPr>
            </a:lvl7pPr>
            <a:lvl8pPr marL="0" indent="0">
              <a:buFont typeface="Arial" panose="020B0604020202020204" pitchFamily="34" charset="0"/>
              <a:buNone/>
              <a:defRPr sz="1000" cap="none">
                <a:solidFill>
                  <a:schemeClr val="bg2"/>
                </a:solidFill>
                <a:latin typeface="+mn-lt"/>
              </a:defRPr>
            </a:lvl8pPr>
            <a:lvl9pPr marL="0" indent="0">
              <a:buFont typeface="Arial" panose="020B0604020202020204" pitchFamily="34" charset="0"/>
              <a:buNone/>
              <a:defRPr sz="1000" cap="none">
                <a:solidFill>
                  <a:schemeClr val="bg2"/>
                </a:solidFill>
                <a:latin typeface="+mn-lt"/>
              </a:defRPr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2</a:t>
            </a:r>
          </a:p>
          <a:p>
            <a:pPr lvl="2"/>
            <a:r>
              <a:rPr lang="en-US"/>
              <a:t>3</a:t>
            </a:r>
          </a:p>
          <a:p>
            <a:pPr lvl="3"/>
            <a:r>
              <a:rPr lang="en-US"/>
              <a:t>4</a:t>
            </a:r>
          </a:p>
          <a:p>
            <a:pPr lvl="4"/>
            <a:r>
              <a:rPr lang="en-US"/>
              <a:t>5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AU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5DCB89D-3AC5-44D9-B514-92E4E014EE0B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7509920" y="1"/>
            <a:ext cx="4682080" cy="2209799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1728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21523CDE-F139-4817-9BEA-E1B7B2E72461}"/>
              </a:ext>
            </a:extLst>
          </p:cNvPr>
          <p:cNvSpPr>
            <a:spLocks noGrp="1" noChangeAspect="1"/>
          </p:cNvSpPr>
          <p:nvPr>
            <p:ph type="body" sz="quarter" idx="24"/>
          </p:nvPr>
        </p:nvSpPr>
        <p:spPr>
          <a:xfrm>
            <a:off x="10849038" y="333375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68442885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0">
            <a:extLst>
              <a:ext uri="{FF2B5EF4-FFF2-40B4-BE49-F238E27FC236}">
                <a16:creationId xmlns:a16="http://schemas.microsoft.com/office/drawing/2014/main" id="{B4E51852-5101-48F7-8B58-1B847E23964B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1062000" tIns="792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D8AE3A4E-F9D7-4DE9-8409-5EE36E86AF3A}"/>
              </a:ext>
            </a:extLst>
          </p:cNvPr>
          <p:cNvSpPr>
            <a:spLocks noGrp="1" noChangeAspect="1"/>
          </p:cNvSpPr>
          <p:nvPr>
            <p:ph type="body" sz="quarter" idx="23"/>
          </p:nvPr>
        </p:nvSpPr>
        <p:spPr>
          <a:xfrm>
            <a:off x="5588000" y="1"/>
            <a:ext cx="6604000" cy="2376153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1728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EEFCBEF0-91F3-47D0-9F07-A40D48EDD246}"/>
              </a:ext>
            </a:extLst>
          </p:cNvPr>
          <p:cNvSpPr>
            <a:spLocks noGrp="1" noChangeAspect="1"/>
          </p:cNvSpPr>
          <p:nvPr>
            <p:ph type="body" sz="quarter" idx="16"/>
          </p:nvPr>
        </p:nvSpPr>
        <p:spPr>
          <a:xfrm>
            <a:off x="10849038" y="333375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25A78CB-C25F-477B-ACB8-7A8C3B33F7D7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0DC4922-3AFC-43D6-9996-17D5CAC06E9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54801EF-D4C3-4D21-A7DC-76D432B0F00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02576B30-62D5-46E1-8C3D-5439842664A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297292" y="50802"/>
            <a:ext cx="7563552" cy="6722530"/>
          </a:xfrm>
          <a:gradFill flip="none" rotWithShape="1">
            <a:gsLst>
              <a:gs pos="51000">
                <a:schemeClr val="tx1">
                  <a:alpha val="0"/>
                </a:schemeClr>
              </a:gs>
              <a:gs pos="18819">
                <a:srgbClr val="000000">
                  <a:alpha val="38000"/>
                </a:srgbClr>
              </a:gs>
              <a:gs pos="0">
                <a:schemeClr val="tx1">
                  <a:alpha val="5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lIns="1548000" tIns="2052000" rIns="1548000" bIns="1800000"/>
          <a:lstStyle>
            <a:lvl1pPr>
              <a:defRPr sz="2800" cap="none" baseline="0">
                <a:solidFill>
                  <a:schemeClr val="accent1"/>
                </a:solidFill>
                <a:latin typeface="+mj-lt"/>
              </a:defRPr>
            </a:lvl1pPr>
            <a:lvl2pPr algn="l">
              <a:spcBef>
                <a:spcPts val="600"/>
              </a:spcBef>
              <a:defRPr sz="1600" b="0" cap="none" baseline="0">
                <a:solidFill>
                  <a:schemeClr val="accent1"/>
                </a:solidFill>
              </a:defRPr>
            </a:lvl2pPr>
            <a:lvl3pPr marL="0" indent="0" algn="l">
              <a:buNone/>
              <a:defRPr sz="2800" cap="none">
                <a:solidFill>
                  <a:schemeClr val="bg1"/>
                </a:solidFill>
                <a:latin typeface="+mj-lt"/>
              </a:defRPr>
            </a:lvl3pPr>
            <a:lvl4pPr marL="0" indent="0" algn="l">
              <a:buNone/>
              <a:defRPr sz="1600" cap="none">
                <a:solidFill>
                  <a:schemeClr val="bg1"/>
                </a:solidFill>
              </a:defRPr>
            </a:lvl4pPr>
            <a:lvl5pPr algn="l">
              <a:defRPr sz="1600" cap="none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0F9C0CBA-4F99-4EEF-9452-1D46CF641C24}"/>
              </a:ext>
            </a:extLst>
          </p:cNvPr>
          <p:cNvSpPr>
            <a:spLocks noGrp="1" noChangeAspect="1"/>
          </p:cNvSpPr>
          <p:nvPr>
            <p:ph type="body" sz="quarter" idx="24"/>
          </p:nvPr>
        </p:nvSpPr>
        <p:spPr>
          <a:xfrm>
            <a:off x="2781942" y="1515534"/>
            <a:ext cx="889086" cy="737420"/>
          </a:xfrm>
          <a:blipFill>
            <a:blip r:embed="rId4"/>
            <a:srcRect/>
            <a:stretch>
              <a:fillRect l="-92364" t="-81474" r="-87765" b="-241990"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C44BD95F-52D2-4592-97AC-691C98740D72}"/>
              </a:ext>
            </a:extLst>
          </p:cNvPr>
          <p:cNvSpPr>
            <a:spLocks noGrp="1" noChangeAspect="1"/>
          </p:cNvSpPr>
          <p:nvPr>
            <p:ph type="body" sz="quarter" idx="25"/>
          </p:nvPr>
        </p:nvSpPr>
        <p:spPr>
          <a:xfrm rot="10800000">
            <a:off x="8445457" y="3908179"/>
            <a:ext cx="889086" cy="737420"/>
          </a:xfrm>
          <a:blipFill>
            <a:blip r:embed="rId4"/>
            <a:srcRect/>
            <a:stretch>
              <a:fillRect l="-92364" t="-81474" r="-87765" b="-241990"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4964207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genda 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0">
            <a:extLst>
              <a:ext uri="{FF2B5EF4-FFF2-40B4-BE49-F238E27FC236}">
                <a16:creationId xmlns:a16="http://schemas.microsoft.com/office/drawing/2014/main" id="{132E30D2-B4D0-3CF3-7CAB-B656C82644CA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20000" y="1"/>
            <a:ext cx="1075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1062000" tIns="342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1173286-3DD3-2372-8FD1-9ACBF04D3739}"/>
              </a:ext>
            </a:extLst>
          </p:cNvPr>
          <p:cNvSpPr>
            <a:spLocks noGrp="1" noChangeAspect="1"/>
          </p:cNvSpPr>
          <p:nvPr>
            <p:ph type="body" sz="quarter" idx="22"/>
          </p:nvPr>
        </p:nvSpPr>
        <p:spPr>
          <a:xfrm>
            <a:off x="5588000" y="1"/>
            <a:ext cx="6604000" cy="2376153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1728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DB743F40-F6DB-A0BD-1F51-3F1714819BB3}"/>
              </a:ext>
            </a:extLst>
          </p:cNvPr>
          <p:cNvSpPr>
            <a:spLocks noGrp="1" noChangeAspect="1"/>
          </p:cNvSpPr>
          <p:nvPr>
            <p:ph type="body" sz="quarter" idx="23"/>
          </p:nvPr>
        </p:nvSpPr>
        <p:spPr>
          <a:xfrm>
            <a:off x="10128313" y="333375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9628" y="333375"/>
            <a:ext cx="10080000" cy="1080000"/>
          </a:xfrm>
        </p:spPr>
        <p:txBody>
          <a:bodyPr/>
          <a:lstStyle>
            <a:lvl1pPr>
              <a:defRPr cap="all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FEB565-49CC-408C-BDD2-C2590A4A642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49629" y="1880314"/>
            <a:ext cx="4320000" cy="3960000"/>
          </a:xfrm>
          <a:prstGeom prst="roundRect">
            <a:avLst>
              <a:gd name="adj" fmla="val 3032"/>
            </a:avLst>
          </a:prstGeom>
          <a:solidFill>
            <a:schemeClr val="bg2"/>
          </a:solidFill>
        </p:spPr>
        <p:txBody>
          <a:bodyPr lIns="144000" tIns="144000" rIns="144000" bIns="144000"/>
          <a:lstStyle>
            <a:lvl1pPr marL="288000" indent="-288000">
              <a:spcBef>
                <a:spcPts val="1200"/>
              </a:spcBef>
              <a:buFont typeface="+mj-lt"/>
              <a:buAutoNum type="arabicPeriod"/>
              <a:defRPr sz="2200"/>
            </a:lvl1pPr>
            <a:lvl2pPr marL="288000">
              <a:spcBef>
                <a:spcPts val="600"/>
              </a:spcBef>
              <a:spcAft>
                <a:spcPts val="600"/>
              </a:spcAft>
              <a:defRPr b="0" cap="none" baseline="0">
                <a:solidFill>
                  <a:schemeClr val="tx2"/>
                </a:solidFill>
              </a:defRPr>
            </a:lvl2pPr>
            <a:lvl3pPr marL="468000">
              <a:defRPr/>
            </a:lvl3pPr>
            <a:lvl4pPr marL="0" indent="0">
              <a:buNone/>
              <a:defRPr cap="all" baseline="0">
                <a:solidFill>
                  <a:schemeClr val="accent1"/>
                </a:solidFill>
                <a:latin typeface="+mj-lt"/>
              </a:defRPr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add Agenda item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98866983-58A4-4EC2-ADBC-AEEA6B9D69AB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8248903" y="6288257"/>
            <a:ext cx="1183557" cy="365125"/>
          </a:xfrm>
        </p:spPr>
        <p:txBody>
          <a:bodyPr/>
          <a:lstStyle/>
          <a:p>
            <a:endParaRPr lang="en-GB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F6B299B-0652-4E6B-BB65-0DE715526B4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55688" y="6288257"/>
            <a:ext cx="7193215" cy="365125"/>
          </a:xfrm>
        </p:spPr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42DCA20-AF8B-4853-AA2C-E5E7CD8D26F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8B1AC7E-46EA-441D-9455-6E65525B6A5A}"/>
              </a:ext>
            </a:extLst>
          </p:cNvPr>
          <p:cNvSpPr/>
          <p:nvPr userDrawn="1"/>
        </p:nvSpPr>
        <p:spPr>
          <a:xfrm>
            <a:off x="0" y="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C9469F0-045F-4A85-8721-359D41A43D06}"/>
              </a:ext>
            </a:extLst>
          </p:cNvPr>
          <p:cNvSpPr/>
          <p:nvPr userDrawn="1"/>
        </p:nvSpPr>
        <p:spPr>
          <a:xfrm>
            <a:off x="11472000" y="-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700599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genda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61B3790-BDEB-43E5-BF9C-3E8D289EECE8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C59AD166-A33E-4D4B-BE9A-EF6978131E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128313" y="333375"/>
            <a:ext cx="1008000" cy="44879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9628" y="333375"/>
            <a:ext cx="10080000" cy="1080000"/>
          </a:xfrm>
        </p:spPr>
        <p:txBody>
          <a:bodyPr/>
          <a:lstStyle>
            <a:lvl1pPr>
              <a:defRPr cap="all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FEB565-49CC-408C-BDD2-C2590A4A642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49629" y="1880314"/>
            <a:ext cx="4320000" cy="3960000"/>
          </a:xfrm>
        </p:spPr>
        <p:txBody>
          <a:bodyPr/>
          <a:lstStyle>
            <a:lvl1pPr marL="288000" indent="-288000">
              <a:spcBef>
                <a:spcPts val="1200"/>
              </a:spcBef>
              <a:buFont typeface="+mj-lt"/>
              <a:buAutoNum type="arabicPeriod"/>
              <a:defRPr sz="2200"/>
            </a:lvl1pPr>
            <a:lvl2pPr marL="288000">
              <a:spcBef>
                <a:spcPts val="600"/>
              </a:spcBef>
              <a:spcAft>
                <a:spcPts val="600"/>
              </a:spcAft>
              <a:defRPr b="0" cap="none" baseline="0">
                <a:solidFill>
                  <a:schemeClr val="tx2"/>
                </a:solidFill>
              </a:defRPr>
            </a:lvl2pPr>
            <a:lvl3pPr marL="468000">
              <a:defRPr/>
            </a:lvl3pPr>
            <a:lvl4pPr marL="0" indent="0">
              <a:buNone/>
              <a:defRPr cap="all" baseline="0">
                <a:solidFill>
                  <a:schemeClr val="accent1"/>
                </a:solidFill>
                <a:latin typeface="+mj-lt"/>
              </a:defRPr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add Agenda item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98866983-58A4-4EC2-ADBC-AEEA6B9D69AB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8248903" y="6288257"/>
            <a:ext cx="1183557" cy="365125"/>
          </a:xfrm>
        </p:spPr>
        <p:txBody>
          <a:bodyPr/>
          <a:lstStyle/>
          <a:p>
            <a:endParaRPr lang="en-GB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F6B299B-0652-4E6B-BB65-0DE715526B4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55688" y="6288257"/>
            <a:ext cx="7193215" cy="365125"/>
          </a:xfrm>
        </p:spPr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42DCA20-AF8B-4853-AA2C-E5E7CD8D26F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8B1AC7E-46EA-441D-9455-6E65525B6A5A}"/>
              </a:ext>
            </a:extLst>
          </p:cNvPr>
          <p:cNvSpPr/>
          <p:nvPr userDrawn="1"/>
        </p:nvSpPr>
        <p:spPr>
          <a:xfrm>
            <a:off x="0" y="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C9469F0-045F-4A85-8721-359D41A43D06}"/>
              </a:ext>
            </a:extLst>
          </p:cNvPr>
          <p:cNvSpPr/>
          <p:nvPr userDrawn="1"/>
        </p:nvSpPr>
        <p:spPr>
          <a:xfrm>
            <a:off x="11472000" y="-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6" name="Picture Placeholder 7">
            <a:extLst>
              <a:ext uri="{FF2B5EF4-FFF2-40B4-BE49-F238E27FC236}">
                <a16:creationId xmlns:a16="http://schemas.microsoft.com/office/drawing/2014/main" id="{ECCDD9A2-88BD-288E-C2DE-C790334EEFD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083255" y="1880314"/>
            <a:ext cx="5046373" cy="4644311"/>
          </a:xfrm>
          <a:prstGeom prst="roundRect">
            <a:avLst>
              <a:gd name="adj" fmla="val 1982"/>
            </a:avLst>
          </a:prstGeom>
          <a:solidFill>
            <a:schemeClr val="bg1">
              <a:lumMod val="85000"/>
            </a:schemeClr>
          </a:solidFill>
        </p:spPr>
        <p:txBody>
          <a:bodyPr lIns="342000" tIns="342000" rIns="342000" bIns="342000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AU"/>
              <a:t>To insert an image, select ‘Insert Picture’, or click on icon. Select ‘Picture Format &gt; Crop’ to edit size and position of picture.</a:t>
            </a:r>
          </a:p>
        </p:txBody>
      </p:sp>
    </p:spTree>
    <p:extLst>
      <p:ext uri="{BB962C8B-B14F-4D97-AF65-F5344CB8AC3E}">
        <p14:creationId xmlns:p14="http://schemas.microsoft.com/office/powerpoint/2010/main" val="34292474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parti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1" y="1413375"/>
            <a:ext cx="6120000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06AFE3-EE64-4522-825B-815C6A28E9F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CCCCDE7-B8EA-4773-A164-304D34F89D0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C4FDAA8-8585-4D16-87AD-3485D164648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769878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hree Content dar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EE12000-F088-E522-6304-0968384B94F3}"/>
              </a:ext>
            </a:extLst>
          </p:cNvPr>
          <p:cNvSpPr/>
          <p:nvPr userDrawn="1"/>
        </p:nvSpPr>
        <p:spPr>
          <a:xfrm>
            <a:off x="0" y="-1"/>
            <a:ext cx="12192000" cy="687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EC4A21E-807E-5FDD-8824-AF0D6394DA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Date Placeholder 2">
            <a:extLst>
              <a:ext uri="{FF2B5EF4-FFF2-40B4-BE49-F238E27FC236}">
                <a16:creationId xmlns:a16="http://schemas.microsoft.com/office/drawing/2014/main" id="{6B1662BB-CAD4-897E-19CF-EE6EA445564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8969628" y="6288257"/>
            <a:ext cx="1183557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Footer Placeholder 6">
            <a:extLst>
              <a:ext uri="{FF2B5EF4-FFF2-40B4-BE49-F238E27FC236}">
                <a16:creationId xmlns:a16="http://schemas.microsoft.com/office/drawing/2014/main" id="{6822986D-0E68-2C1D-2A4E-A0549061AD1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055688" y="6288257"/>
            <a:ext cx="7913940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17" name="Slide Number Placeholder 7">
            <a:extLst>
              <a:ext uri="{FF2B5EF4-FFF2-40B4-BE49-F238E27FC236}">
                <a16:creationId xmlns:a16="http://schemas.microsoft.com/office/drawing/2014/main" id="{D4B3B7CF-CA39-CFD8-F620-69024AEAFB0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334962" y="6288257"/>
            <a:ext cx="727410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D43D1DC4-1A25-CBD1-4721-AD3FDB16B73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849886" y="333375"/>
            <a:ext cx="1006304" cy="448782"/>
          </a:xfrm>
          <a:prstGeom prst="rect">
            <a:avLst/>
          </a:prstGeom>
        </p:spPr>
      </p:pic>
      <p:sp>
        <p:nvSpPr>
          <p:cNvPr id="19" name="Content Placeholder 8">
            <a:extLst>
              <a:ext uri="{FF2B5EF4-FFF2-40B4-BE49-F238E27FC236}">
                <a16:creationId xmlns:a16="http://schemas.microsoft.com/office/drawing/2014/main" id="{E5376368-AA05-79D8-A228-0DE09C4AF969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34962" y="1233375"/>
            <a:ext cx="3626079" cy="4563542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8">
            <a:extLst>
              <a:ext uri="{FF2B5EF4-FFF2-40B4-BE49-F238E27FC236}">
                <a16:creationId xmlns:a16="http://schemas.microsoft.com/office/drawing/2014/main" id="{78E0D5D8-781B-B006-D3CE-19F6F3976A5B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289481" y="1233375"/>
            <a:ext cx="3626079" cy="4563542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Content Placeholder 8">
            <a:extLst>
              <a:ext uri="{FF2B5EF4-FFF2-40B4-BE49-F238E27FC236}">
                <a16:creationId xmlns:a16="http://schemas.microsoft.com/office/drawing/2014/main" id="{3861165C-A187-994F-9836-39730BCEA67D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244000" y="1233375"/>
            <a:ext cx="3626079" cy="4563542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695815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and right 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23DD628-AE63-4907-AF4B-6B53C077707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0"/>
            <a:ext cx="6096000" cy="6858000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</p:spPr>
        <p:txBody>
          <a:bodyPr lIns="342000" tIns="342000" rIns="1440000" bIns="342000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AU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EB2F477-266C-4C9D-A64F-287BA3F4CF3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4962" y="1880314"/>
            <a:ext cx="5220000" cy="396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771A36E-45E1-4553-9842-66EF392719C7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844884" y="1880314"/>
            <a:ext cx="2160000" cy="396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7D669EEE-6563-477F-A4CD-D425F6140F00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347256" y="1880314"/>
            <a:ext cx="2160000" cy="396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A5DE353-D720-4A1F-9ECC-89FB139059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2218" y="333375"/>
            <a:ext cx="5220000" cy="108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913AB32-E310-49A2-9A47-2348F6B61E52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6266A723-640D-4EFF-93D1-1E964694156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C4DEE883-581D-4AC9-9251-8929D0C8E380}"/>
              </a:ext>
            </a:extLst>
          </p:cNvPr>
          <p:cNvSpPr>
            <a:spLocks noGrp="1" noChangeAspect="1"/>
          </p:cNvSpPr>
          <p:nvPr>
            <p:ph type="body" sz="quarter" idx="25"/>
          </p:nvPr>
        </p:nvSpPr>
        <p:spPr>
          <a:xfrm>
            <a:off x="7540580" y="1"/>
            <a:ext cx="4651420" cy="1673605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1740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6C4035EB-46BA-D68D-EDAA-1CAC6D7697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2170" y="303442"/>
            <a:ext cx="979715" cy="43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03495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1312C68-9CDC-4DDF-AFFD-F813984EE08A}"/>
              </a:ext>
            </a:extLst>
          </p:cNvPr>
          <p:cNvSpPr/>
          <p:nvPr userDrawn="1"/>
        </p:nvSpPr>
        <p:spPr>
          <a:xfrm>
            <a:off x="0" y="-11798"/>
            <a:ext cx="12192000" cy="690814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880315"/>
            <a:ext cx="10080000" cy="396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  <a:lvl6pPr>
              <a:defRPr>
                <a:solidFill>
                  <a:schemeClr val="bg2"/>
                </a:solidFill>
              </a:defRPr>
            </a:lvl6pPr>
            <a:lvl7pPr>
              <a:defRPr>
                <a:solidFill>
                  <a:schemeClr val="bg2"/>
                </a:solidFill>
              </a:defRPr>
            </a:lvl7pPr>
            <a:lvl8pPr>
              <a:defRPr>
                <a:solidFill>
                  <a:schemeClr val="bg2"/>
                </a:solidFill>
              </a:defRPr>
            </a:lvl8pPr>
            <a:lvl9pPr>
              <a:defRPr>
                <a:solidFill>
                  <a:schemeClr val="bg2"/>
                </a:solidFill>
              </a:defRPr>
            </a:lvl9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06AFE3-EE64-4522-825B-815C6A28E9F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CCCCDE7-B8EA-4773-A164-304D34F89D0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C4FDAA8-8585-4D16-87AD-3485D164648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13531284-6BE9-BD4E-988C-3BBCE7CCAE7F}"/>
              </a:ext>
            </a:extLst>
          </p:cNvPr>
          <p:cNvSpPr>
            <a:spLocks noGrp="1" noChangeAspect="1"/>
          </p:cNvSpPr>
          <p:nvPr>
            <p:ph type="body" sz="quarter" idx="18"/>
          </p:nvPr>
        </p:nvSpPr>
        <p:spPr>
          <a:xfrm>
            <a:off x="10849038" y="333375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597199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Whi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fld id="{86CB4B4D-7CA3-9044-876B-883B54F8677D}" type="slidenum">
              <a:rPr lang="en-DE" smtClean="0">
                <a:solidFill>
                  <a:prstClr val="black">
                    <a:tint val="75000"/>
                  </a:prstClr>
                </a:solidFill>
                <a:latin typeface="Arial" panose="020B0604020202020204"/>
              </a:rPr>
              <a:pPr>
                <a:defRPr/>
              </a:pPr>
              <a:t>‹N°›</a:t>
            </a:fld>
            <a:endParaRPr lang="en-DE">
              <a:solidFill>
                <a:prstClr val="black">
                  <a:tint val="75000"/>
                </a:prstClr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4065033863"/>
      </p:ext>
    </p:extLst>
  </p:cSld>
  <p:clrMapOvr>
    <a:masterClrMapping/>
  </p:clrMapOvr>
  <p:transition spd="med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ing slide-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E9670259-4695-428B-A004-7FC80D7094B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19400" y="1"/>
            <a:ext cx="107532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342000" tIns="342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552E04E-D25F-4B05-AD2F-C588430EFE7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40308" y="2569331"/>
            <a:ext cx="3511384" cy="156478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>
            <a:glow rad="571500">
              <a:schemeClr val="tx1">
                <a:alpha val="20000"/>
              </a:schemeClr>
            </a:glow>
          </a:effectLst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C3F7B8-0B35-40FF-8CB7-4337CBF123A9}"/>
              </a:ext>
            </a:extLst>
          </p:cNvPr>
          <p:cNvSpPr/>
          <p:nvPr userDrawn="1"/>
        </p:nvSpPr>
        <p:spPr>
          <a:xfrm>
            <a:off x="0" y="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CCB27E3-026E-4103-AE04-0346F7EF5C2F}"/>
              </a:ext>
            </a:extLst>
          </p:cNvPr>
          <p:cNvSpPr/>
          <p:nvPr userDrawn="1"/>
        </p:nvSpPr>
        <p:spPr>
          <a:xfrm>
            <a:off x="11472000" y="-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526004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E9670259-4695-428B-A004-7FC80D7094B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1062000" tIns="342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A57D46A-D8D7-49BF-9479-240175CDBE8A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7540580" y="1"/>
            <a:ext cx="4651420" cy="1673605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1740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F9144E-5217-4B9A-B2C1-83385827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2619000"/>
            <a:ext cx="9000000" cy="1620000"/>
          </a:xfrm>
          <a:noFill/>
        </p:spPr>
        <p:txBody>
          <a:bodyPr lIns="342000" tIns="0" rIns="2160000" bIns="0" anchor="ctr" anchorCtr="0"/>
          <a:lstStyle>
            <a:lvl1pPr>
              <a:defRPr sz="4500" cap="all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DC10E613-8E2B-4D31-ABB0-5128576B7EE8}"/>
              </a:ext>
            </a:extLst>
          </p:cNvPr>
          <p:cNvSpPr>
            <a:spLocks noGrp="1" noChangeAspect="1"/>
          </p:cNvSpPr>
          <p:nvPr>
            <p:ph type="body" sz="quarter" idx="16"/>
          </p:nvPr>
        </p:nvSpPr>
        <p:spPr>
          <a:xfrm>
            <a:off x="10849038" y="333375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89177244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3979AE5-365E-4EEB-8F4C-F4E45C728AEF}"/>
              </a:ext>
            </a:extLst>
          </p:cNvPr>
          <p:cNvSpPr/>
          <p:nvPr userDrawn="1"/>
        </p:nvSpPr>
        <p:spPr>
          <a:xfrm>
            <a:off x="719400" y="-2"/>
            <a:ext cx="107532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E31FF5A-63AE-45A7-AF45-BF707B1A337A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14726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472600 w 12192000"/>
              <a:gd name="connsiteY3" fmla="*/ 6858000 h 6858000"/>
              <a:gd name="connsiteX4" fmla="*/ 0 w 12192000"/>
              <a:gd name="connsiteY4" fmla="*/ 0 h 6858000"/>
              <a:gd name="connsiteX5" fmla="*/ 719400 w 12192000"/>
              <a:gd name="connsiteY5" fmla="*/ 0 h 6858000"/>
              <a:gd name="connsiteX6" fmla="*/ 7194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14726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472600" y="6858000"/>
                </a:lnTo>
                <a:close/>
                <a:moveTo>
                  <a:pt x="0" y="0"/>
                </a:moveTo>
                <a:lnTo>
                  <a:pt x="719400" y="0"/>
                </a:lnTo>
                <a:lnTo>
                  <a:pt x="7194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08000" tIns="108000" rIns="115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99E31010-2D9D-4F4E-9267-AD318E40DB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116752" y="5624625"/>
            <a:ext cx="2018068" cy="899999"/>
          </a:xfrm>
          <a:prstGeom prst="rect">
            <a:avLst/>
          </a:prstGeom>
        </p:spPr>
      </p:pic>
      <p:sp>
        <p:nvSpPr>
          <p:cNvPr id="6" name="Subtitle 2">
            <a:extLst>
              <a:ext uri="{FF2B5EF4-FFF2-40B4-BE49-F238E27FC236}">
                <a16:creationId xmlns:a16="http://schemas.microsoft.com/office/drawing/2014/main" id="{B113A054-12CB-4197-89CB-FBA21D5F89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5688" y="4097865"/>
            <a:ext cx="5040312" cy="14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800" b="1" cap="none">
                <a:solidFill>
                  <a:schemeClr val="bg1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6pPr>
            <a:lvl7pPr marL="0" indent="0" algn="l">
              <a:buNone/>
              <a:defRPr sz="1800" b="1">
                <a:solidFill>
                  <a:schemeClr val="bg1"/>
                </a:solidFill>
              </a:defRPr>
            </a:lvl7pPr>
            <a:lvl8pPr marL="0" indent="0" algn="l">
              <a:buNone/>
              <a:defRPr sz="1800" b="1">
                <a:solidFill>
                  <a:schemeClr val="bg1"/>
                </a:solidFill>
              </a:defRPr>
            </a:lvl8pPr>
            <a:lvl9pPr marL="0" indent="0" algn="l">
              <a:buNone/>
              <a:defRPr sz="1800" b="1">
                <a:solidFill>
                  <a:schemeClr val="bg1"/>
                </a:solidFill>
              </a:defRPr>
            </a:lvl9pPr>
          </a:lstStyle>
          <a:p>
            <a:r>
              <a:rPr lang="en-AU"/>
              <a:t>Subtitle or presenters name and date</a:t>
            </a:r>
            <a:endParaRPr lang="en-GB"/>
          </a:p>
          <a:p>
            <a:pPr lvl="1"/>
            <a:r>
              <a:rPr lang="en-US"/>
              <a:t>2</a:t>
            </a:r>
          </a:p>
          <a:p>
            <a:pPr lvl="2"/>
            <a:r>
              <a:rPr lang="en-US"/>
              <a:t>3</a:t>
            </a:r>
          </a:p>
          <a:p>
            <a:pPr lvl="3"/>
            <a:r>
              <a:rPr lang="en-US"/>
              <a:t>4</a:t>
            </a:r>
          </a:p>
          <a:p>
            <a:pPr lvl="4"/>
            <a:r>
              <a:rPr lang="en-US"/>
              <a:t>5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287AC88-A942-4E4F-A359-307B996A79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1946566"/>
            <a:ext cx="10753200" cy="1620000"/>
          </a:xfrm>
          <a:noFill/>
        </p:spPr>
        <p:txBody>
          <a:bodyPr lIns="342000" tIns="342000" rIns="2160000" bIns="0" anchor="b" anchorCtr="0"/>
          <a:lstStyle>
            <a:lvl1pPr>
              <a:defRPr sz="4500" cap="all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22268069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l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E9670259-4695-428B-A004-7FC80D7094B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19400" y="1"/>
            <a:ext cx="107532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342000" tIns="342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F9144E-5217-4B9A-B2C1-83385827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1946566"/>
            <a:ext cx="10753200" cy="1620000"/>
          </a:xfrm>
          <a:noFill/>
        </p:spPr>
        <p:txBody>
          <a:bodyPr lIns="342000" tIns="342000" rIns="2160000" bIns="0" anchor="b" anchorCtr="0"/>
          <a:lstStyle>
            <a:lvl1pPr>
              <a:defRPr sz="4500" cap="all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113A054-12CB-4197-89CB-FBA21D5F89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5688" y="4097865"/>
            <a:ext cx="5040312" cy="14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800" b="1" cap="none">
                <a:solidFill>
                  <a:schemeClr val="bg2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6pPr>
            <a:lvl7pPr marL="0" indent="0" algn="l">
              <a:buNone/>
              <a:defRPr sz="1800" b="1">
                <a:solidFill>
                  <a:schemeClr val="bg2"/>
                </a:solidFill>
              </a:defRPr>
            </a:lvl7pPr>
            <a:lvl8pPr marL="0" indent="0" algn="l">
              <a:buNone/>
              <a:defRPr sz="1800" b="1">
                <a:solidFill>
                  <a:schemeClr val="bg2"/>
                </a:solidFill>
              </a:defRPr>
            </a:lvl8pPr>
            <a:lvl9pPr marL="0" indent="0" algn="l">
              <a:buNone/>
              <a:defRPr sz="1800" b="1">
                <a:solidFill>
                  <a:schemeClr val="bg2"/>
                </a:solidFill>
              </a:defRPr>
            </a:lvl9pPr>
          </a:lstStyle>
          <a:p>
            <a:r>
              <a:rPr lang="en-AU"/>
              <a:t>Subtitle or presenters name and date</a:t>
            </a:r>
            <a:endParaRPr lang="en-GB"/>
          </a:p>
          <a:p>
            <a:pPr lvl="1"/>
            <a:r>
              <a:rPr lang="en-US"/>
              <a:t>2</a:t>
            </a:r>
          </a:p>
          <a:p>
            <a:pPr lvl="2"/>
            <a:r>
              <a:rPr lang="en-US"/>
              <a:t>3</a:t>
            </a:r>
          </a:p>
          <a:p>
            <a:pPr lvl="3"/>
            <a:r>
              <a:rPr lang="en-US"/>
              <a:t>4</a:t>
            </a:r>
          </a:p>
          <a:p>
            <a:pPr lvl="4"/>
            <a:r>
              <a:rPr lang="en-US"/>
              <a:t>5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C3F7B8-0B35-40FF-8CB7-4337CBF123A9}"/>
              </a:ext>
            </a:extLst>
          </p:cNvPr>
          <p:cNvSpPr/>
          <p:nvPr userDrawn="1"/>
        </p:nvSpPr>
        <p:spPr>
          <a:xfrm>
            <a:off x="0" y="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CCB27E3-026E-4103-AE04-0346F7EF5C2F}"/>
              </a:ext>
            </a:extLst>
          </p:cNvPr>
          <p:cNvSpPr/>
          <p:nvPr userDrawn="1"/>
        </p:nvSpPr>
        <p:spPr>
          <a:xfrm>
            <a:off x="11472000" y="-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C4A1CEB9-11E9-4D44-B10D-C1106153B09E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6096000" y="3940935"/>
            <a:ext cx="5376000" cy="2917066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40000"/>
                </a:schemeClr>
              </a:gs>
            </a:gsLst>
            <a:lin ang="372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552E04E-D25F-4B05-AD2F-C588430EFE7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16713" y="5624625"/>
            <a:ext cx="2019600" cy="900000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6032019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dark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E9670259-4695-428B-A004-7FC80D7094B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19400" y="1"/>
            <a:ext cx="107532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342000" tIns="342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FC044026-2D0A-4F4C-B231-B0EF94B3258C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6096000" y="3940935"/>
            <a:ext cx="5376000" cy="2917066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40000"/>
                </a:schemeClr>
              </a:gs>
            </a:gsLst>
            <a:lin ang="372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F9144E-5217-4B9A-B2C1-83385827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1946566"/>
            <a:ext cx="10753200" cy="1620000"/>
          </a:xfrm>
          <a:noFill/>
        </p:spPr>
        <p:txBody>
          <a:bodyPr lIns="342000" tIns="342000" rIns="2160000" bIns="0" anchor="b" anchorCtr="0"/>
          <a:lstStyle>
            <a:lvl1pPr>
              <a:defRPr sz="4500" cap="all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113A054-12CB-4197-89CB-FBA21D5F89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5688" y="4097865"/>
            <a:ext cx="5040312" cy="14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800" b="1" cap="none">
                <a:solidFill>
                  <a:schemeClr val="bg2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6pPr>
            <a:lvl7pPr marL="0" indent="0" algn="l">
              <a:buNone/>
              <a:defRPr sz="1800" b="1">
                <a:solidFill>
                  <a:schemeClr val="bg2"/>
                </a:solidFill>
              </a:defRPr>
            </a:lvl7pPr>
            <a:lvl8pPr marL="0" indent="0" algn="l">
              <a:buNone/>
              <a:defRPr sz="1800" b="1">
                <a:solidFill>
                  <a:schemeClr val="bg2"/>
                </a:solidFill>
              </a:defRPr>
            </a:lvl8pPr>
            <a:lvl9pPr marL="0" indent="0" algn="l">
              <a:buNone/>
              <a:defRPr sz="1800" b="1">
                <a:solidFill>
                  <a:schemeClr val="bg2"/>
                </a:solidFill>
              </a:defRPr>
            </a:lvl9pPr>
          </a:lstStyle>
          <a:p>
            <a:r>
              <a:rPr lang="en-AU"/>
              <a:t>Subtitle or presenters name and date</a:t>
            </a:r>
            <a:endParaRPr lang="en-GB"/>
          </a:p>
          <a:p>
            <a:pPr lvl="1"/>
            <a:r>
              <a:rPr lang="en-US"/>
              <a:t>2</a:t>
            </a:r>
          </a:p>
          <a:p>
            <a:pPr lvl="2"/>
            <a:r>
              <a:rPr lang="en-US"/>
              <a:t>3</a:t>
            </a:r>
          </a:p>
          <a:p>
            <a:pPr lvl="3"/>
            <a:r>
              <a:rPr lang="en-US"/>
              <a:t>4</a:t>
            </a:r>
          </a:p>
          <a:p>
            <a:pPr lvl="4"/>
            <a:r>
              <a:rPr lang="en-US"/>
              <a:t>5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GB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552E04E-D25F-4B05-AD2F-C588430EFE7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16713" y="5624625"/>
            <a:ext cx="2019600" cy="900000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C3F7B8-0B35-40FF-8CB7-4337CBF123A9}"/>
              </a:ext>
            </a:extLst>
          </p:cNvPr>
          <p:cNvSpPr/>
          <p:nvPr userDrawn="1"/>
        </p:nvSpPr>
        <p:spPr>
          <a:xfrm>
            <a:off x="0" y="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CCB27E3-026E-4103-AE04-0346F7EF5C2F}"/>
              </a:ext>
            </a:extLst>
          </p:cNvPr>
          <p:cNvSpPr/>
          <p:nvPr userDrawn="1"/>
        </p:nvSpPr>
        <p:spPr>
          <a:xfrm>
            <a:off x="11472000" y="-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63335624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E9670259-4695-428B-A004-7FC80D7094B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1062000" tIns="342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A57D46A-D8D7-49BF-9479-240175CDBE8A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5588000" y="4481848"/>
            <a:ext cx="6604000" cy="2376153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432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F9144E-5217-4B9A-B2C1-83385827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2619000"/>
            <a:ext cx="9000000" cy="1620000"/>
          </a:xfrm>
          <a:noFill/>
        </p:spPr>
        <p:txBody>
          <a:bodyPr lIns="342000" tIns="0" rIns="2160000" bIns="0" anchor="ctr" anchorCtr="0"/>
          <a:lstStyle>
            <a:lvl1pPr>
              <a:defRPr sz="4500" cap="all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DC10E613-8E2B-4D31-ABB0-5128576B7EE8}"/>
              </a:ext>
            </a:extLst>
          </p:cNvPr>
          <p:cNvSpPr>
            <a:spLocks noGrp="1" noChangeAspect="1"/>
          </p:cNvSpPr>
          <p:nvPr>
            <p:ph type="body" sz="quarter" idx="16"/>
          </p:nvPr>
        </p:nvSpPr>
        <p:spPr>
          <a:xfrm>
            <a:off x="10849038" y="6082494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12149312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2DC463D-2F1B-4364-A3E4-F6CD28DDD6E5}"/>
              </a:ext>
            </a:extLst>
          </p:cNvPr>
          <p:cNvSpPr/>
          <p:nvPr userDrawn="1"/>
        </p:nvSpPr>
        <p:spPr>
          <a:xfrm>
            <a:off x="0" y="-1"/>
            <a:ext cx="12192000" cy="687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1FEDEA8-EB01-4969-95D6-56EB2DB610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849886" y="6082863"/>
            <a:ext cx="1006304" cy="44878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2F9144E-5217-4B9A-B2C1-83385827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2619000"/>
            <a:ext cx="9000000" cy="1620000"/>
          </a:xfrm>
          <a:noFill/>
        </p:spPr>
        <p:txBody>
          <a:bodyPr lIns="342000" tIns="0" rIns="2160000" bIns="0" anchor="ctr" anchorCtr="0"/>
          <a:lstStyle>
            <a:lvl1pPr>
              <a:defRPr sz="4500" cap="all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79303177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61B3790-BDEB-43E5-BF9C-3E8D289EECE8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C59AD166-A33E-4D4B-BE9A-EF6978131E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128313" y="6082856"/>
            <a:ext cx="1008000" cy="44879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9628" y="333375"/>
            <a:ext cx="10080000" cy="1080000"/>
          </a:xfrm>
        </p:spPr>
        <p:txBody>
          <a:bodyPr/>
          <a:lstStyle>
            <a:lvl1pPr>
              <a:defRPr cap="all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FEB565-49CC-408C-BDD2-C2590A4A642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49629" y="1880314"/>
            <a:ext cx="4320000" cy="3960000"/>
          </a:xfrm>
        </p:spPr>
        <p:txBody>
          <a:bodyPr/>
          <a:lstStyle>
            <a:lvl1pPr marL="288000" indent="-288000">
              <a:spcBef>
                <a:spcPts val="1200"/>
              </a:spcBef>
              <a:buFont typeface="+mj-lt"/>
              <a:buAutoNum type="arabicPeriod"/>
              <a:defRPr sz="2200"/>
            </a:lvl1pPr>
            <a:lvl2pPr marL="288000">
              <a:spcBef>
                <a:spcPts val="600"/>
              </a:spcBef>
              <a:spcAft>
                <a:spcPts val="600"/>
              </a:spcAft>
              <a:defRPr b="0" cap="none" baseline="0">
                <a:solidFill>
                  <a:schemeClr val="tx2"/>
                </a:solidFill>
              </a:defRPr>
            </a:lvl2pPr>
            <a:lvl3pPr marL="468000">
              <a:defRPr/>
            </a:lvl3pPr>
            <a:lvl4pPr marL="0" indent="0">
              <a:buNone/>
              <a:defRPr cap="all" baseline="0">
                <a:solidFill>
                  <a:schemeClr val="accent1"/>
                </a:solidFill>
                <a:latin typeface="+mj-lt"/>
              </a:defRPr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add Agenda item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5E5FA15F-A1ED-4F06-8C67-E1D73CF85C8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1880314"/>
            <a:ext cx="4320000" cy="3960000"/>
          </a:xfrm>
        </p:spPr>
        <p:txBody>
          <a:bodyPr/>
          <a:lstStyle>
            <a:lvl1pPr marL="288000" indent="-288000">
              <a:spcBef>
                <a:spcPts val="1200"/>
              </a:spcBef>
              <a:buFont typeface="+mj-lt"/>
              <a:buAutoNum type="arabicPeriod"/>
              <a:defRPr sz="2200"/>
            </a:lvl1pPr>
            <a:lvl2pPr marL="288000">
              <a:spcBef>
                <a:spcPts val="600"/>
              </a:spcBef>
              <a:spcAft>
                <a:spcPts val="600"/>
              </a:spcAft>
              <a:defRPr b="0" cap="none" baseline="0">
                <a:solidFill>
                  <a:schemeClr val="tx2"/>
                </a:solidFill>
              </a:defRPr>
            </a:lvl2pPr>
            <a:lvl3pPr marL="468000">
              <a:defRPr/>
            </a:lvl3pPr>
            <a:lvl4pPr marL="0" indent="0">
              <a:buNone/>
              <a:defRPr cap="all" baseline="0">
                <a:solidFill>
                  <a:schemeClr val="accent1"/>
                </a:solidFill>
                <a:latin typeface="+mj-lt"/>
              </a:defRPr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add Agenda item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98866983-58A4-4EC2-ADBC-AEEA6B9D69AB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8248903" y="6288257"/>
            <a:ext cx="1183557" cy="365125"/>
          </a:xfrm>
        </p:spPr>
        <p:txBody>
          <a:bodyPr/>
          <a:lstStyle/>
          <a:p>
            <a:endParaRPr lang="en-GB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F6B299B-0652-4E6B-BB65-0DE715526B4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55688" y="6288257"/>
            <a:ext cx="7193215" cy="365125"/>
          </a:xfrm>
        </p:spPr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42DCA20-AF8B-4853-AA2C-E5E7CD8D26F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8B1AC7E-46EA-441D-9455-6E65525B6A5A}"/>
              </a:ext>
            </a:extLst>
          </p:cNvPr>
          <p:cNvSpPr/>
          <p:nvPr userDrawn="1"/>
        </p:nvSpPr>
        <p:spPr>
          <a:xfrm>
            <a:off x="0" y="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C9469F0-045F-4A85-8721-359D41A43D06}"/>
              </a:ext>
            </a:extLst>
          </p:cNvPr>
          <p:cNvSpPr/>
          <p:nvPr userDrawn="1"/>
        </p:nvSpPr>
        <p:spPr>
          <a:xfrm>
            <a:off x="11472000" y="-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0217234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880315"/>
            <a:ext cx="10080000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06AFE3-EE64-4522-825B-815C6A28E9F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CCCCDE7-B8EA-4773-A164-304D34F89D0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C4FDAA8-8585-4D16-87AD-3485D164648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511242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1312C68-9CDC-4DDF-AFFD-F813984EE08A}"/>
              </a:ext>
            </a:extLst>
          </p:cNvPr>
          <p:cNvSpPr/>
          <p:nvPr userDrawn="1"/>
        </p:nvSpPr>
        <p:spPr>
          <a:xfrm>
            <a:off x="0" y="-11798"/>
            <a:ext cx="12192000" cy="690814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880315"/>
            <a:ext cx="10080000" cy="396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  <a:lvl6pPr>
              <a:defRPr>
                <a:solidFill>
                  <a:schemeClr val="bg2"/>
                </a:solidFill>
              </a:defRPr>
            </a:lvl6pPr>
            <a:lvl7pPr>
              <a:defRPr>
                <a:solidFill>
                  <a:schemeClr val="bg2"/>
                </a:solidFill>
              </a:defRPr>
            </a:lvl7pPr>
            <a:lvl8pPr>
              <a:defRPr>
                <a:solidFill>
                  <a:schemeClr val="bg2"/>
                </a:solidFill>
              </a:defRPr>
            </a:lvl8pPr>
            <a:lvl9pPr>
              <a:defRPr>
                <a:solidFill>
                  <a:schemeClr val="bg2"/>
                </a:solidFill>
              </a:defRPr>
            </a:lvl9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06AFE3-EE64-4522-825B-815C6A28E9F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CCCCDE7-B8EA-4773-A164-304D34F89D0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C4FDAA8-8585-4D16-87AD-3485D164648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EBAD129F-61B9-40EF-BB30-907F1E5EEA7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849886" y="6082863"/>
            <a:ext cx="1006304" cy="448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166206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880315"/>
            <a:ext cx="4680000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06AFE3-EE64-4522-825B-815C6A28E9F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CCCCDE7-B8EA-4773-A164-304D34F89D0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C4FDAA8-8585-4D16-87AD-3485D164648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9FAA2598-9FF1-4FD4-A0B9-1D5412ADF05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734962" y="1880315"/>
            <a:ext cx="4680000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9702311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F17809F-093D-4878-B686-CA14CFB80D98}"/>
              </a:ext>
            </a:extLst>
          </p:cNvPr>
          <p:cNvSpPr/>
          <p:nvPr userDrawn="1"/>
        </p:nvSpPr>
        <p:spPr>
          <a:xfrm>
            <a:off x="0" y="-1"/>
            <a:ext cx="12192000" cy="687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880315"/>
            <a:ext cx="4680000" cy="396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06AFE3-EE64-4522-825B-815C6A28E9F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CCCCDE7-B8EA-4773-A164-304D34F89D0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C4FDAA8-8585-4D16-87AD-3485D164648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9FAA2598-9FF1-4FD4-A0B9-1D5412ADF05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734962" y="1880315"/>
            <a:ext cx="4680000" cy="396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895B56C1-0210-4B57-B32A-80A37DB759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849886" y="6082863"/>
            <a:ext cx="1006304" cy="448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78102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2DC463D-2F1B-4364-A3E4-F6CD28DDD6E5}"/>
              </a:ext>
            </a:extLst>
          </p:cNvPr>
          <p:cNvSpPr/>
          <p:nvPr userDrawn="1"/>
        </p:nvSpPr>
        <p:spPr>
          <a:xfrm>
            <a:off x="0" y="-1"/>
            <a:ext cx="12192000" cy="687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F9144E-5217-4B9A-B2C1-83385827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2619000"/>
            <a:ext cx="9000000" cy="1620000"/>
          </a:xfrm>
          <a:noFill/>
        </p:spPr>
        <p:txBody>
          <a:bodyPr lIns="342000" tIns="0" rIns="2160000" bIns="0" anchor="ctr" anchorCtr="0"/>
          <a:lstStyle>
            <a:lvl1pPr>
              <a:defRPr sz="4500" cap="all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96BA4CA7-17D6-4B5A-98C4-C007D1F5EC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849886" y="333375"/>
            <a:ext cx="1006304" cy="448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229410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lef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450744" y="1880315"/>
            <a:ext cx="4691628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23DD628-AE63-4907-AF4B-6B53C077707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4963" y="1880314"/>
            <a:ext cx="5761037" cy="4644311"/>
          </a:xfrm>
          <a:prstGeom prst="roundRect">
            <a:avLst>
              <a:gd name="adj" fmla="val 1982"/>
            </a:avLst>
          </a:prstGeom>
          <a:solidFill>
            <a:schemeClr val="bg1">
              <a:lumMod val="85000"/>
            </a:schemeClr>
          </a:solidFill>
        </p:spPr>
        <p:txBody>
          <a:bodyPr lIns="342000" tIns="342000" rIns="342000" bIns="342000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AU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6453E03-EC16-4564-B43B-27855EB9BD2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450744" y="6288257"/>
            <a:ext cx="4320000" cy="365125"/>
          </a:xfrm>
        </p:spPr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A913BC-780A-4949-92A0-B5967D36080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459140" y="6159500"/>
            <a:ext cx="727410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7142303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and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C85B94B1-0EB5-4E42-9E85-6E0B4655B7C9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16EF975B-AD72-4CB0-A546-757A6175A51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83255" y="1880314"/>
            <a:ext cx="5761038" cy="4644311"/>
          </a:xfrm>
          <a:prstGeom prst="roundRect">
            <a:avLst>
              <a:gd name="adj" fmla="val 1982"/>
            </a:avLst>
          </a:prstGeom>
          <a:solidFill>
            <a:schemeClr val="bg1">
              <a:lumMod val="85000"/>
            </a:schemeClr>
          </a:solidFill>
        </p:spPr>
        <p:txBody>
          <a:bodyPr lIns="342000" tIns="342000" rIns="342000" bIns="342000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AU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324248E3-09A7-4A39-81D8-41BDFE556A24}"/>
              </a:ext>
            </a:extLst>
          </p:cNvPr>
          <p:cNvSpPr>
            <a:spLocks noGrp="1" noChangeAspect="1"/>
          </p:cNvSpPr>
          <p:nvPr>
            <p:ph type="body" sz="quarter" idx="19"/>
          </p:nvPr>
        </p:nvSpPr>
        <p:spPr>
          <a:xfrm>
            <a:off x="7797801" y="5080000"/>
            <a:ext cx="4046492" cy="1444625"/>
          </a:xfrm>
          <a:prstGeom prst="roundRect">
            <a:avLst>
              <a:gd name="adj" fmla="val 5336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/>
              </a:gs>
            </a:gsLst>
            <a:lin ang="432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880315"/>
            <a:ext cx="4691628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C2C3EBE-492B-4397-820F-2B4092232DC2}"/>
              </a:ext>
            </a:extLst>
          </p:cNvPr>
          <p:cNvSpPr>
            <a:spLocks noGrp="1" noChangeAspect="1"/>
          </p:cNvSpPr>
          <p:nvPr>
            <p:ph type="body" sz="quarter" idx="16"/>
          </p:nvPr>
        </p:nvSpPr>
        <p:spPr>
          <a:xfrm>
            <a:off x="10632313" y="5890388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C94176C4-3B30-43F2-91DE-33D09AEA7B5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A95B7BCF-DC6C-46BC-B3D2-2F18F9BC75D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672685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-full wid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8166547-372E-4215-A2D1-28413657AE73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23DD628-AE63-4907-AF4B-6B53C077707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4963" y="1880314"/>
            <a:ext cx="11509330" cy="4644311"/>
          </a:xfrm>
          <a:prstGeom prst="roundRect">
            <a:avLst>
              <a:gd name="adj" fmla="val 1982"/>
            </a:avLst>
          </a:prstGeom>
          <a:solidFill>
            <a:schemeClr val="bg1">
              <a:lumMod val="85000"/>
            </a:schemeClr>
          </a:solidFill>
        </p:spPr>
        <p:txBody>
          <a:bodyPr lIns="342000" tIns="342000" rIns="342000" bIns="342000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AU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6D4D6FD-7257-4C21-AAFC-7CC06BF77DD7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7797801" y="5080000"/>
            <a:ext cx="4046492" cy="1444625"/>
          </a:xfrm>
          <a:prstGeom prst="roundRect">
            <a:avLst>
              <a:gd name="adj" fmla="val 5336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45000"/>
                </a:schemeClr>
              </a:gs>
            </a:gsLst>
            <a:lin ang="432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6E7A7DD-8C14-4B85-B39F-1E990E1FFE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333375"/>
            <a:ext cx="5761038" cy="108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7750661B-4D22-41A7-8FA2-1E0D27586EF6}"/>
              </a:ext>
            </a:extLst>
          </p:cNvPr>
          <p:cNvSpPr>
            <a:spLocks noGrp="1" noChangeAspect="1"/>
          </p:cNvSpPr>
          <p:nvPr>
            <p:ph type="body" sz="quarter" idx="16"/>
          </p:nvPr>
        </p:nvSpPr>
        <p:spPr>
          <a:xfrm>
            <a:off x="10632313" y="5890388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7D8FAF2-858C-419E-A577-F0425218264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537038" y="333375"/>
            <a:ext cx="4320000" cy="126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D048DB48-6039-4A0D-ACBF-D5EB8DD358F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459140" y="6159500"/>
            <a:ext cx="727410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260389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-full ble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0">
            <a:extLst>
              <a:ext uri="{FF2B5EF4-FFF2-40B4-BE49-F238E27FC236}">
                <a16:creationId xmlns:a16="http://schemas.microsoft.com/office/drawing/2014/main" id="{5AF6F1E8-5ECE-4267-92B5-43C3523BCBE3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1062000" tIns="360000" rIns="4320000" bIns="360000" anchor="ctr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31F1222-989C-4110-B486-18DA1F8394E9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8145508" y="5413376"/>
            <a:ext cx="4046492" cy="1444625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/>
              </a:gs>
            </a:gsLst>
            <a:lin ang="432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6E7A7DD-8C14-4B85-B39F-1E990E1FFE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333375"/>
            <a:ext cx="5761038" cy="108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7750661B-4D22-41A7-8FA2-1E0D27586EF6}"/>
              </a:ext>
            </a:extLst>
          </p:cNvPr>
          <p:cNvSpPr>
            <a:spLocks noGrp="1" noChangeAspect="1"/>
          </p:cNvSpPr>
          <p:nvPr>
            <p:ph type="body" sz="quarter" idx="16"/>
          </p:nvPr>
        </p:nvSpPr>
        <p:spPr>
          <a:xfrm>
            <a:off x="10849038" y="6082494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7D8FAF2-858C-419E-A577-F0425218264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537038" y="333375"/>
            <a:ext cx="4320000" cy="126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  <a:lvl6pPr>
              <a:defRPr>
                <a:solidFill>
                  <a:schemeClr val="bg2"/>
                </a:solidFill>
              </a:defRPr>
            </a:lvl6pPr>
            <a:lvl7pPr>
              <a:defRPr>
                <a:solidFill>
                  <a:schemeClr val="bg2"/>
                </a:solidFill>
              </a:defRPr>
            </a:lvl7pPr>
            <a:lvl8pPr>
              <a:defRPr>
                <a:solidFill>
                  <a:schemeClr val="bg2"/>
                </a:solidFill>
              </a:defRPr>
            </a:lvl8pPr>
            <a:lvl9pPr>
              <a:defRPr>
                <a:solidFill>
                  <a:schemeClr val="bg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E0AD6A4-0D42-4CCD-B0CB-498EE201FE4E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21E9B0E-B319-4C6F-97AF-0F8D83942F0C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65D74DCF-D99B-4098-B297-0BD016160D35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31100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right 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23DD628-AE63-4907-AF4B-6B53C077707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0"/>
            <a:ext cx="6096000" cy="6858000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</p:spPr>
        <p:txBody>
          <a:bodyPr lIns="342000" tIns="342000" rIns="342000" bIns="342000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AU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E39B82B1-2948-4A1A-B694-EF5F14C3215E}"/>
              </a:ext>
            </a:extLst>
          </p:cNvPr>
          <p:cNvSpPr>
            <a:spLocks noGrp="1" noChangeAspect="1"/>
          </p:cNvSpPr>
          <p:nvPr>
            <p:ph type="body" sz="quarter" idx="25"/>
          </p:nvPr>
        </p:nvSpPr>
        <p:spPr>
          <a:xfrm>
            <a:off x="8145508" y="5413376"/>
            <a:ext cx="4046492" cy="1444625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/>
              </a:gs>
            </a:gsLst>
            <a:lin ang="432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EB2F477-266C-4C9D-A64F-287BA3F4CF3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4962" y="1880314"/>
            <a:ext cx="5220000" cy="396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771A36E-45E1-4553-9842-66EF392719C7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844884" y="1880314"/>
            <a:ext cx="2160000" cy="396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7D669EEE-6563-477F-A4CD-D425F6140F00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347256" y="1880314"/>
            <a:ext cx="2160000" cy="396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30F93EFD-FC8F-432B-B0EA-395DF7AA9E08}"/>
              </a:ext>
            </a:extLst>
          </p:cNvPr>
          <p:cNvSpPr>
            <a:spLocks noGrp="1" noChangeAspect="1"/>
          </p:cNvSpPr>
          <p:nvPr>
            <p:ph type="body" sz="quarter" idx="21"/>
          </p:nvPr>
        </p:nvSpPr>
        <p:spPr>
          <a:xfrm>
            <a:off x="10848934" y="6082494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A5DE353-D720-4A1F-9ECC-89FB139059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2218" y="333375"/>
            <a:ext cx="5220000" cy="108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913AB32-E310-49A2-9A47-2348F6B61E52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6266A723-640D-4EFF-93D1-1E964694156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62965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7F07ECCF-5EE7-4BA4-BD7C-50DF82C3F5BF}"/>
              </a:ext>
            </a:extLst>
          </p:cNvPr>
          <p:cNvSpPr/>
          <p:nvPr userDrawn="1"/>
        </p:nvSpPr>
        <p:spPr>
          <a:xfrm>
            <a:off x="0" y="0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10080000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08DD2E7-C8BF-4E45-AE9F-C1389B7B38D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963" y="2600315"/>
            <a:ext cx="2160000" cy="3240000"/>
          </a:xfrm>
        </p:spPr>
        <p:txBody>
          <a:bodyPr/>
          <a:lstStyle>
            <a:lvl1pPr>
              <a:defRPr sz="1600" cap="all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 b="0" cap="none" baseline="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D7BC8491-CCAE-458C-BD6D-862F904604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979212" y="2600315"/>
            <a:ext cx="2160000" cy="3240000"/>
          </a:xfrm>
        </p:spPr>
        <p:txBody>
          <a:bodyPr/>
          <a:lstStyle>
            <a:lvl1pPr>
              <a:defRPr sz="1600" cap="all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 b="0" cap="none" baseline="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B036190F-67DD-4555-BB1F-179E8E9C46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23461" y="2600315"/>
            <a:ext cx="2160000" cy="3240000"/>
          </a:xfrm>
        </p:spPr>
        <p:txBody>
          <a:bodyPr/>
          <a:lstStyle>
            <a:lvl1pPr>
              <a:defRPr sz="1600" cap="all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 b="0" cap="none" baseline="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F1044E10-4BD7-47DE-8A5A-57C9557A0B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67709" y="2600315"/>
            <a:ext cx="2160000" cy="3240000"/>
          </a:xfrm>
        </p:spPr>
        <p:txBody>
          <a:bodyPr/>
          <a:lstStyle>
            <a:lvl1pPr>
              <a:defRPr sz="1600" cap="all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 b="0" cap="none" baseline="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B900929-35E2-4B6A-A4BF-9E02733E3AB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6B47C34-75D5-42A4-8A99-FADDAF9BBA6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67B0344-E805-4D5F-B3FB-AF95BC74870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744B2EAD-DCA4-4F48-B91A-33BEEF3247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849886" y="6082863"/>
            <a:ext cx="1006304" cy="448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489704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tr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E396722-86FB-4B61-980E-29BB1A84BF5F}"/>
              </a:ext>
            </a:extLst>
          </p:cNvPr>
          <p:cNvSpPr/>
          <p:nvPr userDrawn="1"/>
        </p:nvSpPr>
        <p:spPr>
          <a:xfrm>
            <a:off x="0" y="-1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D50AE23D-06D1-4F9E-B490-E50D424CE9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892E96-6CF9-4BCC-9A9B-CB94EC6D1A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97B376B-D4F9-4143-A8AE-817EB0EA6B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84A53671-41EC-45C8-A0C1-D1426C22F9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2465D6CB-4864-45A8-BBF3-437CF55EAC16}"/>
              </a:ext>
            </a:extLst>
          </p:cNvPr>
          <p:cNvSpPr/>
          <p:nvPr userDrawn="1"/>
        </p:nvSpPr>
        <p:spPr>
          <a:xfrm>
            <a:off x="334964" y="1301332"/>
            <a:ext cx="7985636" cy="4841479"/>
          </a:xfrm>
          <a:prstGeom prst="roundRect">
            <a:avLst>
              <a:gd name="adj" fmla="val 1167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F8F1858-32FB-4251-8265-5AC98524EA8A}"/>
              </a:ext>
            </a:extLst>
          </p:cNvPr>
          <p:cNvCxnSpPr>
            <a:cxnSpLocks/>
          </p:cNvCxnSpPr>
          <p:nvPr userDrawn="1"/>
        </p:nvCxnSpPr>
        <p:spPr>
          <a:xfrm flipV="1">
            <a:off x="820851" y="1652866"/>
            <a:ext cx="0" cy="4004734"/>
          </a:xfrm>
          <a:prstGeom prst="line">
            <a:avLst/>
          </a:prstGeom>
          <a:ln w="12700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BA70369-660D-4DCA-B0FC-2749C2E58A40}"/>
              </a:ext>
            </a:extLst>
          </p:cNvPr>
          <p:cNvCxnSpPr>
            <a:cxnSpLocks/>
          </p:cNvCxnSpPr>
          <p:nvPr userDrawn="1"/>
        </p:nvCxnSpPr>
        <p:spPr>
          <a:xfrm>
            <a:off x="820851" y="5657600"/>
            <a:ext cx="7161084" cy="0"/>
          </a:xfrm>
          <a:prstGeom prst="line">
            <a:avLst/>
          </a:prstGeom>
          <a:ln w="12700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A04F3D51-FDE7-49C0-9411-1BA8018885F5}"/>
              </a:ext>
            </a:extLst>
          </p:cNvPr>
          <p:cNvSpPr txBox="1"/>
          <p:nvPr userDrawn="1"/>
        </p:nvSpPr>
        <p:spPr>
          <a:xfrm>
            <a:off x="334963" y="898522"/>
            <a:ext cx="763992" cy="338554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algn="l"/>
            <a:r>
              <a:rPr lang="en-AU" sz="1600">
                <a:solidFill>
                  <a:schemeClr val="bg2"/>
                </a:solidFill>
                <a:latin typeface="+mj-lt"/>
              </a:rPr>
              <a:t>Impac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DCAFC7F-47A8-4564-9F50-8B90053438B1}"/>
              </a:ext>
            </a:extLst>
          </p:cNvPr>
          <p:cNvSpPr txBox="1"/>
          <p:nvPr userDrawn="1"/>
        </p:nvSpPr>
        <p:spPr>
          <a:xfrm rot="16200000">
            <a:off x="371856" y="2087718"/>
            <a:ext cx="4988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200" b="1">
                <a:solidFill>
                  <a:schemeClr val="tx2"/>
                </a:solidFill>
              </a:rPr>
              <a:t>high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E5C50DC-C632-47B2-ADFB-BBCD52D2C82D}"/>
              </a:ext>
            </a:extLst>
          </p:cNvPr>
          <p:cNvSpPr txBox="1"/>
          <p:nvPr userDrawn="1"/>
        </p:nvSpPr>
        <p:spPr>
          <a:xfrm rot="16200000">
            <a:off x="395902" y="4817077"/>
            <a:ext cx="45076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200" b="1">
                <a:solidFill>
                  <a:schemeClr val="tx2"/>
                </a:solidFill>
              </a:rPr>
              <a:t>low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62AB432-5B81-4183-BD69-521F287E2369}"/>
              </a:ext>
            </a:extLst>
          </p:cNvPr>
          <p:cNvSpPr txBox="1"/>
          <p:nvPr userDrawn="1"/>
        </p:nvSpPr>
        <p:spPr>
          <a:xfrm>
            <a:off x="1469070" y="5721149"/>
            <a:ext cx="80983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AU" sz="1200" b="1">
                <a:solidFill>
                  <a:schemeClr val="tx2"/>
                </a:solidFill>
              </a:rPr>
              <a:t>Complex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527307B-0156-429B-9C00-0C8B21BD14C9}"/>
              </a:ext>
            </a:extLst>
          </p:cNvPr>
          <p:cNvSpPr txBox="1"/>
          <p:nvPr userDrawn="1"/>
        </p:nvSpPr>
        <p:spPr>
          <a:xfrm>
            <a:off x="6744728" y="5721149"/>
            <a:ext cx="51328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AU" sz="1200" b="1">
                <a:solidFill>
                  <a:schemeClr val="tx2"/>
                </a:solidFill>
              </a:rPr>
              <a:t>Easy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FC98F08-3647-430E-A964-E9B3F1B05B54}"/>
              </a:ext>
            </a:extLst>
          </p:cNvPr>
          <p:cNvSpPr txBox="1"/>
          <p:nvPr userDrawn="1"/>
        </p:nvSpPr>
        <p:spPr>
          <a:xfrm>
            <a:off x="8502936" y="5596891"/>
            <a:ext cx="1858411" cy="584775"/>
          </a:xfrm>
          <a:prstGeom prst="rect">
            <a:avLst/>
          </a:prstGeom>
          <a:noFill/>
        </p:spPr>
        <p:txBody>
          <a:bodyPr wrap="square" lIns="0" rtlCol="0" anchor="b" anchorCtr="0">
            <a:spAutoFit/>
          </a:bodyPr>
          <a:lstStyle/>
          <a:p>
            <a:pPr algn="l"/>
            <a:r>
              <a:rPr lang="en-AU" sz="1600">
                <a:solidFill>
                  <a:schemeClr val="bg2"/>
                </a:solidFill>
                <a:latin typeface="+mj-lt"/>
              </a:rPr>
              <a:t>Ease of implementation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FBDFBCA9-FD99-491F-89DF-4AC97AE3E116}"/>
              </a:ext>
            </a:extLst>
          </p:cNvPr>
          <p:cNvSpPr/>
          <p:nvPr userDrawn="1"/>
        </p:nvSpPr>
        <p:spPr>
          <a:xfrm>
            <a:off x="1042214" y="1675334"/>
            <a:ext cx="2231805" cy="1188000"/>
          </a:xfrm>
          <a:prstGeom prst="roundRect">
            <a:avLst>
              <a:gd name="adj" fmla="val 7472"/>
            </a:avLst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DEE76B15-E051-4997-AF08-C4F466FA8F6E}"/>
              </a:ext>
            </a:extLst>
          </p:cNvPr>
          <p:cNvSpPr/>
          <p:nvPr userDrawn="1"/>
        </p:nvSpPr>
        <p:spPr>
          <a:xfrm>
            <a:off x="3385008" y="1675334"/>
            <a:ext cx="2231805" cy="1188000"/>
          </a:xfrm>
          <a:prstGeom prst="roundRect">
            <a:avLst>
              <a:gd name="adj" fmla="val 8834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40FE7694-E738-4019-AF0B-7727B8794381}"/>
              </a:ext>
            </a:extLst>
          </p:cNvPr>
          <p:cNvSpPr/>
          <p:nvPr userDrawn="1"/>
        </p:nvSpPr>
        <p:spPr>
          <a:xfrm>
            <a:off x="5727802" y="1675333"/>
            <a:ext cx="2231805" cy="1188000"/>
          </a:xfrm>
          <a:prstGeom prst="roundRect">
            <a:avLst>
              <a:gd name="adj" fmla="val 8834"/>
            </a:avLst>
          </a:prstGeom>
          <a:solidFill>
            <a:schemeClr val="accent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EFA22970-8A68-49F2-AB88-2AEA221CE2BC}"/>
              </a:ext>
            </a:extLst>
          </p:cNvPr>
          <p:cNvSpPr/>
          <p:nvPr userDrawn="1"/>
        </p:nvSpPr>
        <p:spPr>
          <a:xfrm>
            <a:off x="1042214" y="2971443"/>
            <a:ext cx="2231805" cy="1188000"/>
          </a:xfrm>
          <a:prstGeom prst="roundRect">
            <a:avLst>
              <a:gd name="adj" fmla="val 7472"/>
            </a:avLst>
          </a:prstGeom>
          <a:solidFill>
            <a:schemeClr val="accent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C2521848-B421-4131-8617-FCCCBC93E050}"/>
              </a:ext>
            </a:extLst>
          </p:cNvPr>
          <p:cNvSpPr/>
          <p:nvPr userDrawn="1"/>
        </p:nvSpPr>
        <p:spPr>
          <a:xfrm>
            <a:off x="3385008" y="2971443"/>
            <a:ext cx="2231805" cy="1188000"/>
          </a:xfrm>
          <a:prstGeom prst="roundRect">
            <a:avLst>
              <a:gd name="adj" fmla="val 8834"/>
            </a:avLst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74EF66E-1001-471F-A4F5-1A75062904FE}"/>
              </a:ext>
            </a:extLst>
          </p:cNvPr>
          <p:cNvSpPr/>
          <p:nvPr userDrawn="1"/>
        </p:nvSpPr>
        <p:spPr>
          <a:xfrm>
            <a:off x="5727802" y="2971443"/>
            <a:ext cx="2231805" cy="1188000"/>
          </a:xfrm>
          <a:prstGeom prst="roundRect">
            <a:avLst>
              <a:gd name="adj" fmla="val 8834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594F7034-6A44-489D-8799-48EDD5EB2966}"/>
              </a:ext>
            </a:extLst>
          </p:cNvPr>
          <p:cNvSpPr/>
          <p:nvPr userDrawn="1"/>
        </p:nvSpPr>
        <p:spPr>
          <a:xfrm>
            <a:off x="1042214" y="4267552"/>
            <a:ext cx="2231805" cy="1188000"/>
          </a:xfrm>
          <a:prstGeom prst="roundRect">
            <a:avLst>
              <a:gd name="adj" fmla="val 7472"/>
            </a:avLst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CFC9D5C0-E6E3-4A0F-A579-D371C54429F9}"/>
              </a:ext>
            </a:extLst>
          </p:cNvPr>
          <p:cNvSpPr/>
          <p:nvPr userDrawn="1"/>
        </p:nvSpPr>
        <p:spPr>
          <a:xfrm>
            <a:off x="3385008" y="4267552"/>
            <a:ext cx="2231805" cy="1188000"/>
          </a:xfrm>
          <a:prstGeom prst="roundRect">
            <a:avLst>
              <a:gd name="adj" fmla="val 8834"/>
            </a:avLst>
          </a:prstGeom>
          <a:solidFill>
            <a:schemeClr val="accent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38327192-4EDE-4ECF-9B7F-79369E6FDF5A}"/>
              </a:ext>
            </a:extLst>
          </p:cNvPr>
          <p:cNvSpPr/>
          <p:nvPr userDrawn="1"/>
        </p:nvSpPr>
        <p:spPr>
          <a:xfrm>
            <a:off x="5727802" y="4267551"/>
            <a:ext cx="2231805" cy="1188000"/>
          </a:xfrm>
          <a:prstGeom prst="roundRect">
            <a:avLst>
              <a:gd name="adj" fmla="val 8834"/>
            </a:avLst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3FC76B0-FFF7-4829-BB16-AA0D48C7783F}"/>
              </a:ext>
            </a:extLst>
          </p:cNvPr>
          <p:cNvSpPr txBox="1"/>
          <p:nvPr userDrawn="1"/>
        </p:nvSpPr>
        <p:spPr>
          <a:xfrm rot="16200000">
            <a:off x="395902" y="3402433"/>
            <a:ext cx="45076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200" b="1">
                <a:solidFill>
                  <a:schemeClr val="tx2"/>
                </a:solidFill>
              </a:rPr>
              <a:t>low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F655A99-08E9-4F6D-A018-45609A43346B}"/>
              </a:ext>
            </a:extLst>
          </p:cNvPr>
          <p:cNvSpPr txBox="1"/>
          <p:nvPr userDrawn="1"/>
        </p:nvSpPr>
        <p:spPr>
          <a:xfrm>
            <a:off x="3978565" y="5721149"/>
            <a:ext cx="7633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AU" sz="1200" b="1">
                <a:solidFill>
                  <a:schemeClr val="tx2"/>
                </a:solidFill>
              </a:rPr>
              <a:t>Medium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38DEC77-BDB8-41D1-91E8-818100725A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899525" y="1317778"/>
            <a:ext cx="2957513" cy="388075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  <a:lvl6pPr>
              <a:defRPr>
                <a:solidFill>
                  <a:schemeClr val="bg2"/>
                </a:solidFill>
              </a:defRPr>
            </a:lvl6pPr>
            <a:lvl7pPr>
              <a:defRPr>
                <a:solidFill>
                  <a:schemeClr val="bg2"/>
                </a:solidFill>
              </a:defRPr>
            </a:lvl7pPr>
            <a:lvl8pPr>
              <a:defRPr>
                <a:solidFill>
                  <a:schemeClr val="bg2"/>
                </a:solidFill>
              </a:defRPr>
            </a:lvl8pPr>
            <a:lvl9pPr>
              <a:defRPr>
                <a:solidFill>
                  <a:schemeClr val="bg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F72E8102-950B-4E72-AC03-8ED4151BCF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849886" y="6082863"/>
            <a:ext cx="1006304" cy="448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100515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7F07ECCF-5EE7-4BA4-BD7C-50DF82C3F5BF}"/>
              </a:ext>
            </a:extLst>
          </p:cNvPr>
          <p:cNvSpPr/>
          <p:nvPr userDrawn="1"/>
        </p:nvSpPr>
        <p:spPr>
          <a:xfrm>
            <a:off x="0" y="0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F1044E10-4BD7-47DE-8A5A-57C9557A0B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42214" y="2106271"/>
            <a:ext cx="4507572" cy="2281251"/>
          </a:xfrm>
        </p:spPr>
        <p:txBody>
          <a:bodyPr/>
          <a:lstStyle>
            <a:lvl1pPr>
              <a:defRPr sz="2800" cap="none" baseline="0">
                <a:solidFill>
                  <a:schemeClr val="accent1"/>
                </a:solidFill>
                <a:latin typeface="+mj-lt"/>
              </a:defRPr>
            </a:lvl1pPr>
            <a:lvl2pPr algn="l">
              <a:spcBef>
                <a:spcPts val="600"/>
              </a:spcBef>
              <a:defRPr sz="1600" b="0" cap="none" baseline="0">
                <a:solidFill>
                  <a:schemeClr val="accent1"/>
                </a:solidFill>
              </a:defRPr>
            </a:lvl2pPr>
            <a:lvl3pPr algn="l">
              <a:defRPr sz="1600" cap="none">
                <a:solidFill>
                  <a:schemeClr val="accent1"/>
                </a:solidFill>
              </a:defRPr>
            </a:lvl3pPr>
            <a:lvl4pPr algn="l">
              <a:defRPr sz="1600" cap="none">
                <a:solidFill>
                  <a:schemeClr val="accent1"/>
                </a:solidFill>
              </a:defRPr>
            </a:lvl4pPr>
            <a:lvl5pPr algn="l">
              <a:defRPr sz="1600" cap="none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CCFA2A9-BC18-4CF8-AD38-42B263119472}"/>
              </a:ext>
            </a:extLst>
          </p:cNvPr>
          <p:cNvSpPr txBox="1"/>
          <p:nvPr userDrawn="1"/>
        </p:nvSpPr>
        <p:spPr>
          <a:xfrm>
            <a:off x="2756995" y="1307904"/>
            <a:ext cx="914033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2000">
                <a:solidFill>
                  <a:schemeClr val="accent1"/>
                </a:solidFill>
                <a:latin typeface="+mj-lt"/>
              </a:rPr>
              <a:t>“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9C98CC0-E077-4ADE-8BC2-9559518E22D8}"/>
              </a:ext>
            </a:extLst>
          </p:cNvPr>
          <p:cNvSpPr txBox="1"/>
          <p:nvPr userDrawn="1"/>
        </p:nvSpPr>
        <p:spPr>
          <a:xfrm>
            <a:off x="7755716" y="3692995"/>
            <a:ext cx="1643399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2000">
                <a:solidFill>
                  <a:schemeClr val="tx2"/>
                </a:solidFill>
                <a:latin typeface="+mj-lt"/>
              </a:rPr>
              <a:t>“</a:t>
            </a:r>
            <a:r>
              <a:rPr lang="en-AU" sz="12000">
                <a:solidFill>
                  <a:schemeClr val="accent1"/>
                </a:solidFill>
                <a:latin typeface="+mj-lt"/>
              </a:rPr>
              <a:t>”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25A78CB-C25F-477B-ACB8-7A8C3B33F7D7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0DC4922-3AFC-43D6-9996-17D5CAC06E9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54801EF-D4C3-4D21-A7DC-76D432B0F00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3141F1A-1F42-4FE8-85A4-FBBEFC0CF5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849886" y="6082863"/>
            <a:ext cx="1006304" cy="448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074121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10794666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5EE857-4C7E-47C5-A433-5F303A10690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963" y="1413375"/>
            <a:ext cx="10794665" cy="72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3" name="Table Placeholder 12">
            <a:extLst>
              <a:ext uri="{FF2B5EF4-FFF2-40B4-BE49-F238E27FC236}">
                <a16:creationId xmlns:a16="http://schemas.microsoft.com/office/drawing/2014/main" id="{12720170-841B-4714-B671-AE40B2FE0283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334963" y="2243443"/>
            <a:ext cx="10794665" cy="3600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table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4E7EDCB-670C-46CB-A20E-159535CC5C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D18779D-2EB2-4254-A93E-7459659F2BB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8B347AD-5E50-42AC-AFB4-7F625291AB6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868211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10801351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5EE857-4C7E-47C5-A433-5F303A10690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964" y="1413375"/>
            <a:ext cx="10801350" cy="72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D1ECE4F1-33EB-4137-BED8-59885BB39C47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334963" y="2243442"/>
            <a:ext cx="10801350" cy="3599999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778F5DE-1344-42BD-82D0-6611DD7B1FC6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D0D518F-1062-474E-BA48-10EA56B2C55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2C63567-251B-4660-ADF6-37AB6DCF01D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96214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61B3790-BDEB-43E5-BF9C-3E8D289EECE8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9628" y="333375"/>
            <a:ext cx="10080000" cy="1080000"/>
          </a:xfrm>
        </p:spPr>
        <p:txBody>
          <a:bodyPr/>
          <a:lstStyle>
            <a:lvl1pPr>
              <a:defRPr cap="all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FEB565-49CC-408C-BDD2-C2590A4A642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49629" y="1880314"/>
            <a:ext cx="4320000" cy="3960000"/>
          </a:xfrm>
        </p:spPr>
        <p:txBody>
          <a:bodyPr/>
          <a:lstStyle>
            <a:lvl1pPr marL="288000" indent="-288000">
              <a:spcBef>
                <a:spcPts val="1200"/>
              </a:spcBef>
              <a:buFont typeface="+mj-lt"/>
              <a:buAutoNum type="arabicPeriod"/>
              <a:defRPr sz="2200"/>
            </a:lvl1pPr>
            <a:lvl2pPr marL="288000">
              <a:spcBef>
                <a:spcPts val="600"/>
              </a:spcBef>
              <a:spcAft>
                <a:spcPts val="600"/>
              </a:spcAft>
              <a:defRPr b="0" cap="none" baseline="0">
                <a:solidFill>
                  <a:schemeClr val="tx2"/>
                </a:solidFill>
              </a:defRPr>
            </a:lvl2pPr>
            <a:lvl3pPr marL="468000">
              <a:defRPr/>
            </a:lvl3pPr>
            <a:lvl4pPr marL="0" indent="0">
              <a:buNone/>
              <a:defRPr cap="all" baseline="0">
                <a:solidFill>
                  <a:schemeClr val="accent1"/>
                </a:solidFill>
                <a:latin typeface="+mj-lt"/>
              </a:defRPr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add Agenda item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5E5FA15F-A1ED-4F06-8C67-E1D73CF85C8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1880314"/>
            <a:ext cx="4320000" cy="3960000"/>
          </a:xfrm>
        </p:spPr>
        <p:txBody>
          <a:bodyPr/>
          <a:lstStyle>
            <a:lvl1pPr marL="288000" indent="-288000">
              <a:spcBef>
                <a:spcPts val="1200"/>
              </a:spcBef>
              <a:buFont typeface="+mj-lt"/>
              <a:buAutoNum type="arabicPeriod"/>
              <a:defRPr sz="2200"/>
            </a:lvl1pPr>
            <a:lvl2pPr marL="288000">
              <a:spcBef>
                <a:spcPts val="600"/>
              </a:spcBef>
              <a:spcAft>
                <a:spcPts val="600"/>
              </a:spcAft>
              <a:defRPr b="0" cap="none" baseline="0">
                <a:solidFill>
                  <a:schemeClr val="tx2"/>
                </a:solidFill>
              </a:defRPr>
            </a:lvl2pPr>
            <a:lvl3pPr marL="468000">
              <a:defRPr/>
            </a:lvl3pPr>
            <a:lvl4pPr marL="0" indent="0">
              <a:buNone/>
              <a:defRPr cap="all" baseline="0">
                <a:solidFill>
                  <a:schemeClr val="accent1"/>
                </a:solidFill>
                <a:latin typeface="+mj-lt"/>
              </a:defRPr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add Agenda item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98866983-58A4-4EC2-ADBC-AEEA6B9D69AB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8248903" y="6288257"/>
            <a:ext cx="1183557" cy="365125"/>
          </a:xfrm>
        </p:spPr>
        <p:txBody>
          <a:bodyPr/>
          <a:lstStyle/>
          <a:p>
            <a:endParaRPr lang="en-GB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F6B299B-0652-4E6B-BB65-0DE715526B4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55688" y="6288257"/>
            <a:ext cx="7193215" cy="365125"/>
          </a:xfrm>
        </p:spPr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42DCA20-AF8B-4853-AA2C-E5E7CD8D26F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8B1AC7E-46EA-441D-9455-6E65525B6A5A}"/>
              </a:ext>
            </a:extLst>
          </p:cNvPr>
          <p:cNvSpPr/>
          <p:nvPr userDrawn="1"/>
        </p:nvSpPr>
        <p:spPr>
          <a:xfrm>
            <a:off x="0" y="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C9469F0-045F-4A85-8721-359D41A43D06}"/>
              </a:ext>
            </a:extLst>
          </p:cNvPr>
          <p:cNvSpPr/>
          <p:nvPr userDrawn="1"/>
        </p:nvSpPr>
        <p:spPr>
          <a:xfrm>
            <a:off x="11472000" y="-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2179EAA8-E18E-42F9-924F-98FF7A3E70C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128313" y="333375"/>
            <a:ext cx="1008000" cy="448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41287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D583ABC-22A1-400D-B5EB-018BF7A1B892}"/>
              </a:ext>
            </a:extLst>
          </p:cNvPr>
          <p:cNvSpPr/>
          <p:nvPr userDrawn="1"/>
        </p:nvSpPr>
        <p:spPr>
          <a:xfrm>
            <a:off x="0" y="0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10794666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5EE857-4C7E-47C5-A433-5F303A10690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963" y="1413375"/>
            <a:ext cx="10794665" cy="72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3" name="Table Placeholder 12">
            <a:extLst>
              <a:ext uri="{FF2B5EF4-FFF2-40B4-BE49-F238E27FC236}">
                <a16:creationId xmlns:a16="http://schemas.microsoft.com/office/drawing/2014/main" id="{12720170-841B-4714-B671-AE40B2FE0283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334963" y="2243443"/>
            <a:ext cx="10794665" cy="3600000"/>
          </a:xfrm>
        </p:spPr>
        <p:txBody>
          <a:bodyPr anchor="ctr" anchorCtr="0"/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4E7EDCB-670C-46CB-A20E-159535CC5C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D18779D-2EB2-4254-A93E-7459659F2BB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8B347AD-5E50-42AC-AFB4-7F625291AB6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3D154FC-0D1D-4000-9465-BC95ECE0588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849886" y="6082863"/>
            <a:ext cx="1006304" cy="448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703919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C60C8A8-1B70-4653-94B4-DE00B5C785B3}"/>
              </a:ext>
            </a:extLst>
          </p:cNvPr>
          <p:cNvSpPr/>
          <p:nvPr userDrawn="1"/>
        </p:nvSpPr>
        <p:spPr>
          <a:xfrm>
            <a:off x="0" y="0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10801351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5EE857-4C7E-47C5-A433-5F303A10690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964" y="1413375"/>
            <a:ext cx="10801350" cy="72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D1ECE4F1-33EB-4137-BED8-59885BB39C47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334963" y="2243442"/>
            <a:ext cx="10801350" cy="3599999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778F5DE-1344-42BD-82D0-6611DD7B1FC6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D0D518F-1062-474E-BA48-10EA56B2C55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2C63567-251B-4660-ADF6-37AB6DCF01D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66E3712-2E10-4551-BEF3-5D7655C9862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849886" y="6082863"/>
            <a:ext cx="1006304" cy="448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150828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76849F14-4971-4208-82A8-1F0513897926}"/>
              </a:ext>
            </a:extLst>
          </p:cNvPr>
          <p:cNvSpPr/>
          <p:nvPr userDrawn="1"/>
        </p:nvSpPr>
        <p:spPr>
          <a:xfrm>
            <a:off x="719400" y="-2"/>
            <a:ext cx="107532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096AA35B-6D3E-4809-9D78-9CF31081E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9400" y="-2"/>
            <a:ext cx="4680000" cy="4068000"/>
          </a:xfrm>
          <a:solidFill>
            <a:schemeClr val="tx2"/>
          </a:solidFill>
        </p:spPr>
        <p:txBody>
          <a:bodyPr lIns="342000" tIns="342000" rIns="0" bIns="504000" anchor="b" anchorCtr="0"/>
          <a:lstStyle>
            <a:lvl1pPr>
              <a:defRPr sz="4500">
                <a:solidFill>
                  <a:schemeClr val="accent1"/>
                </a:solidFill>
              </a:defRPr>
            </a:lvl1pPr>
          </a:lstStyle>
          <a:p>
            <a:r>
              <a:rPr lang="en-US"/>
              <a:t>Thank you</a:t>
            </a:r>
            <a:endParaRPr lang="en-AU"/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C26E00FB-CED1-4B46-93A1-739D22FD51A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787692" y="2529091"/>
            <a:ext cx="2017653" cy="899814"/>
          </a:xfrm>
          <a:prstGeom prst="rect">
            <a:avLst/>
          </a:prstGeom>
        </p:spPr>
      </p:pic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FD95F930-CD55-469B-9FD0-1150DA73B39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-2"/>
            <a:ext cx="12192000" cy="6876000"/>
          </a:xfrm>
          <a:custGeom>
            <a:avLst/>
            <a:gdLst>
              <a:gd name="connsiteX0" fmla="*/ 114726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472600 w 12192000"/>
              <a:gd name="connsiteY3" fmla="*/ 6858000 h 6858000"/>
              <a:gd name="connsiteX4" fmla="*/ 0 w 12192000"/>
              <a:gd name="connsiteY4" fmla="*/ 0 h 6858000"/>
              <a:gd name="connsiteX5" fmla="*/ 719400 w 12192000"/>
              <a:gd name="connsiteY5" fmla="*/ 0 h 6858000"/>
              <a:gd name="connsiteX6" fmla="*/ 7194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14726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472600" y="6858000"/>
                </a:lnTo>
                <a:close/>
                <a:moveTo>
                  <a:pt x="0" y="0"/>
                </a:moveTo>
                <a:lnTo>
                  <a:pt x="719400" y="0"/>
                </a:lnTo>
                <a:lnTo>
                  <a:pt x="7194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08000" tIns="108000" rIns="115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4417D20-4CB7-471C-A5C4-50706D404792}"/>
              </a:ext>
            </a:extLst>
          </p:cNvPr>
          <p:cNvSpPr txBox="1"/>
          <p:nvPr userDrawn="1"/>
        </p:nvSpPr>
        <p:spPr>
          <a:xfrm>
            <a:off x="7916652" y="3928056"/>
            <a:ext cx="3321238" cy="25564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 cap="none" baseline="0">
                <a:solidFill>
                  <a:schemeClr val="bg1"/>
                </a:solidFill>
              </a:defRPr>
            </a:lvl1pPr>
            <a:lvl2pPr marL="0" lvl="1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b="1" cap="all" baseline="0">
                <a:solidFill>
                  <a:schemeClr val="bg1"/>
                </a:solidFill>
              </a:defRPr>
            </a:lvl2pPr>
            <a:lvl3pPr marL="0" lvl="2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3pPr>
            <a:lvl4pPr marL="0" lvl="3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4pPr>
            <a:lvl5pPr marL="0" lvl="4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5pPr>
            <a:lvl6pPr marL="0" lvl="5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6pPr>
            <a:lvl7pPr marL="0" lvl="6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7pPr>
            <a:lvl8pPr marL="0" lvl="7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8pPr>
            <a:lvl9pPr marL="0" lvl="8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b="1">
                <a:solidFill>
                  <a:schemeClr val="bg1"/>
                </a:solidFill>
              </a:defRPr>
            </a:lvl9pPr>
          </a:lstStyle>
          <a:p>
            <a:pPr lvl="0">
              <a:spcBef>
                <a:spcPts val="400"/>
              </a:spcBef>
            </a:pPr>
            <a:r>
              <a:rPr lang="en-US" altLang="en-US" sz="1600" b="0">
                <a:solidFill>
                  <a:schemeClr val="bg2"/>
                </a:solidFill>
                <a:latin typeface="+mj-lt"/>
              </a:rPr>
              <a:t>Forest Stewardship Council®</a:t>
            </a:r>
          </a:p>
          <a:p>
            <a:pPr lvl="0">
              <a:spcBef>
                <a:spcPts val="400"/>
              </a:spcBef>
              <a:spcAft>
                <a:spcPts val="1200"/>
              </a:spcAft>
            </a:pPr>
            <a:r>
              <a:rPr lang="en-US" altLang="en-US" sz="1500" b="0" err="1">
                <a:solidFill>
                  <a:schemeClr val="bg2"/>
                </a:solidFill>
              </a:rPr>
              <a:t>FSC</a:t>
            </a:r>
            <a:r>
              <a:rPr lang="en-US" altLang="en-US" sz="1500" b="0">
                <a:solidFill>
                  <a:schemeClr val="bg2"/>
                </a:solidFill>
              </a:rPr>
              <a:t>® Global Development</a:t>
            </a:r>
          </a:p>
          <a:p>
            <a:pPr lvl="0"/>
            <a:endParaRPr lang="en-US" altLang="en-US" sz="1600" b="0"/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 err="1">
                <a:solidFill>
                  <a:schemeClr val="bg2"/>
                </a:solidFill>
              </a:rPr>
              <a:t>Adenauerallee</a:t>
            </a:r>
            <a:r>
              <a:rPr lang="en-US" altLang="en-US" sz="1200" b="0">
                <a:solidFill>
                  <a:schemeClr val="bg2"/>
                </a:solidFill>
              </a:rPr>
              <a:t> 134, 53113 Bonn, Germany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T +49 (0) 228 367 66-0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>
                <a:solidFill>
                  <a:schemeClr val="bg2"/>
                </a:solidFill>
              </a:rPr>
              <a:t>F +49 (0) 228 367 66-30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 err="1">
                <a:solidFill>
                  <a:schemeClr val="bg2"/>
                </a:solidFill>
              </a:rPr>
              <a:t>FSC</a:t>
            </a:r>
            <a:r>
              <a:rPr lang="en-US" altLang="en-US" sz="1200" b="0">
                <a:solidFill>
                  <a:schemeClr val="bg2"/>
                </a:solidFill>
              </a:rPr>
              <a:t> Global Development © All rights reserved</a:t>
            </a:r>
          </a:p>
          <a:p>
            <a:pPr lvl="0">
              <a:spcBef>
                <a:spcPts val="0"/>
              </a:spcBef>
              <a:spcAft>
                <a:spcPts val="200"/>
              </a:spcAft>
            </a:pPr>
            <a:r>
              <a:rPr lang="en-US" altLang="en-US" sz="1200" b="0" err="1">
                <a:solidFill>
                  <a:schemeClr val="bg2"/>
                </a:solidFill>
              </a:rPr>
              <a:t>FSC</a:t>
            </a:r>
            <a:r>
              <a:rPr lang="en-US" altLang="en-US" sz="1200" b="0">
                <a:solidFill>
                  <a:schemeClr val="bg2"/>
                </a:solidFill>
              </a:rPr>
              <a:t>® </a:t>
            </a:r>
            <a:r>
              <a:rPr lang="en-US" altLang="en-US" sz="1200" b="0" err="1">
                <a:solidFill>
                  <a:schemeClr val="bg2"/>
                </a:solidFill>
              </a:rPr>
              <a:t>F000100</a:t>
            </a:r>
            <a:r>
              <a:rPr lang="en-US" altLang="en-US" sz="1200" b="0">
                <a:solidFill>
                  <a:schemeClr val="bg2"/>
                </a:solidFill>
              </a:rPr>
              <a:t> </a:t>
            </a:r>
          </a:p>
          <a:p>
            <a:pPr lvl="0"/>
            <a:r>
              <a:rPr lang="en-US" altLang="en-US" sz="1400" b="0" err="1">
                <a:solidFill>
                  <a:schemeClr val="bg2"/>
                </a:solidFill>
                <a:latin typeface="+mj-lt"/>
              </a:rPr>
              <a:t>www.fsc.org</a:t>
            </a:r>
            <a:endParaRPr lang="en-US" altLang="en-US" sz="1400" b="0">
              <a:solidFill>
                <a:schemeClr val="bg2"/>
              </a:solidFill>
              <a:latin typeface="+mj-lt"/>
            </a:endParaRPr>
          </a:p>
          <a:p>
            <a:pPr lvl="0"/>
            <a:endParaRPr lang="en-US" altLang="en-US" sz="1600" b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F8BC909C-567D-4F9C-A0DF-D05DE8F82075}"/>
              </a:ext>
            </a:extLst>
          </p:cNvPr>
          <p:cNvSpPr>
            <a:spLocks noChangeAspect="1"/>
          </p:cNvSpPr>
          <p:nvPr/>
        </p:nvSpPr>
        <p:spPr>
          <a:xfrm>
            <a:off x="7916652" y="4591756"/>
            <a:ext cx="242382" cy="242382"/>
          </a:xfrm>
          <a:custGeom>
            <a:avLst/>
            <a:gdLst>
              <a:gd name="connsiteX0" fmla="*/ 357950 w 809625"/>
              <a:gd name="connsiteY0" fmla="*/ 333375 h 809625"/>
              <a:gd name="connsiteX1" fmla="*/ 480537 w 809625"/>
              <a:gd name="connsiteY1" fmla="*/ 397002 h 809625"/>
              <a:gd name="connsiteX2" fmla="*/ 357950 w 809625"/>
              <a:gd name="connsiteY2" fmla="*/ 460439 h 809625"/>
              <a:gd name="connsiteX3" fmla="*/ 242887 w 809625"/>
              <a:gd name="connsiteY3" fmla="*/ 249555 h 809625"/>
              <a:gd name="connsiteX4" fmla="*/ 178117 w 809625"/>
              <a:gd name="connsiteY4" fmla="*/ 314325 h 809625"/>
              <a:gd name="connsiteX5" fmla="*/ 178117 w 809625"/>
              <a:gd name="connsiteY5" fmla="*/ 495300 h 809625"/>
              <a:gd name="connsiteX6" fmla="*/ 242887 w 809625"/>
              <a:gd name="connsiteY6" fmla="*/ 560070 h 809625"/>
              <a:gd name="connsiteX7" fmla="*/ 566737 w 809625"/>
              <a:gd name="connsiteY7" fmla="*/ 560070 h 809625"/>
              <a:gd name="connsiteX8" fmla="*/ 631507 w 809625"/>
              <a:gd name="connsiteY8" fmla="*/ 495300 h 809625"/>
              <a:gd name="connsiteX9" fmla="*/ 631507 w 809625"/>
              <a:gd name="connsiteY9" fmla="*/ 314325 h 809625"/>
              <a:gd name="connsiteX10" fmla="*/ 566737 w 809625"/>
              <a:gd name="connsiteY10" fmla="*/ 249555 h 809625"/>
              <a:gd name="connsiteX11" fmla="*/ 404813 w 809625"/>
              <a:gd name="connsiteY11" fmla="*/ 0 h 809625"/>
              <a:gd name="connsiteX12" fmla="*/ 809625 w 809625"/>
              <a:gd name="connsiteY12" fmla="*/ 404813 h 809625"/>
              <a:gd name="connsiteX13" fmla="*/ 404813 w 809625"/>
              <a:gd name="connsiteY13" fmla="*/ 809625 h 809625"/>
              <a:gd name="connsiteX14" fmla="*/ 0 w 809625"/>
              <a:gd name="connsiteY14" fmla="*/ 404813 h 809625"/>
              <a:gd name="connsiteX15" fmla="*/ 404813 w 809625"/>
              <a:gd name="connsiteY15" fmla="*/ 0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809625" h="809625">
                <a:moveTo>
                  <a:pt x="357950" y="333375"/>
                </a:moveTo>
                <a:lnTo>
                  <a:pt x="480537" y="397002"/>
                </a:lnTo>
                <a:lnTo>
                  <a:pt x="357950" y="460439"/>
                </a:lnTo>
                <a:close/>
                <a:moveTo>
                  <a:pt x="242887" y="249555"/>
                </a:moveTo>
                <a:cubicBezTo>
                  <a:pt x="207159" y="249660"/>
                  <a:pt x="178222" y="278597"/>
                  <a:pt x="178117" y="314325"/>
                </a:cubicBezTo>
                <a:lnTo>
                  <a:pt x="178117" y="495300"/>
                </a:lnTo>
                <a:cubicBezTo>
                  <a:pt x="178222" y="531028"/>
                  <a:pt x="207159" y="559965"/>
                  <a:pt x="242887" y="560070"/>
                </a:cubicBezTo>
                <a:lnTo>
                  <a:pt x="566737" y="560070"/>
                </a:lnTo>
                <a:cubicBezTo>
                  <a:pt x="602465" y="559965"/>
                  <a:pt x="631402" y="531028"/>
                  <a:pt x="631507" y="495300"/>
                </a:cubicBezTo>
                <a:lnTo>
                  <a:pt x="631507" y="314325"/>
                </a:lnTo>
                <a:cubicBezTo>
                  <a:pt x="631402" y="278597"/>
                  <a:pt x="602465" y="249660"/>
                  <a:pt x="566737" y="249555"/>
                </a:cubicBezTo>
                <a:close/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2487C176-18A9-4BB0-BD80-DEC34233A800}"/>
              </a:ext>
            </a:extLst>
          </p:cNvPr>
          <p:cNvSpPr>
            <a:spLocks noChangeAspect="1"/>
          </p:cNvSpPr>
          <p:nvPr/>
        </p:nvSpPr>
        <p:spPr>
          <a:xfrm>
            <a:off x="8298996" y="4591756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495146 w 809625"/>
              <a:gd name="connsiteY5" fmla="*/ 220645 h 809625"/>
              <a:gd name="connsiteX6" fmla="*/ 428527 w 809625"/>
              <a:gd name="connsiteY6" fmla="*/ 245841 h 809625"/>
              <a:gd name="connsiteX7" fmla="*/ 399192 w 809625"/>
              <a:gd name="connsiteY7" fmla="*/ 313563 h 809625"/>
              <a:gd name="connsiteX8" fmla="*/ 401573 w 809625"/>
              <a:gd name="connsiteY8" fmla="*/ 334803 h 809625"/>
              <a:gd name="connsiteX9" fmla="*/ 209549 w 809625"/>
              <a:gd name="connsiteY9" fmla="*/ 238125 h 809625"/>
              <a:gd name="connsiteX10" fmla="*/ 238124 w 809625"/>
              <a:gd name="connsiteY10" fmla="*/ 361950 h 809625"/>
              <a:gd name="connsiteX11" fmla="*/ 195928 w 809625"/>
              <a:gd name="connsiteY11" fmla="*/ 350329 h 809625"/>
              <a:gd name="connsiteX12" fmla="*/ 195929 w 809625"/>
              <a:gd name="connsiteY12" fmla="*/ 351567 h 809625"/>
              <a:gd name="connsiteX13" fmla="*/ 270605 w 809625"/>
              <a:gd name="connsiteY13" fmla="*/ 442722 h 809625"/>
              <a:gd name="connsiteX14" fmla="*/ 228599 w 809625"/>
              <a:gd name="connsiteY14" fmla="*/ 444341 h 809625"/>
              <a:gd name="connsiteX15" fmla="*/ 315467 w 809625"/>
              <a:gd name="connsiteY15" fmla="*/ 508920 h 809625"/>
              <a:gd name="connsiteX16" fmla="*/ 200024 w 809625"/>
              <a:gd name="connsiteY16" fmla="*/ 548544 h 809625"/>
              <a:gd name="connsiteX17" fmla="*/ 177831 w 809625"/>
              <a:gd name="connsiteY17" fmla="*/ 547211 h 809625"/>
              <a:gd name="connsiteX18" fmla="*/ 320706 w 809625"/>
              <a:gd name="connsiteY18" fmla="*/ 589026 h 809625"/>
              <a:gd name="connsiteX19" fmla="*/ 585406 w 809625"/>
              <a:gd name="connsiteY19" fmla="*/ 324421 h 809625"/>
              <a:gd name="connsiteX20" fmla="*/ 585406 w 809625"/>
              <a:gd name="connsiteY20" fmla="*/ 312324 h 809625"/>
              <a:gd name="connsiteX21" fmla="*/ 631507 w 809625"/>
              <a:gd name="connsiteY21" fmla="*/ 264223 h 809625"/>
              <a:gd name="connsiteX22" fmla="*/ 578072 w 809625"/>
              <a:gd name="connsiteY22" fmla="*/ 278892 h 809625"/>
              <a:gd name="connsiteX23" fmla="*/ 619124 w 809625"/>
              <a:gd name="connsiteY23" fmla="*/ 227361 h 809625"/>
              <a:gd name="connsiteX24" fmla="*/ 560069 w 809625"/>
              <a:gd name="connsiteY24" fmla="*/ 249936 h 809625"/>
              <a:gd name="connsiteX25" fmla="*/ 495146 w 809625"/>
              <a:gd name="connsiteY25" fmla="*/ 220645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495146" y="220645"/>
                </a:moveTo>
                <a:cubicBezTo>
                  <a:pt x="471342" y="219904"/>
                  <a:pt x="447255" y="228245"/>
                  <a:pt x="428527" y="245841"/>
                </a:cubicBezTo>
                <a:cubicBezTo>
                  <a:pt x="409833" y="263407"/>
                  <a:pt x="399219" y="287911"/>
                  <a:pt x="399192" y="313563"/>
                </a:cubicBezTo>
                <a:cubicBezTo>
                  <a:pt x="399204" y="320709"/>
                  <a:pt x="400003" y="327832"/>
                  <a:pt x="401573" y="334803"/>
                </a:cubicBezTo>
                <a:cubicBezTo>
                  <a:pt x="326768" y="331204"/>
                  <a:pt x="256991" y="296073"/>
                  <a:pt x="209549" y="238125"/>
                </a:cubicBezTo>
                <a:cubicBezTo>
                  <a:pt x="185023" y="280491"/>
                  <a:pt x="197513" y="334615"/>
                  <a:pt x="238124" y="361950"/>
                </a:cubicBezTo>
                <a:cubicBezTo>
                  <a:pt x="223336" y="361482"/>
                  <a:pt x="208871" y="357499"/>
                  <a:pt x="195928" y="350329"/>
                </a:cubicBezTo>
                <a:lnTo>
                  <a:pt x="195929" y="351567"/>
                </a:lnTo>
                <a:cubicBezTo>
                  <a:pt x="195962" y="395849"/>
                  <a:pt x="227195" y="433974"/>
                  <a:pt x="270605" y="442722"/>
                </a:cubicBezTo>
                <a:cubicBezTo>
                  <a:pt x="256901" y="446399"/>
                  <a:pt x="242546" y="446952"/>
                  <a:pt x="228599" y="444341"/>
                </a:cubicBezTo>
                <a:cubicBezTo>
                  <a:pt x="240745" y="482243"/>
                  <a:pt x="275672" y="508209"/>
                  <a:pt x="315467" y="508920"/>
                </a:cubicBezTo>
                <a:cubicBezTo>
                  <a:pt x="282513" y="534690"/>
                  <a:pt x="241858" y="548644"/>
                  <a:pt x="200024" y="548544"/>
                </a:cubicBezTo>
                <a:cubicBezTo>
                  <a:pt x="192607" y="548536"/>
                  <a:pt x="185196" y="548091"/>
                  <a:pt x="177831" y="547211"/>
                </a:cubicBezTo>
                <a:cubicBezTo>
                  <a:pt x="220421" y="574649"/>
                  <a:pt x="270043" y="589172"/>
                  <a:pt x="320706" y="589026"/>
                </a:cubicBezTo>
                <a:cubicBezTo>
                  <a:pt x="492156" y="589026"/>
                  <a:pt x="585406" y="447294"/>
                  <a:pt x="585406" y="324421"/>
                </a:cubicBezTo>
                <a:cubicBezTo>
                  <a:pt x="585406" y="320325"/>
                  <a:pt x="585406" y="316325"/>
                  <a:pt x="585406" y="312324"/>
                </a:cubicBezTo>
                <a:cubicBezTo>
                  <a:pt x="603503" y="299151"/>
                  <a:pt x="619113" y="282863"/>
                  <a:pt x="631507" y="264223"/>
                </a:cubicBezTo>
                <a:cubicBezTo>
                  <a:pt x="614513" y="271713"/>
                  <a:pt x="596508" y="276656"/>
                  <a:pt x="578072" y="278892"/>
                </a:cubicBezTo>
                <a:cubicBezTo>
                  <a:pt x="597588" y="267302"/>
                  <a:pt x="612190" y="248974"/>
                  <a:pt x="619124" y="227361"/>
                </a:cubicBezTo>
                <a:cubicBezTo>
                  <a:pt x="600877" y="238213"/>
                  <a:pt x="580902" y="245848"/>
                  <a:pt x="560069" y="249936"/>
                </a:cubicBezTo>
                <a:cubicBezTo>
                  <a:pt x="542473" y="231209"/>
                  <a:pt x="518951" y="221387"/>
                  <a:pt x="495146" y="22064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41393088-2A2D-4F19-A536-4C5B46718A69}"/>
              </a:ext>
            </a:extLst>
          </p:cNvPr>
          <p:cNvSpPr>
            <a:spLocks noChangeAspect="1"/>
          </p:cNvSpPr>
          <p:nvPr/>
        </p:nvSpPr>
        <p:spPr>
          <a:xfrm>
            <a:off x="8681340" y="4591756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230981 w 809625"/>
              <a:gd name="connsiteY5" fmla="*/ 177069 h 809625"/>
              <a:gd name="connsiteX6" fmla="*/ 176498 w 809625"/>
              <a:gd name="connsiteY6" fmla="*/ 231552 h 809625"/>
              <a:gd name="connsiteX7" fmla="*/ 230981 w 809625"/>
              <a:gd name="connsiteY7" fmla="*/ 286035 h 809625"/>
              <a:gd name="connsiteX8" fmla="*/ 285464 w 809625"/>
              <a:gd name="connsiteY8" fmla="*/ 231552 h 809625"/>
              <a:gd name="connsiteX9" fmla="*/ 230981 w 809625"/>
              <a:gd name="connsiteY9" fmla="*/ 177069 h 809625"/>
              <a:gd name="connsiteX10" fmla="*/ 517493 w 809625"/>
              <a:gd name="connsiteY10" fmla="*/ 319849 h 809625"/>
              <a:gd name="connsiteX11" fmla="*/ 428625 w 809625"/>
              <a:gd name="connsiteY11" fmla="*/ 368617 h 809625"/>
              <a:gd name="connsiteX12" fmla="*/ 426910 w 809625"/>
              <a:gd name="connsiteY12" fmla="*/ 368617 h 809625"/>
              <a:gd name="connsiteX13" fmla="*/ 426910 w 809625"/>
              <a:gd name="connsiteY13" fmla="*/ 327278 h 809625"/>
              <a:gd name="connsiteX14" fmla="*/ 336899 w 809625"/>
              <a:gd name="connsiteY14" fmla="*/ 327278 h 809625"/>
              <a:gd name="connsiteX15" fmla="*/ 336899 w 809625"/>
              <a:gd name="connsiteY15" fmla="*/ 629602 h 809625"/>
              <a:gd name="connsiteX16" fmla="*/ 430720 w 809625"/>
              <a:gd name="connsiteY16" fmla="*/ 629602 h 809625"/>
              <a:gd name="connsiteX17" fmla="*/ 430720 w 809625"/>
              <a:gd name="connsiteY17" fmla="*/ 480059 h 809625"/>
              <a:gd name="connsiteX18" fmla="*/ 487108 w 809625"/>
              <a:gd name="connsiteY18" fmla="*/ 402430 h 809625"/>
              <a:gd name="connsiteX19" fmla="*/ 535876 w 809625"/>
              <a:gd name="connsiteY19" fmla="*/ 482631 h 809625"/>
              <a:gd name="connsiteX20" fmla="*/ 535876 w 809625"/>
              <a:gd name="connsiteY20" fmla="*/ 629602 h 809625"/>
              <a:gd name="connsiteX21" fmla="*/ 630174 w 809625"/>
              <a:gd name="connsiteY21" fmla="*/ 629602 h 809625"/>
              <a:gd name="connsiteX22" fmla="*/ 630174 w 809625"/>
              <a:gd name="connsiteY22" fmla="*/ 463771 h 809625"/>
              <a:gd name="connsiteX23" fmla="*/ 517493 w 809625"/>
              <a:gd name="connsiteY23" fmla="*/ 319849 h 809625"/>
              <a:gd name="connsiteX24" fmla="*/ 183927 w 809625"/>
              <a:gd name="connsiteY24" fmla="*/ 327278 h 809625"/>
              <a:gd name="connsiteX25" fmla="*/ 183927 w 809625"/>
              <a:gd name="connsiteY25" fmla="*/ 629602 h 809625"/>
              <a:gd name="connsiteX26" fmla="*/ 277939 w 809625"/>
              <a:gd name="connsiteY26" fmla="*/ 629602 h 809625"/>
              <a:gd name="connsiteX27" fmla="*/ 277939 w 809625"/>
              <a:gd name="connsiteY27" fmla="*/ 327278 h 809625"/>
              <a:gd name="connsiteX28" fmla="*/ 183927 w 809625"/>
              <a:gd name="connsiteY28" fmla="*/ 327278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230981" y="177069"/>
                </a:moveTo>
                <a:cubicBezTo>
                  <a:pt x="200891" y="177069"/>
                  <a:pt x="176498" y="201462"/>
                  <a:pt x="176498" y="231552"/>
                </a:cubicBezTo>
                <a:cubicBezTo>
                  <a:pt x="176498" y="261642"/>
                  <a:pt x="200891" y="286035"/>
                  <a:pt x="230981" y="286035"/>
                </a:cubicBezTo>
                <a:cubicBezTo>
                  <a:pt x="261071" y="286035"/>
                  <a:pt x="285464" y="261642"/>
                  <a:pt x="285464" y="231552"/>
                </a:cubicBezTo>
                <a:cubicBezTo>
                  <a:pt x="285464" y="201462"/>
                  <a:pt x="261071" y="177069"/>
                  <a:pt x="230981" y="177069"/>
                </a:cubicBezTo>
                <a:close/>
                <a:moveTo>
                  <a:pt x="517493" y="319849"/>
                </a:moveTo>
                <a:cubicBezTo>
                  <a:pt x="481146" y="318484"/>
                  <a:pt x="446996" y="337225"/>
                  <a:pt x="428625" y="368617"/>
                </a:cubicBezTo>
                <a:lnTo>
                  <a:pt x="426910" y="368617"/>
                </a:lnTo>
                <a:lnTo>
                  <a:pt x="426910" y="327278"/>
                </a:lnTo>
                <a:lnTo>
                  <a:pt x="336899" y="327278"/>
                </a:lnTo>
                <a:lnTo>
                  <a:pt x="336899" y="629602"/>
                </a:lnTo>
                <a:lnTo>
                  <a:pt x="430720" y="629602"/>
                </a:lnTo>
                <a:lnTo>
                  <a:pt x="430720" y="480059"/>
                </a:lnTo>
                <a:cubicBezTo>
                  <a:pt x="430720" y="440530"/>
                  <a:pt x="438912" y="402430"/>
                  <a:pt x="487108" y="402430"/>
                </a:cubicBezTo>
                <a:cubicBezTo>
                  <a:pt x="535305" y="402430"/>
                  <a:pt x="535876" y="447579"/>
                  <a:pt x="535876" y="482631"/>
                </a:cubicBezTo>
                <a:lnTo>
                  <a:pt x="535876" y="629602"/>
                </a:lnTo>
                <a:lnTo>
                  <a:pt x="630174" y="629602"/>
                </a:lnTo>
                <a:lnTo>
                  <a:pt x="630174" y="463771"/>
                </a:lnTo>
                <a:cubicBezTo>
                  <a:pt x="630174" y="382428"/>
                  <a:pt x="612743" y="319849"/>
                  <a:pt x="517493" y="319849"/>
                </a:cubicBezTo>
                <a:close/>
                <a:moveTo>
                  <a:pt x="183927" y="327278"/>
                </a:moveTo>
                <a:lnTo>
                  <a:pt x="183927" y="629602"/>
                </a:lnTo>
                <a:lnTo>
                  <a:pt x="277939" y="629602"/>
                </a:lnTo>
                <a:lnTo>
                  <a:pt x="277939" y="327278"/>
                </a:lnTo>
                <a:lnTo>
                  <a:pt x="183927" y="32727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F1F78FC3-536A-4C34-B2A3-95085DF38A8D}"/>
              </a:ext>
            </a:extLst>
          </p:cNvPr>
          <p:cNvSpPr>
            <a:spLocks noChangeAspect="1"/>
          </p:cNvSpPr>
          <p:nvPr/>
        </p:nvSpPr>
        <p:spPr>
          <a:xfrm>
            <a:off x="9063685" y="4591756"/>
            <a:ext cx="242382" cy="242382"/>
          </a:xfrm>
          <a:custGeom>
            <a:avLst/>
            <a:gdLst>
              <a:gd name="connsiteX0" fmla="*/ 404812 w 809625"/>
              <a:gd name="connsiteY0" fmla="*/ 288417 h 809625"/>
              <a:gd name="connsiteX1" fmla="*/ 288417 w 809625"/>
              <a:gd name="connsiteY1" fmla="*/ 404812 h 809625"/>
              <a:gd name="connsiteX2" fmla="*/ 404812 w 809625"/>
              <a:gd name="connsiteY2" fmla="*/ 521208 h 809625"/>
              <a:gd name="connsiteX3" fmla="*/ 521208 w 809625"/>
              <a:gd name="connsiteY3" fmla="*/ 404812 h 809625"/>
              <a:gd name="connsiteX4" fmla="*/ 404812 w 809625"/>
              <a:gd name="connsiteY4" fmla="*/ 288417 h 809625"/>
              <a:gd name="connsiteX5" fmla="*/ 525780 w 809625"/>
              <a:gd name="connsiteY5" fmla="*/ 256603 h 809625"/>
              <a:gd name="connsiteX6" fmla="*/ 498538 w 809625"/>
              <a:gd name="connsiteY6" fmla="*/ 283844 h 809625"/>
              <a:gd name="connsiteX7" fmla="*/ 525780 w 809625"/>
              <a:gd name="connsiteY7" fmla="*/ 311086 h 809625"/>
              <a:gd name="connsiteX8" fmla="*/ 553021 w 809625"/>
              <a:gd name="connsiteY8" fmla="*/ 283844 h 809625"/>
              <a:gd name="connsiteX9" fmla="*/ 525780 w 809625"/>
              <a:gd name="connsiteY9" fmla="*/ 256603 h 809625"/>
              <a:gd name="connsiteX10" fmla="*/ 404812 w 809625"/>
              <a:gd name="connsiteY10" fmla="*/ 219075 h 809625"/>
              <a:gd name="connsiteX11" fmla="*/ 496443 w 809625"/>
              <a:gd name="connsiteY11" fmla="*/ 220408 h 809625"/>
              <a:gd name="connsiteX12" fmla="*/ 538543 w 809625"/>
              <a:gd name="connsiteY12" fmla="*/ 228218 h 809625"/>
              <a:gd name="connsiteX13" fmla="*/ 581501 w 809625"/>
              <a:gd name="connsiteY13" fmla="*/ 271176 h 809625"/>
              <a:gd name="connsiteX14" fmla="*/ 589311 w 809625"/>
              <a:gd name="connsiteY14" fmla="*/ 313277 h 809625"/>
              <a:gd name="connsiteX15" fmla="*/ 590645 w 809625"/>
              <a:gd name="connsiteY15" fmla="*/ 404907 h 809625"/>
              <a:gd name="connsiteX16" fmla="*/ 589311 w 809625"/>
              <a:gd name="connsiteY16" fmla="*/ 496538 h 809625"/>
              <a:gd name="connsiteX17" fmla="*/ 581501 w 809625"/>
              <a:gd name="connsiteY17" fmla="*/ 538638 h 809625"/>
              <a:gd name="connsiteX18" fmla="*/ 538543 w 809625"/>
              <a:gd name="connsiteY18" fmla="*/ 581596 h 809625"/>
              <a:gd name="connsiteX19" fmla="*/ 496443 w 809625"/>
              <a:gd name="connsiteY19" fmla="*/ 589406 h 809625"/>
              <a:gd name="connsiteX20" fmla="*/ 404812 w 809625"/>
              <a:gd name="connsiteY20" fmla="*/ 590740 h 809625"/>
              <a:gd name="connsiteX21" fmla="*/ 313182 w 809625"/>
              <a:gd name="connsiteY21" fmla="*/ 589407 h 809625"/>
              <a:gd name="connsiteX22" fmla="*/ 271081 w 809625"/>
              <a:gd name="connsiteY22" fmla="*/ 581596 h 809625"/>
              <a:gd name="connsiteX23" fmla="*/ 228600 w 809625"/>
              <a:gd name="connsiteY23" fmla="*/ 538543 h 809625"/>
              <a:gd name="connsiteX24" fmla="*/ 220789 w 809625"/>
              <a:gd name="connsiteY24" fmla="*/ 496443 h 809625"/>
              <a:gd name="connsiteX25" fmla="*/ 219075 w 809625"/>
              <a:gd name="connsiteY25" fmla="*/ 404812 h 809625"/>
              <a:gd name="connsiteX26" fmla="*/ 220408 w 809625"/>
              <a:gd name="connsiteY26" fmla="*/ 313182 h 809625"/>
              <a:gd name="connsiteX27" fmla="*/ 228600 w 809625"/>
              <a:gd name="connsiteY27" fmla="*/ 271081 h 809625"/>
              <a:gd name="connsiteX28" fmla="*/ 271081 w 809625"/>
              <a:gd name="connsiteY28" fmla="*/ 228600 h 809625"/>
              <a:gd name="connsiteX29" fmla="*/ 313181 w 809625"/>
              <a:gd name="connsiteY29" fmla="*/ 220789 h 809625"/>
              <a:gd name="connsiteX30" fmla="*/ 404812 w 809625"/>
              <a:gd name="connsiteY30" fmla="*/ 219075 h 809625"/>
              <a:gd name="connsiteX31" fmla="*/ 405669 w 809625"/>
              <a:gd name="connsiteY31" fmla="*/ 177736 h 809625"/>
              <a:gd name="connsiteX32" fmla="*/ 404812 w 809625"/>
              <a:gd name="connsiteY32" fmla="*/ 178212 h 809625"/>
              <a:gd name="connsiteX33" fmla="*/ 311372 w 809625"/>
              <a:gd name="connsiteY33" fmla="*/ 179546 h 809625"/>
              <a:gd name="connsiteX34" fmla="*/ 256317 w 809625"/>
              <a:gd name="connsiteY34" fmla="*/ 190500 h 809625"/>
              <a:gd name="connsiteX35" fmla="*/ 189642 w 809625"/>
              <a:gd name="connsiteY35" fmla="*/ 257175 h 809625"/>
              <a:gd name="connsiteX36" fmla="*/ 179069 w 809625"/>
              <a:gd name="connsiteY36" fmla="*/ 312229 h 809625"/>
              <a:gd name="connsiteX37" fmla="*/ 177736 w 809625"/>
              <a:gd name="connsiteY37" fmla="*/ 405669 h 809625"/>
              <a:gd name="connsiteX38" fmla="*/ 179069 w 809625"/>
              <a:gd name="connsiteY38" fmla="*/ 499110 h 809625"/>
              <a:gd name="connsiteX39" fmla="*/ 190500 w 809625"/>
              <a:gd name="connsiteY39" fmla="*/ 553307 h 809625"/>
              <a:gd name="connsiteX40" fmla="*/ 257175 w 809625"/>
              <a:gd name="connsiteY40" fmla="*/ 619982 h 809625"/>
              <a:gd name="connsiteX41" fmla="*/ 312229 w 809625"/>
              <a:gd name="connsiteY41" fmla="*/ 630554 h 809625"/>
              <a:gd name="connsiteX42" fmla="*/ 405669 w 809625"/>
              <a:gd name="connsiteY42" fmla="*/ 631888 h 809625"/>
              <a:gd name="connsiteX43" fmla="*/ 499110 w 809625"/>
              <a:gd name="connsiteY43" fmla="*/ 630554 h 809625"/>
              <a:gd name="connsiteX44" fmla="*/ 554164 w 809625"/>
              <a:gd name="connsiteY44" fmla="*/ 619982 h 809625"/>
              <a:gd name="connsiteX45" fmla="*/ 620839 w 809625"/>
              <a:gd name="connsiteY45" fmla="*/ 553307 h 809625"/>
              <a:gd name="connsiteX46" fmla="*/ 631412 w 809625"/>
              <a:gd name="connsiteY46" fmla="*/ 498252 h 809625"/>
              <a:gd name="connsiteX47" fmla="*/ 632745 w 809625"/>
              <a:gd name="connsiteY47" fmla="*/ 404812 h 809625"/>
              <a:gd name="connsiteX48" fmla="*/ 631412 w 809625"/>
              <a:gd name="connsiteY48" fmla="*/ 311372 h 809625"/>
              <a:gd name="connsiteX49" fmla="*/ 620839 w 809625"/>
              <a:gd name="connsiteY49" fmla="*/ 256317 h 809625"/>
              <a:gd name="connsiteX50" fmla="*/ 554164 w 809625"/>
              <a:gd name="connsiteY50" fmla="*/ 189642 h 809625"/>
              <a:gd name="connsiteX51" fmla="*/ 499110 w 809625"/>
              <a:gd name="connsiteY51" fmla="*/ 179069 h 809625"/>
              <a:gd name="connsiteX52" fmla="*/ 405669 w 809625"/>
              <a:gd name="connsiteY52" fmla="*/ 177736 h 809625"/>
              <a:gd name="connsiteX53" fmla="*/ 404813 w 809625"/>
              <a:gd name="connsiteY53" fmla="*/ 0 h 809625"/>
              <a:gd name="connsiteX54" fmla="*/ 809625 w 809625"/>
              <a:gd name="connsiteY54" fmla="*/ 404813 h 809625"/>
              <a:gd name="connsiteX55" fmla="*/ 404813 w 809625"/>
              <a:gd name="connsiteY55" fmla="*/ 809625 h 809625"/>
              <a:gd name="connsiteX56" fmla="*/ 0 w 809625"/>
              <a:gd name="connsiteY56" fmla="*/ 404813 h 809625"/>
              <a:gd name="connsiteX57" fmla="*/ 404813 w 809625"/>
              <a:gd name="connsiteY57" fmla="*/ 0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809625" h="809625">
                <a:moveTo>
                  <a:pt x="404812" y="288417"/>
                </a:moveTo>
                <a:cubicBezTo>
                  <a:pt x="340529" y="288417"/>
                  <a:pt x="288417" y="340529"/>
                  <a:pt x="288417" y="404812"/>
                </a:cubicBezTo>
                <a:cubicBezTo>
                  <a:pt x="288417" y="469096"/>
                  <a:pt x="340529" y="521208"/>
                  <a:pt x="404812" y="521208"/>
                </a:cubicBezTo>
                <a:cubicBezTo>
                  <a:pt x="469096" y="521208"/>
                  <a:pt x="521208" y="469096"/>
                  <a:pt x="521208" y="404812"/>
                </a:cubicBezTo>
                <a:cubicBezTo>
                  <a:pt x="521208" y="340529"/>
                  <a:pt x="469096" y="288417"/>
                  <a:pt x="404812" y="288417"/>
                </a:cubicBezTo>
                <a:close/>
                <a:moveTo>
                  <a:pt x="525780" y="256603"/>
                </a:moveTo>
                <a:cubicBezTo>
                  <a:pt x="510734" y="256603"/>
                  <a:pt x="498538" y="268799"/>
                  <a:pt x="498538" y="283844"/>
                </a:cubicBezTo>
                <a:cubicBezTo>
                  <a:pt x="498538" y="298890"/>
                  <a:pt x="510734" y="311086"/>
                  <a:pt x="525780" y="311086"/>
                </a:cubicBezTo>
                <a:cubicBezTo>
                  <a:pt x="540825" y="311086"/>
                  <a:pt x="553021" y="298890"/>
                  <a:pt x="553021" y="283844"/>
                </a:cubicBezTo>
                <a:cubicBezTo>
                  <a:pt x="553021" y="268799"/>
                  <a:pt x="540825" y="256603"/>
                  <a:pt x="525780" y="256603"/>
                </a:cubicBezTo>
                <a:close/>
                <a:moveTo>
                  <a:pt x="404812" y="219075"/>
                </a:moveTo>
                <a:cubicBezTo>
                  <a:pt x="465296" y="219075"/>
                  <a:pt x="472535" y="219075"/>
                  <a:pt x="496443" y="220408"/>
                </a:cubicBezTo>
                <a:cubicBezTo>
                  <a:pt x="510824" y="220533"/>
                  <a:pt x="525073" y="223177"/>
                  <a:pt x="538543" y="228218"/>
                </a:cubicBezTo>
                <a:cubicBezTo>
                  <a:pt x="558257" y="235874"/>
                  <a:pt x="573845" y="251463"/>
                  <a:pt x="581501" y="271176"/>
                </a:cubicBezTo>
                <a:cubicBezTo>
                  <a:pt x="586542" y="284646"/>
                  <a:pt x="589186" y="298895"/>
                  <a:pt x="589311" y="313277"/>
                </a:cubicBezTo>
                <a:cubicBezTo>
                  <a:pt x="590454" y="337185"/>
                  <a:pt x="590645" y="344424"/>
                  <a:pt x="590645" y="404907"/>
                </a:cubicBezTo>
                <a:cubicBezTo>
                  <a:pt x="590645" y="465391"/>
                  <a:pt x="590645" y="472630"/>
                  <a:pt x="589311" y="496538"/>
                </a:cubicBezTo>
                <a:cubicBezTo>
                  <a:pt x="589186" y="510920"/>
                  <a:pt x="586543" y="525168"/>
                  <a:pt x="581501" y="538638"/>
                </a:cubicBezTo>
                <a:cubicBezTo>
                  <a:pt x="573845" y="558352"/>
                  <a:pt x="558257" y="573940"/>
                  <a:pt x="538543" y="581596"/>
                </a:cubicBezTo>
                <a:cubicBezTo>
                  <a:pt x="525073" y="586638"/>
                  <a:pt x="510824" y="589281"/>
                  <a:pt x="496443" y="589406"/>
                </a:cubicBezTo>
                <a:cubicBezTo>
                  <a:pt x="472535" y="590550"/>
                  <a:pt x="465391" y="590740"/>
                  <a:pt x="404812" y="590740"/>
                </a:cubicBezTo>
                <a:cubicBezTo>
                  <a:pt x="344233" y="590740"/>
                  <a:pt x="337089" y="590740"/>
                  <a:pt x="313182" y="589407"/>
                </a:cubicBezTo>
                <a:cubicBezTo>
                  <a:pt x="298800" y="589281"/>
                  <a:pt x="284551" y="586638"/>
                  <a:pt x="271081" y="581596"/>
                </a:cubicBezTo>
                <a:cubicBezTo>
                  <a:pt x="251529" y="573808"/>
                  <a:pt x="236125" y="558197"/>
                  <a:pt x="228600" y="538543"/>
                </a:cubicBezTo>
                <a:cubicBezTo>
                  <a:pt x="223558" y="525073"/>
                  <a:pt x="220914" y="510824"/>
                  <a:pt x="220789" y="496443"/>
                </a:cubicBezTo>
                <a:cubicBezTo>
                  <a:pt x="219075" y="472535"/>
                  <a:pt x="219075" y="465296"/>
                  <a:pt x="219075" y="404812"/>
                </a:cubicBezTo>
                <a:cubicBezTo>
                  <a:pt x="219075" y="344328"/>
                  <a:pt x="219075" y="337089"/>
                  <a:pt x="220408" y="313182"/>
                </a:cubicBezTo>
                <a:cubicBezTo>
                  <a:pt x="220655" y="298777"/>
                  <a:pt x="223428" y="284527"/>
                  <a:pt x="228600" y="271081"/>
                </a:cubicBezTo>
                <a:cubicBezTo>
                  <a:pt x="236258" y="251643"/>
                  <a:pt x="251643" y="236258"/>
                  <a:pt x="271081" y="228600"/>
                </a:cubicBezTo>
                <a:cubicBezTo>
                  <a:pt x="284551" y="223558"/>
                  <a:pt x="298800" y="220914"/>
                  <a:pt x="313181" y="220789"/>
                </a:cubicBezTo>
                <a:cubicBezTo>
                  <a:pt x="337089" y="219075"/>
                  <a:pt x="344328" y="219075"/>
                  <a:pt x="404812" y="219075"/>
                </a:cubicBezTo>
                <a:close/>
                <a:moveTo>
                  <a:pt x="405669" y="177736"/>
                </a:moveTo>
                <a:lnTo>
                  <a:pt x="404812" y="178212"/>
                </a:lnTo>
                <a:cubicBezTo>
                  <a:pt x="343281" y="178212"/>
                  <a:pt x="335565" y="178212"/>
                  <a:pt x="311372" y="179546"/>
                </a:cubicBezTo>
                <a:cubicBezTo>
                  <a:pt x="292533" y="180057"/>
                  <a:pt x="273917" y="183760"/>
                  <a:pt x="256317" y="190500"/>
                </a:cubicBezTo>
                <a:cubicBezTo>
                  <a:pt x="225602" y="202200"/>
                  <a:pt x="201343" y="226459"/>
                  <a:pt x="189642" y="257175"/>
                </a:cubicBezTo>
                <a:cubicBezTo>
                  <a:pt x="183033" y="274797"/>
                  <a:pt x="179458" y="293412"/>
                  <a:pt x="179069" y="312229"/>
                </a:cubicBezTo>
                <a:cubicBezTo>
                  <a:pt x="178022" y="336423"/>
                  <a:pt x="177736" y="344138"/>
                  <a:pt x="177736" y="405669"/>
                </a:cubicBezTo>
                <a:cubicBezTo>
                  <a:pt x="177736" y="467201"/>
                  <a:pt x="177736" y="474916"/>
                  <a:pt x="179069" y="499110"/>
                </a:cubicBezTo>
                <a:cubicBezTo>
                  <a:pt x="179828" y="517687"/>
                  <a:pt x="183692" y="536005"/>
                  <a:pt x="190500" y="553307"/>
                </a:cubicBezTo>
                <a:cubicBezTo>
                  <a:pt x="202200" y="584022"/>
                  <a:pt x="226459" y="608281"/>
                  <a:pt x="257175" y="619982"/>
                </a:cubicBezTo>
                <a:cubicBezTo>
                  <a:pt x="274797" y="626591"/>
                  <a:pt x="293412" y="630165"/>
                  <a:pt x="312229" y="630554"/>
                </a:cubicBezTo>
                <a:cubicBezTo>
                  <a:pt x="336423" y="631602"/>
                  <a:pt x="344138" y="631888"/>
                  <a:pt x="405669" y="631888"/>
                </a:cubicBezTo>
                <a:cubicBezTo>
                  <a:pt x="467201" y="631888"/>
                  <a:pt x="474916" y="631888"/>
                  <a:pt x="499110" y="630554"/>
                </a:cubicBezTo>
                <a:cubicBezTo>
                  <a:pt x="517927" y="630165"/>
                  <a:pt x="536542" y="626591"/>
                  <a:pt x="554164" y="619982"/>
                </a:cubicBezTo>
                <a:cubicBezTo>
                  <a:pt x="584880" y="608281"/>
                  <a:pt x="609138" y="584022"/>
                  <a:pt x="620839" y="553307"/>
                </a:cubicBezTo>
                <a:cubicBezTo>
                  <a:pt x="627448" y="535684"/>
                  <a:pt x="631023" y="517069"/>
                  <a:pt x="631412" y="498252"/>
                </a:cubicBezTo>
                <a:cubicBezTo>
                  <a:pt x="632460" y="474059"/>
                  <a:pt x="632745" y="466344"/>
                  <a:pt x="632745" y="404812"/>
                </a:cubicBezTo>
                <a:cubicBezTo>
                  <a:pt x="632745" y="343281"/>
                  <a:pt x="632745" y="335565"/>
                  <a:pt x="631412" y="311372"/>
                </a:cubicBezTo>
                <a:cubicBezTo>
                  <a:pt x="631023" y="292555"/>
                  <a:pt x="627448" y="273940"/>
                  <a:pt x="620839" y="256317"/>
                </a:cubicBezTo>
                <a:cubicBezTo>
                  <a:pt x="609138" y="225602"/>
                  <a:pt x="584880" y="201343"/>
                  <a:pt x="554164" y="189642"/>
                </a:cubicBezTo>
                <a:cubicBezTo>
                  <a:pt x="536542" y="183033"/>
                  <a:pt x="517927" y="179458"/>
                  <a:pt x="499110" y="179069"/>
                </a:cubicBezTo>
                <a:cubicBezTo>
                  <a:pt x="474916" y="178022"/>
                  <a:pt x="467201" y="177736"/>
                  <a:pt x="405669" y="177736"/>
                </a:cubicBezTo>
                <a:close/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37645F6A-EDD9-42D2-A01C-F8414798D57C}"/>
              </a:ext>
            </a:extLst>
          </p:cNvPr>
          <p:cNvSpPr>
            <a:spLocks noChangeAspect="1"/>
          </p:cNvSpPr>
          <p:nvPr/>
        </p:nvSpPr>
        <p:spPr>
          <a:xfrm>
            <a:off x="9446029" y="4591756"/>
            <a:ext cx="242382" cy="242382"/>
          </a:xfrm>
          <a:custGeom>
            <a:avLst/>
            <a:gdLst>
              <a:gd name="connsiteX0" fmla="*/ 404813 w 809625"/>
              <a:gd name="connsiteY0" fmla="*/ 0 h 809625"/>
              <a:gd name="connsiteX1" fmla="*/ 809625 w 809625"/>
              <a:gd name="connsiteY1" fmla="*/ 404813 h 809625"/>
              <a:gd name="connsiteX2" fmla="*/ 404813 w 809625"/>
              <a:gd name="connsiteY2" fmla="*/ 809625 h 809625"/>
              <a:gd name="connsiteX3" fmla="*/ 0 w 809625"/>
              <a:gd name="connsiteY3" fmla="*/ 404813 h 809625"/>
              <a:gd name="connsiteX4" fmla="*/ 404813 w 809625"/>
              <a:gd name="connsiteY4" fmla="*/ 0 h 809625"/>
              <a:gd name="connsiteX5" fmla="*/ 207835 w 809625"/>
              <a:gd name="connsiteY5" fmla="*/ 183451 h 809625"/>
              <a:gd name="connsiteX6" fmla="*/ 183451 w 809625"/>
              <a:gd name="connsiteY6" fmla="*/ 207835 h 809625"/>
              <a:gd name="connsiteX7" fmla="*/ 183451 w 809625"/>
              <a:gd name="connsiteY7" fmla="*/ 601789 h 809625"/>
              <a:gd name="connsiteX8" fmla="*/ 207835 w 809625"/>
              <a:gd name="connsiteY8" fmla="*/ 626173 h 809625"/>
              <a:gd name="connsiteX9" fmla="*/ 419957 w 809625"/>
              <a:gd name="connsiteY9" fmla="*/ 626173 h 809625"/>
              <a:gd name="connsiteX10" fmla="*/ 419957 w 809625"/>
              <a:gd name="connsiteY10" fmla="*/ 454723 h 809625"/>
              <a:gd name="connsiteX11" fmla="*/ 361950 w 809625"/>
              <a:gd name="connsiteY11" fmla="*/ 454723 h 809625"/>
              <a:gd name="connsiteX12" fmla="*/ 361950 w 809625"/>
              <a:gd name="connsiteY12" fmla="*/ 388048 h 809625"/>
              <a:gd name="connsiteX13" fmla="*/ 419671 w 809625"/>
              <a:gd name="connsiteY13" fmla="*/ 388048 h 809625"/>
              <a:gd name="connsiteX14" fmla="*/ 419671 w 809625"/>
              <a:gd name="connsiteY14" fmla="*/ 338613 h 809625"/>
              <a:gd name="connsiteX15" fmla="*/ 505396 w 809625"/>
              <a:gd name="connsiteY15" fmla="*/ 250317 h 809625"/>
              <a:gd name="connsiteX16" fmla="*/ 556926 w 809625"/>
              <a:gd name="connsiteY16" fmla="*/ 252984 h 809625"/>
              <a:gd name="connsiteX17" fmla="*/ 556926 w 809625"/>
              <a:gd name="connsiteY17" fmla="*/ 312705 h 809625"/>
              <a:gd name="connsiteX18" fmla="*/ 522065 w 809625"/>
              <a:gd name="connsiteY18" fmla="*/ 312705 h 809625"/>
              <a:gd name="connsiteX19" fmla="*/ 488918 w 809625"/>
              <a:gd name="connsiteY19" fmla="*/ 345281 h 809625"/>
              <a:gd name="connsiteX20" fmla="*/ 488918 w 809625"/>
              <a:gd name="connsiteY20" fmla="*/ 387953 h 809625"/>
              <a:gd name="connsiteX21" fmla="*/ 555593 w 809625"/>
              <a:gd name="connsiteY21" fmla="*/ 387953 h 809625"/>
              <a:gd name="connsiteX22" fmla="*/ 546925 w 809625"/>
              <a:gd name="connsiteY22" fmla="*/ 454628 h 809625"/>
              <a:gd name="connsiteX23" fmla="*/ 489775 w 809625"/>
              <a:gd name="connsiteY23" fmla="*/ 454628 h 809625"/>
              <a:gd name="connsiteX24" fmla="*/ 489775 w 809625"/>
              <a:gd name="connsiteY24" fmla="*/ 626078 h 809625"/>
              <a:gd name="connsiteX25" fmla="*/ 601789 w 809625"/>
              <a:gd name="connsiteY25" fmla="*/ 626078 h 809625"/>
              <a:gd name="connsiteX26" fmla="*/ 626173 w 809625"/>
              <a:gd name="connsiteY26" fmla="*/ 601694 h 809625"/>
              <a:gd name="connsiteX27" fmla="*/ 626173 w 809625"/>
              <a:gd name="connsiteY27" fmla="*/ 207835 h 809625"/>
              <a:gd name="connsiteX28" fmla="*/ 601789 w 809625"/>
              <a:gd name="connsiteY28" fmla="*/ 183451 h 809625"/>
              <a:gd name="connsiteX29" fmla="*/ 207835 w 809625"/>
              <a:gd name="connsiteY29" fmla="*/ 183451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809625" h="809625">
                <a:moveTo>
                  <a:pt x="404813" y="0"/>
                </a:moveTo>
                <a:cubicBezTo>
                  <a:pt x="628384" y="0"/>
                  <a:pt x="809625" y="181241"/>
                  <a:pt x="809625" y="404813"/>
                </a:cubicBezTo>
                <a:cubicBezTo>
                  <a:pt x="809625" y="628384"/>
                  <a:pt x="628384" y="809625"/>
                  <a:pt x="404813" y="809625"/>
                </a:cubicBezTo>
                <a:cubicBezTo>
                  <a:pt x="181241" y="809625"/>
                  <a:pt x="0" y="628384"/>
                  <a:pt x="0" y="404813"/>
                </a:cubicBezTo>
                <a:cubicBezTo>
                  <a:pt x="0" y="181241"/>
                  <a:pt x="181241" y="0"/>
                  <a:pt x="404813" y="0"/>
                </a:cubicBezTo>
                <a:close/>
                <a:moveTo>
                  <a:pt x="207835" y="183451"/>
                </a:moveTo>
                <a:cubicBezTo>
                  <a:pt x="194368" y="183451"/>
                  <a:pt x="183451" y="194368"/>
                  <a:pt x="183451" y="207835"/>
                </a:cubicBezTo>
                <a:lnTo>
                  <a:pt x="183451" y="601789"/>
                </a:lnTo>
                <a:cubicBezTo>
                  <a:pt x="183451" y="615256"/>
                  <a:pt x="194368" y="626173"/>
                  <a:pt x="207835" y="626173"/>
                </a:cubicBezTo>
                <a:lnTo>
                  <a:pt x="419957" y="626173"/>
                </a:lnTo>
                <a:lnTo>
                  <a:pt x="419957" y="454723"/>
                </a:lnTo>
                <a:lnTo>
                  <a:pt x="361950" y="454723"/>
                </a:lnTo>
                <a:lnTo>
                  <a:pt x="361950" y="388048"/>
                </a:lnTo>
                <a:lnTo>
                  <a:pt x="419671" y="388048"/>
                </a:lnTo>
                <a:lnTo>
                  <a:pt x="419671" y="338613"/>
                </a:lnTo>
                <a:cubicBezTo>
                  <a:pt x="419671" y="281463"/>
                  <a:pt x="454533" y="250317"/>
                  <a:pt x="505396" y="250317"/>
                </a:cubicBezTo>
                <a:cubicBezTo>
                  <a:pt x="522609" y="250238"/>
                  <a:pt x="539813" y="251128"/>
                  <a:pt x="556926" y="252984"/>
                </a:cubicBezTo>
                <a:lnTo>
                  <a:pt x="556926" y="312705"/>
                </a:lnTo>
                <a:lnTo>
                  <a:pt x="522065" y="312705"/>
                </a:lnTo>
                <a:cubicBezTo>
                  <a:pt x="494252" y="312705"/>
                  <a:pt x="488918" y="325945"/>
                  <a:pt x="488918" y="345281"/>
                </a:cubicBezTo>
                <a:lnTo>
                  <a:pt x="488918" y="387953"/>
                </a:lnTo>
                <a:lnTo>
                  <a:pt x="555593" y="387953"/>
                </a:lnTo>
                <a:lnTo>
                  <a:pt x="546925" y="454628"/>
                </a:lnTo>
                <a:lnTo>
                  <a:pt x="489775" y="454628"/>
                </a:lnTo>
                <a:lnTo>
                  <a:pt x="489775" y="626078"/>
                </a:lnTo>
                <a:lnTo>
                  <a:pt x="601789" y="626078"/>
                </a:lnTo>
                <a:cubicBezTo>
                  <a:pt x="615256" y="626078"/>
                  <a:pt x="626173" y="615161"/>
                  <a:pt x="626173" y="601694"/>
                </a:cubicBezTo>
                <a:lnTo>
                  <a:pt x="626173" y="207835"/>
                </a:lnTo>
                <a:cubicBezTo>
                  <a:pt x="626173" y="194368"/>
                  <a:pt x="615256" y="183451"/>
                  <a:pt x="601789" y="183451"/>
                </a:cubicBezTo>
                <a:lnTo>
                  <a:pt x="207835" y="183451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96117348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D50AE23D-06D1-4F9E-B490-E50D424CE9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DFCCD94-C178-488E-A0A8-B9933C21C8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B6B25C7-EDE8-4C6A-A016-B0BC2F236A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3CEBA6-B1B6-4DE4-9914-AA9310C6B7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41129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87CEE9C-A8AE-431B-A0E0-C79E2E22CC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0C04917-818A-4A3D-87A1-5D1A3CEF6E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14D6DCE-44D6-472C-8A31-1D8DC27A62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751916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E396722-86FB-4B61-980E-29BB1A84BF5F}"/>
              </a:ext>
            </a:extLst>
          </p:cNvPr>
          <p:cNvSpPr/>
          <p:nvPr userDrawn="1"/>
        </p:nvSpPr>
        <p:spPr>
          <a:xfrm>
            <a:off x="0" y="-1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D50AE23D-06D1-4F9E-B490-E50D424CE9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892E96-6CF9-4BCC-9A9B-CB94EC6D1A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97B376B-D4F9-4143-A8AE-817EB0EA6B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84A53671-41EC-45C8-A0C1-D1426C22F9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27E5DCB3-2EAB-4C41-86B6-8EC86D9334D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849886" y="6082863"/>
            <a:ext cx="1006304" cy="448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087870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E396722-86FB-4B61-980E-29BB1A84BF5F}"/>
              </a:ext>
            </a:extLst>
          </p:cNvPr>
          <p:cNvSpPr/>
          <p:nvPr userDrawn="1"/>
        </p:nvSpPr>
        <p:spPr>
          <a:xfrm>
            <a:off x="0" y="-1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892E96-6CF9-4BCC-9A9B-CB94EC6D1A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97B376B-D4F9-4143-A8AE-817EB0EA6B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84A53671-41EC-45C8-A0C1-D1426C22F9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0A6F6561-52B8-4C9E-81C3-A4E591B0FF4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849886" y="6082863"/>
            <a:ext cx="1006304" cy="448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888347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2C6B36-6946-2040-8EF3-62043D9CFB7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FBEFC05-76FC-5144-909B-688A4B5F3D0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B8ED46-B432-BE49-8EBF-8326BDFCFA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6FAE53-4658-0C47-A9BB-DFC9436FBE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sert &gt; Header &amp;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34DE4B-D5BB-9043-8254-E8197AD837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065852-B72C-CB4D-980E-E202D86A797A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349545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ing slide-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E9670259-4695-428B-A004-7FC80D7094B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19400" y="1"/>
            <a:ext cx="107532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342000" tIns="342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C3F7B8-0B35-40FF-8CB7-4337CBF123A9}"/>
              </a:ext>
            </a:extLst>
          </p:cNvPr>
          <p:cNvSpPr/>
          <p:nvPr userDrawn="1"/>
        </p:nvSpPr>
        <p:spPr>
          <a:xfrm>
            <a:off x="0" y="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CCB27E3-026E-4103-AE04-0346F7EF5C2F}"/>
              </a:ext>
            </a:extLst>
          </p:cNvPr>
          <p:cNvSpPr/>
          <p:nvPr userDrawn="1"/>
        </p:nvSpPr>
        <p:spPr>
          <a:xfrm>
            <a:off x="11472000" y="-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2" name="Picture 1" descr="A picture containing text&#10;&#10;Description automatically generated">
            <a:extLst>
              <a:ext uri="{FF2B5EF4-FFF2-40B4-BE49-F238E27FC236}">
                <a16:creationId xmlns:a16="http://schemas.microsoft.com/office/drawing/2014/main" id="{B9FB5A10-E3E1-D366-94FA-D002F96178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6266" y="2271713"/>
            <a:ext cx="4319467" cy="1923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706727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3979AE5-365E-4EEB-8F4C-F4E45C728AEF}"/>
              </a:ext>
            </a:extLst>
          </p:cNvPr>
          <p:cNvSpPr/>
          <p:nvPr userDrawn="1"/>
        </p:nvSpPr>
        <p:spPr>
          <a:xfrm>
            <a:off x="719400" y="-2"/>
            <a:ext cx="107532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E31FF5A-63AE-45A7-AF45-BF707B1A337A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147260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472600 w 12192000"/>
              <a:gd name="connsiteY3" fmla="*/ 6858000 h 6858000"/>
              <a:gd name="connsiteX4" fmla="*/ 0 w 12192000"/>
              <a:gd name="connsiteY4" fmla="*/ 0 h 6858000"/>
              <a:gd name="connsiteX5" fmla="*/ 719400 w 12192000"/>
              <a:gd name="connsiteY5" fmla="*/ 0 h 6858000"/>
              <a:gd name="connsiteX6" fmla="*/ 7194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147260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472600" y="6858000"/>
                </a:lnTo>
                <a:close/>
                <a:moveTo>
                  <a:pt x="0" y="0"/>
                </a:moveTo>
                <a:lnTo>
                  <a:pt x="719400" y="0"/>
                </a:lnTo>
                <a:lnTo>
                  <a:pt x="7194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08000" tIns="108000" rIns="115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113A054-12CB-4197-89CB-FBA21D5F89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5688" y="4097865"/>
            <a:ext cx="5040312" cy="14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800" b="1" cap="none">
                <a:solidFill>
                  <a:schemeClr val="bg1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6pPr>
            <a:lvl7pPr marL="0" indent="0" algn="l">
              <a:buNone/>
              <a:defRPr sz="1800" b="1">
                <a:solidFill>
                  <a:schemeClr val="bg1"/>
                </a:solidFill>
              </a:defRPr>
            </a:lvl7pPr>
            <a:lvl8pPr marL="0" indent="0" algn="l">
              <a:buNone/>
              <a:defRPr sz="1800" b="1">
                <a:solidFill>
                  <a:schemeClr val="bg1"/>
                </a:solidFill>
              </a:defRPr>
            </a:lvl8pPr>
            <a:lvl9pPr marL="0" indent="0" algn="l">
              <a:buNone/>
              <a:defRPr sz="1800" b="1">
                <a:solidFill>
                  <a:schemeClr val="bg1"/>
                </a:solidFill>
              </a:defRPr>
            </a:lvl9pPr>
          </a:lstStyle>
          <a:p>
            <a:r>
              <a:rPr lang="en-AU"/>
              <a:t>Subtitle or presenters name and date</a:t>
            </a:r>
            <a:endParaRPr lang="en-GB"/>
          </a:p>
          <a:p>
            <a:pPr lvl="1"/>
            <a:r>
              <a:rPr lang="en-US"/>
              <a:t>2</a:t>
            </a:r>
          </a:p>
          <a:p>
            <a:pPr lvl="2"/>
            <a:r>
              <a:rPr lang="en-US"/>
              <a:t>3</a:t>
            </a:r>
          </a:p>
          <a:p>
            <a:pPr lvl="3"/>
            <a:r>
              <a:rPr lang="en-US"/>
              <a:t>4</a:t>
            </a:r>
          </a:p>
          <a:p>
            <a:pPr lvl="4"/>
            <a:r>
              <a:rPr lang="en-US"/>
              <a:t>5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287AC88-A942-4E4F-A359-307B996A79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1946566"/>
            <a:ext cx="10753200" cy="1620000"/>
          </a:xfrm>
          <a:noFill/>
        </p:spPr>
        <p:txBody>
          <a:bodyPr lIns="342000" tIns="342000" rIns="2160000" bIns="0" anchor="b" anchorCtr="0"/>
          <a:lstStyle>
            <a:lvl1pPr>
              <a:defRPr sz="4500" cap="all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98BCAB1-59A8-4C66-87FD-A76DA0651EF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pic>
        <p:nvPicPr>
          <p:cNvPr id="8" name="Picture 7" descr="A picture containing text&#10;&#10;Description automatically generated">
            <a:extLst>
              <a:ext uri="{FF2B5EF4-FFF2-40B4-BE49-F238E27FC236}">
                <a16:creationId xmlns:a16="http://schemas.microsoft.com/office/drawing/2014/main" id="{BD87F913-85BA-DB14-F1BE-ED71CCC523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29750" y="5742725"/>
            <a:ext cx="1824968" cy="812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51231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880315"/>
            <a:ext cx="10080000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06AFE3-EE64-4522-825B-815C6A28E9F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CCCCDE7-B8EA-4773-A164-304D34F89D0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C4FDAA8-8585-4D16-87AD-3485D164648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321945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l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E9670259-4695-428B-A004-7FC80D7094B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19400" y="1"/>
            <a:ext cx="107532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342000" tIns="342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F9144E-5217-4B9A-B2C1-83385827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1946566"/>
            <a:ext cx="10753200" cy="1620000"/>
          </a:xfrm>
          <a:noFill/>
        </p:spPr>
        <p:txBody>
          <a:bodyPr lIns="342000" tIns="342000" rIns="2160000" bIns="0" anchor="b" anchorCtr="0"/>
          <a:lstStyle>
            <a:lvl1pPr>
              <a:defRPr sz="4500" cap="all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113A054-12CB-4197-89CB-FBA21D5F89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5688" y="4097865"/>
            <a:ext cx="5040312" cy="14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800" b="1" cap="none">
                <a:solidFill>
                  <a:schemeClr val="bg2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6pPr>
            <a:lvl7pPr marL="0" indent="0" algn="l">
              <a:buNone/>
              <a:defRPr sz="1800" b="1">
                <a:solidFill>
                  <a:schemeClr val="bg2"/>
                </a:solidFill>
              </a:defRPr>
            </a:lvl7pPr>
            <a:lvl8pPr marL="0" indent="0" algn="l">
              <a:buNone/>
              <a:defRPr sz="1800" b="1">
                <a:solidFill>
                  <a:schemeClr val="bg2"/>
                </a:solidFill>
              </a:defRPr>
            </a:lvl8pPr>
            <a:lvl9pPr marL="0" indent="0" algn="l">
              <a:buNone/>
              <a:defRPr sz="1800" b="1">
                <a:solidFill>
                  <a:schemeClr val="bg2"/>
                </a:solidFill>
              </a:defRPr>
            </a:lvl9pPr>
          </a:lstStyle>
          <a:p>
            <a:r>
              <a:rPr lang="en-AU"/>
              <a:t>Subtitle or presenters name and date</a:t>
            </a:r>
            <a:endParaRPr lang="en-GB"/>
          </a:p>
          <a:p>
            <a:pPr lvl="1"/>
            <a:r>
              <a:rPr lang="en-US"/>
              <a:t>2</a:t>
            </a:r>
          </a:p>
          <a:p>
            <a:pPr lvl="2"/>
            <a:r>
              <a:rPr lang="en-US"/>
              <a:t>3</a:t>
            </a:r>
          </a:p>
          <a:p>
            <a:pPr lvl="3"/>
            <a:r>
              <a:rPr lang="en-US"/>
              <a:t>4</a:t>
            </a:r>
          </a:p>
          <a:p>
            <a:pPr lvl="4"/>
            <a:r>
              <a:rPr lang="en-US"/>
              <a:t>5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C3F7B8-0B35-40FF-8CB7-4337CBF123A9}"/>
              </a:ext>
            </a:extLst>
          </p:cNvPr>
          <p:cNvSpPr/>
          <p:nvPr userDrawn="1"/>
        </p:nvSpPr>
        <p:spPr>
          <a:xfrm>
            <a:off x="0" y="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CCB27E3-026E-4103-AE04-0346F7EF5C2F}"/>
              </a:ext>
            </a:extLst>
          </p:cNvPr>
          <p:cNvSpPr/>
          <p:nvPr userDrawn="1"/>
        </p:nvSpPr>
        <p:spPr>
          <a:xfrm>
            <a:off x="11472000" y="-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C4A1CEB9-11E9-4D44-B10D-C1106153B09E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6096000" y="3940935"/>
            <a:ext cx="5376000" cy="2917066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40000"/>
                </a:schemeClr>
              </a:gs>
            </a:gsLst>
            <a:lin ang="372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6F98E5-C772-4C1B-AEA2-5FA88430480D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F9F84E86-7BB5-462E-B8A8-80738E4A3D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69628" y="5537865"/>
            <a:ext cx="2285090" cy="1017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399982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dark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E9670259-4695-428B-A004-7FC80D7094B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19400" y="1"/>
            <a:ext cx="107532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342000" tIns="342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FC044026-2D0A-4F4C-B231-B0EF94B3258C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6096000" y="3940935"/>
            <a:ext cx="5376000" cy="2917066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40000"/>
                </a:schemeClr>
              </a:gs>
            </a:gsLst>
            <a:lin ang="372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F9144E-5217-4B9A-B2C1-83385827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1946566"/>
            <a:ext cx="10753200" cy="1620000"/>
          </a:xfrm>
          <a:noFill/>
        </p:spPr>
        <p:txBody>
          <a:bodyPr lIns="342000" tIns="342000" rIns="2160000" bIns="0" anchor="b" anchorCtr="0"/>
          <a:lstStyle>
            <a:lvl1pPr>
              <a:defRPr sz="4500" cap="all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B113A054-12CB-4197-89CB-FBA21D5F89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5688" y="4097865"/>
            <a:ext cx="5040312" cy="1440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800" b="1" cap="none">
                <a:solidFill>
                  <a:schemeClr val="bg2"/>
                </a:solidFill>
              </a:defRPr>
            </a:lvl1pPr>
            <a:lvl2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5pPr>
            <a:lvl6pPr marL="0" indent="0" algn="l">
              <a:spcAft>
                <a:spcPts val="0"/>
              </a:spcAft>
              <a:buNone/>
              <a:defRPr sz="1800" b="1">
                <a:solidFill>
                  <a:schemeClr val="bg2"/>
                </a:solidFill>
              </a:defRPr>
            </a:lvl6pPr>
            <a:lvl7pPr marL="0" indent="0" algn="l">
              <a:buNone/>
              <a:defRPr sz="1800" b="1">
                <a:solidFill>
                  <a:schemeClr val="bg2"/>
                </a:solidFill>
              </a:defRPr>
            </a:lvl7pPr>
            <a:lvl8pPr marL="0" indent="0" algn="l">
              <a:buNone/>
              <a:defRPr sz="1800" b="1">
                <a:solidFill>
                  <a:schemeClr val="bg2"/>
                </a:solidFill>
              </a:defRPr>
            </a:lvl8pPr>
            <a:lvl9pPr marL="0" indent="0" algn="l">
              <a:buNone/>
              <a:defRPr sz="1800" b="1">
                <a:solidFill>
                  <a:schemeClr val="bg2"/>
                </a:solidFill>
              </a:defRPr>
            </a:lvl9pPr>
          </a:lstStyle>
          <a:p>
            <a:r>
              <a:rPr lang="en-AU"/>
              <a:t>Subtitle or presenters name and date</a:t>
            </a:r>
            <a:endParaRPr lang="en-GB"/>
          </a:p>
          <a:p>
            <a:pPr lvl="1"/>
            <a:r>
              <a:rPr lang="en-US"/>
              <a:t>2</a:t>
            </a:r>
          </a:p>
          <a:p>
            <a:pPr lvl="2"/>
            <a:r>
              <a:rPr lang="en-US"/>
              <a:t>3</a:t>
            </a:r>
          </a:p>
          <a:p>
            <a:pPr lvl="3"/>
            <a:r>
              <a:rPr lang="en-US"/>
              <a:t>4</a:t>
            </a:r>
          </a:p>
          <a:p>
            <a:pPr lvl="4"/>
            <a:r>
              <a:rPr lang="en-US"/>
              <a:t>5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DC3F7B8-0B35-40FF-8CB7-4337CBF123A9}"/>
              </a:ext>
            </a:extLst>
          </p:cNvPr>
          <p:cNvSpPr/>
          <p:nvPr userDrawn="1"/>
        </p:nvSpPr>
        <p:spPr>
          <a:xfrm>
            <a:off x="0" y="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CCB27E3-026E-4103-AE04-0346F7EF5C2F}"/>
              </a:ext>
            </a:extLst>
          </p:cNvPr>
          <p:cNvSpPr/>
          <p:nvPr userDrawn="1"/>
        </p:nvSpPr>
        <p:spPr>
          <a:xfrm>
            <a:off x="11472000" y="-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1C0FFFF4-D9E3-4A0E-BB93-6DCF367821CD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1055688" y="6288257"/>
            <a:ext cx="7913940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A1A03FF4-5A69-0640-DEAB-AAF9CEF38D5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69628" y="5537865"/>
            <a:ext cx="2285090" cy="1017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30503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0">
            <a:extLst>
              <a:ext uri="{FF2B5EF4-FFF2-40B4-BE49-F238E27FC236}">
                <a16:creationId xmlns:a16="http://schemas.microsoft.com/office/drawing/2014/main" id="{E9670259-4695-428B-A004-7FC80D7094B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1062000" tIns="342000" rIns="4320000" bIns="180000" anchor="t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A57D46A-D8D7-49BF-9479-240175CDBE8A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7540580" y="1"/>
            <a:ext cx="4651420" cy="1673605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1740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F9144E-5217-4B9A-B2C1-83385827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2619000"/>
            <a:ext cx="9000000" cy="1620000"/>
          </a:xfrm>
          <a:noFill/>
        </p:spPr>
        <p:txBody>
          <a:bodyPr lIns="342000" tIns="0" rIns="2160000" bIns="0" anchor="ctr" anchorCtr="0"/>
          <a:lstStyle>
            <a:lvl1pPr>
              <a:defRPr sz="4500" cap="all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DC10E613-8E2B-4D31-ABB0-5128576B7EE8}"/>
              </a:ext>
            </a:extLst>
          </p:cNvPr>
          <p:cNvSpPr>
            <a:spLocks noGrp="1" noChangeAspect="1"/>
          </p:cNvSpPr>
          <p:nvPr>
            <p:ph type="body" sz="quarter" idx="16"/>
          </p:nvPr>
        </p:nvSpPr>
        <p:spPr>
          <a:xfrm>
            <a:off x="10849038" y="333375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89177244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2DC463D-2F1B-4364-A3E4-F6CD28DDD6E5}"/>
              </a:ext>
            </a:extLst>
          </p:cNvPr>
          <p:cNvSpPr/>
          <p:nvPr userDrawn="1"/>
        </p:nvSpPr>
        <p:spPr>
          <a:xfrm>
            <a:off x="0" y="-1"/>
            <a:ext cx="12192000" cy="687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F9144E-5217-4B9A-B2C1-83385827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2619000"/>
            <a:ext cx="9000000" cy="1620000"/>
          </a:xfrm>
          <a:noFill/>
        </p:spPr>
        <p:txBody>
          <a:bodyPr lIns="342000" tIns="0" rIns="2160000" bIns="0" anchor="ctr" anchorCtr="0"/>
          <a:lstStyle>
            <a:lvl1pPr>
              <a:defRPr sz="4500" cap="all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96BA4CA7-17D6-4B5A-98C4-C007D1F5EC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849886" y="333375"/>
            <a:ext cx="1006304" cy="448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229410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61B3790-BDEB-43E5-BF9C-3E8D289EECE8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9628" y="333375"/>
            <a:ext cx="10080000" cy="1080000"/>
          </a:xfrm>
        </p:spPr>
        <p:txBody>
          <a:bodyPr/>
          <a:lstStyle>
            <a:lvl1pPr>
              <a:defRPr cap="all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FEB565-49CC-408C-BDD2-C2590A4A642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49629" y="1880314"/>
            <a:ext cx="4320000" cy="3960000"/>
          </a:xfrm>
        </p:spPr>
        <p:txBody>
          <a:bodyPr/>
          <a:lstStyle>
            <a:lvl1pPr marL="288000" indent="-288000">
              <a:spcBef>
                <a:spcPts val="1200"/>
              </a:spcBef>
              <a:buFont typeface="+mj-lt"/>
              <a:buAutoNum type="arabicPeriod"/>
              <a:defRPr sz="2200"/>
            </a:lvl1pPr>
            <a:lvl2pPr marL="288000">
              <a:spcBef>
                <a:spcPts val="600"/>
              </a:spcBef>
              <a:spcAft>
                <a:spcPts val="600"/>
              </a:spcAft>
              <a:defRPr b="0" cap="none" baseline="0">
                <a:solidFill>
                  <a:schemeClr val="tx2"/>
                </a:solidFill>
              </a:defRPr>
            </a:lvl2pPr>
            <a:lvl3pPr marL="468000">
              <a:defRPr/>
            </a:lvl3pPr>
            <a:lvl4pPr marL="0" indent="0">
              <a:buNone/>
              <a:defRPr cap="all" baseline="0">
                <a:solidFill>
                  <a:schemeClr val="accent1"/>
                </a:solidFill>
                <a:latin typeface="+mj-lt"/>
              </a:defRPr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add Agenda item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5E5FA15F-A1ED-4F06-8C67-E1D73CF85C8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0" y="1880314"/>
            <a:ext cx="4320000" cy="3960000"/>
          </a:xfrm>
        </p:spPr>
        <p:txBody>
          <a:bodyPr/>
          <a:lstStyle>
            <a:lvl1pPr marL="288000" indent="-288000">
              <a:spcBef>
                <a:spcPts val="1200"/>
              </a:spcBef>
              <a:buFont typeface="+mj-lt"/>
              <a:buAutoNum type="arabicPeriod"/>
              <a:defRPr sz="2200"/>
            </a:lvl1pPr>
            <a:lvl2pPr marL="288000">
              <a:spcBef>
                <a:spcPts val="600"/>
              </a:spcBef>
              <a:spcAft>
                <a:spcPts val="600"/>
              </a:spcAft>
              <a:defRPr b="0" cap="none" baseline="0">
                <a:solidFill>
                  <a:schemeClr val="tx2"/>
                </a:solidFill>
              </a:defRPr>
            </a:lvl2pPr>
            <a:lvl3pPr marL="468000">
              <a:defRPr/>
            </a:lvl3pPr>
            <a:lvl4pPr marL="0" indent="0">
              <a:buNone/>
              <a:defRPr cap="all" baseline="0">
                <a:solidFill>
                  <a:schemeClr val="accent1"/>
                </a:solidFill>
                <a:latin typeface="+mj-lt"/>
              </a:defRPr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add Agenda item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98866983-58A4-4EC2-ADBC-AEEA6B9D69AB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8248903" y="6288257"/>
            <a:ext cx="1183557" cy="365125"/>
          </a:xfrm>
        </p:spPr>
        <p:txBody>
          <a:bodyPr/>
          <a:lstStyle/>
          <a:p>
            <a:endParaRPr lang="en-GB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F6B299B-0652-4E6B-BB65-0DE715526B4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1055688" y="6288257"/>
            <a:ext cx="7193215" cy="365125"/>
          </a:xfrm>
        </p:spPr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42DCA20-AF8B-4853-AA2C-E5E7CD8D26F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8B1AC7E-46EA-441D-9455-6E65525B6A5A}"/>
              </a:ext>
            </a:extLst>
          </p:cNvPr>
          <p:cNvSpPr/>
          <p:nvPr userDrawn="1"/>
        </p:nvSpPr>
        <p:spPr>
          <a:xfrm>
            <a:off x="0" y="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C9469F0-045F-4A85-8721-359D41A43D06}"/>
              </a:ext>
            </a:extLst>
          </p:cNvPr>
          <p:cNvSpPr/>
          <p:nvPr userDrawn="1"/>
        </p:nvSpPr>
        <p:spPr>
          <a:xfrm>
            <a:off x="11472000" y="-1"/>
            <a:ext cx="720000" cy="685799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2179EAA8-E18E-42F9-924F-98FF7A3E70C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128313" y="333375"/>
            <a:ext cx="1008000" cy="448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41287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880315"/>
            <a:ext cx="10080000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06AFE3-EE64-4522-825B-815C6A28E9F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CCCCDE7-B8EA-4773-A164-304D34F89D0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C4FDAA8-8585-4D16-87AD-3485D164648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321945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1312C68-9CDC-4DDF-AFFD-F813984EE08A}"/>
              </a:ext>
            </a:extLst>
          </p:cNvPr>
          <p:cNvSpPr/>
          <p:nvPr userDrawn="1"/>
        </p:nvSpPr>
        <p:spPr>
          <a:xfrm>
            <a:off x="0" y="-11798"/>
            <a:ext cx="12192000" cy="690814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880315"/>
            <a:ext cx="10080000" cy="396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  <a:lvl6pPr>
              <a:defRPr>
                <a:solidFill>
                  <a:schemeClr val="bg2"/>
                </a:solidFill>
              </a:defRPr>
            </a:lvl6pPr>
            <a:lvl7pPr>
              <a:defRPr>
                <a:solidFill>
                  <a:schemeClr val="bg2"/>
                </a:solidFill>
              </a:defRPr>
            </a:lvl7pPr>
            <a:lvl8pPr>
              <a:defRPr>
                <a:solidFill>
                  <a:schemeClr val="bg2"/>
                </a:solidFill>
              </a:defRPr>
            </a:lvl8pPr>
            <a:lvl9pPr>
              <a:defRPr>
                <a:solidFill>
                  <a:schemeClr val="bg2"/>
                </a:solidFill>
              </a:defRPr>
            </a:lvl9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06AFE3-EE64-4522-825B-815C6A28E9F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CCCCDE7-B8EA-4773-A164-304D34F89D0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C4FDAA8-8585-4D16-87AD-3485D164648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EBAD129F-61B9-40EF-BB30-907F1E5EEA7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849886" y="333375"/>
            <a:ext cx="1006304" cy="448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609593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880315"/>
            <a:ext cx="4680000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06AFE3-EE64-4522-825B-815C6A28E9F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CCCCDE7-B8EA-4773-A164-304D34F89D0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C4FDAA8-8585-4D16-87AD-3485D164648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9FAA2598-9FF1-4FD4-A0B9-1D5412ADF05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734962" y="1880315"/>
            <a:ext cx="4680000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4639406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F17809F-093D-4878-B686-CA14CFB80D98}"/>
              </a:ext>
            </a:extLst>
          </p:cNvPr>
          <p:cNvSpPr/>
          <p:nvPr userDrawn="1"/>
        </p:nvSpPr>
        <p:spPr>
          <a:xfrm>
            <a:off x="0" y="-1"/>
            <a:ext cx="12192000" cy="687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880315"/>
            <a:ext cx="4680000" cy="396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06AFE3-EE64-4522-825B-815C6A28E9F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CCCCDE7-B8EA-4773-A164-304D34F89D0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C4FDAA8-8585-4D16-87AD-3485D164648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9FAA2598-9FF1-4FD4-A0B9-1D5412ADF05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734962" y="1880315"/>
            <a:ext cx="4680000" cy="396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830BFAC9-644C-4755-A124-467BB420BB4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849886" y="333375"/>
            <a:ext cx="1006304" cy="448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588341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lef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450744" y="1880315"/>
            <a:ext cx="4691628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23DD628-AE63-4907-AF4B-6B53C077707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4963" y="1880314"/>
            <a:ext cx="5761037" cy="4644311"/>
          </a:xfrm>
          <a:prstGeom prst="roundRect">
            <a:avLst>
              <a:gd name="adj" fmla="val 1982"/>
            </a:avLst>
          </a:prstGeom>
          <a:solidFill>
            <a:schemeClr val="bg1">
              <a:lumMod val="85000"/>
            </a:schemeClr>
          </a:solidFill>
        </p:spPr>
        <p:txBody>
          <a:bodyPr lIns="342000" tIns="342000" rIns="342000" bIns="342000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AU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6453E03-EC16-4564-B43B-27855EB9BD2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450744" y="6288257"/>
            <a:ext cx="4320000" cy="365125"/>
          </a:xfrm>
        </p:spPr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A913BC-780A-4949-92A0-B5967D36080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459140" y="6159500"/>
            <a:ext cx="727410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156479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1312C68-9CDC-4DDF-AFFD-F813984EE08A}"/>
              </a:ext>
            </a:extLst>
          </p:cNvPr>
          <p:cNvSpPr/>
          <p:nvPr userDrawn="1"/>
        </p:nvSpPr>
        <p:spPr>
          <a:xfrm>
            <a:off x="0" y="-11798"/>
            <a:ext cx="12192000" cy="690814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880315"/>
            <a:ext cx="10080000" cy="396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  <a:lvl6pPr>
              <a:defRPr>
                <a:solidFill>
                  <a:schemeClr val="bg2"/>
                </a:solidFill>
              </a:defRPr>
            </a:lvl6pPr>
            <a:lvl7pPr>
              <a:defRPr>
                <a:solidFill>
                  <a:schemeClr val="bg2"/>
                </a:solidFill>
              </a:defRPr>
            </a:lvl7pPr>
            <a:lvl8pPr>
              <a:defRPr>
                <a:solidFill>
                  <a:schemeClr val="bg2"/>
                </a:solidFill>
              </a:defRPr>
            </a:lvl8pPr>
            <a:lvl9pPr>
              <a:defRPr>
                <a:solidFill>
                  <a:schemeClr val="bg2"/>
                </a:solidFill>
              </a:defRPr>
            </a:lvl9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06AFE3-EE64-4522-825B-815C6A28E9F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CCCCDE7-B8EA-4773-A164-304D34F89D0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C4FDAA8-8585-4D16-87AD-3485D164648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EBAD129F-61B9-40EF-BB30-907F1E5EEA7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849886" y="333375"/>
            <a:ext cx="1006304" cy="448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609593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16EF975B-AD72-4CB0-A546-757A6175A51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83255" y="1880314"/>
            <a:ext cx="5761038" cy="4644311"/>
          </a:xfrm>
          <a:prstGeom prst="roundRect">
            <a:avLst>
              <a:gd name="adj" fmla="val 1982"/>
            </a:avLst>
          </a:prstGeom>
          <a:solidFill>
            <a:schemeClr val="bg1">
              <a:lumMod val="85000"/>
            </a:schemeClr>
          </a:solidFill>
        </p:spPr>
        <p:txBody>
          <a:bodyPr lIns="342000" tIns="342000" rIns="342000" bIns="342000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AU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F852B564-FAA4-4CAD-99F8-EF4333D83E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4962" y="1880315"/>
            <a:ext cx="4691628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Click to add text, or click on one of the central icons to add a table, chart, SmartArt, image or media. Press the ‘Increase/Decrease’ button under the Home tab to move though the text styles.</a:t>
            </a:r>
            <a:endParaRPr lang="en-US"/>
          </a:p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C94176C4-3B30-43F2-91DE-33D09AEA7B5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A95B7BCF-DC6C-46BC-B3D2-2F18F9BC75D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1049522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-full wid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23DD628-AE63-4907-AF4B-6B53C077707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4963" y="1880314"/>
            <a:ext cx="11509330" cy="4644311"/>
          </a:xfrm>
          <a:prstGeom prst="roundRect">
            <a:avLst>
              <a:gd name="adj" fmla="val 1982"/>
            </a:avLst>
          </a:prstGeom>
          <a:solidFill>
            <a:schemeClr val="bg1">
              <a:lumMod val="85000"/>
            </a:schemeClr>
          </a:solidFill>
        </p:spPr>
        <p:txBody>
          <a:bodyPr lIns="342000" tIns="342000" rIns="342000" bIns="342000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AU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6E7A7DD-8C14-4B85-B39F-1E990E1FFE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333375"/>
            <a:ext cx="5761038" cy="108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7D8FAF2-858C-419E-A577-F0425218264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15444" y="333375"/>
            <a:ext cx="3600000" cy="126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D048DB48-6039-4A0D-ACBF-D5EB8DD358F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459140" y="6159500"/>
            <a:ext cx="727410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715768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-full ble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0">
            <a:extLst>
              <a:ext uri="{FF2B5EF4-FFF2-40B4-BE49-F238E27FC236}">
                <a16:creationId xmlns:a16="http://schemas.microsoft.com/office/drawing/2014/main" id="{5AF6F1E8-5ECE-4267-92B5-43C3523BCBE3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1062000" tIns="360000" rIns="4320000" bIns="360000" anchor="ctr" anchorCtr="0">
            <a:noAutofit/>
          </a:bodyPr>
          <a:lstStyle>
            <a:lvl1pPr algn="l">
              <a:defRPr sz="1000" b="0" cap="none">
                <a:solidFill>
                  <a:schemeClr val="tx2"/>
                </a:solidFill>
                <a:latin typeface="+mn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/>
              <a:t>To insert a back-ground image, select Insert picture and follow the prompts.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8390923A-6BDB-44C8-9456-CEB6E0A0A293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7540580" y="1"/>
            <a:ext cx="4651420" cy="1673605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1740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36FF9FCE-BF48-40F0-8FF3-3252AB1CF679}"/>
              </a:ext>
            </a:extLst>
          </p:cNvPr>
          <p:cNvSpPr>
            <a:spLocks noGrp="1" noChangeAspect="1"/>
          </p:cNvSpPr>
          <p:nvPr>
            <p:ph type="body" sz="quarter" idx="16"/>
          </p:nvPr>
        </p:nvSpPr>
        <p:spPr>
          <a:xfrm>
            <a:off x="10849038" y="333375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6E7A7DD-8C14-4B85-B39F-1E990E1FFE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333375"/>
            <a:ext cx="5761038" cy="108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7D8FAF2-858C-419E-A577-F0425218264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015444" y="333375"/>
            <a:ext cx="3600000" cy="126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  <a:lvl6pPr>
              <a:defRPr>
                <a:solidFill>
                  <a:schemeClr val="bg2"/>
                </a:solidFill>
              </a:defRPr>
            </a:lvl6pPr>
            <a:lvl7pPr>
              <a:defRPr>
                <a:solidFill>
                  <a:schemeClr val="bg2"/>
                </a:solidFill>
              </a:defRPr>
            </a:lvl7pPr>
            <a:lvl8pPr>
              <a:defRPr>
                <a:solidFill>
                  <a:schemeClr val="bg2"/>
                </a:solidFill>
              </a:defRPr>
            </a:lvl8pPr>
            <a:lvl9pPr>
              <a:defRPr>
                <a:solidFill>
                  <a:schemeClr val="bg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E0AD6A4-0D42-4CCD-B0CB-498EE201FE4E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21E9B0E-B319-4C6F-97AF-0F8D83942F0C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65D74DCF-D99B-4098-B297-0BD016160D35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471358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right 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23DD628-AE63-4907-AF4B-6B53C077707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0"/>
            <a:ext cx="6096000" cy="6858000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</p:spPr>
        <p:txBody>
          <a:bodyPr lIns="342000" tIns="342000" rIns="1440000" bIns="342000"/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AU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EB2F477-266C-4C9D-A64F-287BA3F4CF3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4962" y="1880314"/>
            <a:ext cx="5220000" cy="396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771A36E-45E1-4553-9842-66EF392719C7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844884" y="1880314"/>
            <a:ext cx="2160000" cy="396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7D669EEE-6563-477F-A4CD-D425F6140F00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347256" y="1880314"/>
            <a:ext cx="2160000" cy="396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A5DE353-D720-4A1F-9ECC-89FB139059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2218" y="333375"/>
            <a:ext cx="5220000" cy="108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8913AB32-E310-49A2-9A47-2348F6B61E52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6266A723-640D-4EFF-93D1-1E964694156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C4DEE883-581D-4AC9-9251-8929D0C8E380}"/>
              </a:ext>
            </a:extLst>
          </p:cNvPr>
          <p:cNvSpPr>
            <a:spLocks noGrp="1" noChangeAspect="1"/>
          </p:cNvSpPr>
          <p:nvPr>
            <p:ph type="body" sz="quarter" idx="25"/>
          </p:nvPr>
        </p:nvSpPr>
        <p:spPr>
          <a:xfrm>
            <a:off x="7540580" y="1"/>
            <a:ext cx="4651420" cy="1673605"/>
          </a:xfrm>
          <a:prstGeom prst="roundRect">
            <a:avLst>
              <a:gd name="adj" fmla="val 0"/>
            </a:avLst>
          </a:prstGeom>
          <a:gradFill>
            <a:gsLst>
              <a:gs pos="70048">
                <a:srgbClr val="000000">
                  <a:alpha val="16000"/>
                </a:srgbClr>
              </a:gs>
              <a:gs pos="52000">
                <a:schemeClr val="tx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17400000" scaled="0"/>
          </a:gradFill>
          <a:effectLst/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44C9A43E-093B-42AD-B427-BA16E45D56B6}"/>
              </a:ext>
            </a:extLst>
          </p:cNvPr>
          <p:cNvSpPr>
            <a:spLocks noGrp="1" noChangeAspect="1"/>
          </p:cNvSpPr>
          <p:nvPr>
            <p:ph type="body" sz="quarter" idx="26"/>
          </p:nvPr>
        </p:nvSpPr>
        <p:spPr>
          <a:xfrm>
            <a:off x="10849038" y="333375"/>
            <a:ext cx="1008000" cy="44919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  <a:effectLst/>
        </p:spPr>
        <p:txBody>
          <a:bodyPr/>
          <a:lstStyle>
            <a:lvl1pPr>
              <a:spcBef>
                <a:spcPts val="0"/>
              </a:spcBef>
              <a:defRPr sz="400">
                <a:noFill/>
              </a:defRPr>
            </a:lvl1pPr>
            <a:lvl2pPr marL="0" indent="0">
              <a:spcBef>
                <a:spcPts val="0"/>
              </a:spcBef>
              <a:buNone/>
              <a:defRPr sz="400">
                <a:noFill/>
              </a:defRPr>
            </a:lvl2pPr>
            <a:lvl3pPr marL="0" indent="0">
              <a:spcBef>
                <a:spcPts val="0"/>
              </a:spcBef>
              <a:buNone/>
              <a:defRPr sz="400">
                <a:noFill/>
              </a:defRPr>
            </a:lvl3pPr>
            <a:lvl4pPr>
              <a:spcBef>
                <a:spcPts val="0"/>
              </a:spcBef>
              <a:defRPr sz="400" b="0">
                <a:noFill/>
              </a:defRPr>
            </a:lvl4pPr>
            <a:lvl5pPr>
              <a:spcBef>
                <a:spcPts val="0"/>
              </a:spcBef>
              <a:defRPr sz="400">
                <a:noFill/>
              </a:defRPr>
            </a:lvl5pPr>
            <a:lvl6pPr>
              <a:spcBef>
                <a:spcPts val="0"/>
              </a:spcBef>
              <a:defRPr sz="400">
                <a:noFill/>
              </a:defRPr>
            </a:lvl6pPr>
            <a:lvl7pPr>
              <a:spcBef>
                <a:spcPts val="0"/>
              </a:spcBef>
              <a:defRPr sz="400">
                <a:noFill/>
              </a:defRPr>
            </a:lvl7pPr>
            <a:lvl8pPr>
              <a:spcBef>
                <a:spcPts val="0"/>
              </a:spcBef>
              <a:defRPr sz="400">
                <a:noFill/>
              </a:defRPr>
            </a:lvl8pPr>
            <a:lvl9pPr>
              <a:spcBef>
                <a:spcPts val="0"/>
              </a:spcBef>
              <a:defRPr sz="400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19149427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7F07ECCF-5EE7-4BA4-BD7C-50DF82C3F5BF}"/>
              </a:ext>
            </a:extLst>
          </p:cNvPr>
          <p:cNvSpPr/>
          <p:nvPr userDrawn="1"/>
        </p:nvSpPr>
        <p:spPr>
          <a:xfrm>
            <a:off x="0" y="0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10080000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08DD2E7-C8BF-4E45-AE9F-C1389B7B38D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963" y="2600315"/>
            <a:ext cx="2160000" cy="3240000"/>
          </a:xfrm>
        </p:spPr>
        <p:txBody>
          <a:bodyPr/>
          <a:lstStyle>
            <a:lvl1pPr>
              <a:defRPr sz="1600" cap="all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 b="0" cap="none" baseline="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D7BC8491-CCAE-458C-BD6D-862F904604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979212" y="2600315"/>
            <a:ext cx="2160000" cy="3240000"/>
          </a:xfrm>
        </p:spPr>
        <p:txBody>
          <a:bodyPr/>
          <a:lstStyle>
            <a:lvl1pPr>
              <a:defRPr sz="1600" cap="all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 b="0" cap="none" baseline="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B036190F-67DD-4555-BB1F-179E8E9C46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23461" y="2600315"/>
            <a:ext cx="2160000" cy="3240000"/>
          </a:xfrm>
        </p:spPr>
        <p:txBody>
          <a:bodyPr/>
          <a:lstStyle>
            <a:lvl1pPr>
              <a:defRPr sz="1600" cap="all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 b="0" cap="none" baseline="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F1044E10-4BD7-47DE-8A5A-57C9557A0B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67709" y="2600315"/>
            <a:ext cx="2160000" cy="3240000"/>
          </a:xfrm>
        </p:spPr>
        <p:txBody>
          <a:bodyPr/>
          <a:lstStyle>
            <a:lvl1pPr>
              <a:defRPr sz="1600" cap="all" baseline="0">
                <a:solidFill>
                  <a:schemeClr val="accent1"/>
                </a:solidFill>
                <a:latin typeface="+mj-lt"/>
              </a:defRPr>
            </a:lvl1pPr>
            <a:lvl2pPr>
              <a:spcBef>
                <a:spcPts val="600"/>
              </a:spcBef>
              <a:defRPr sz="1600" b="0" cap="none" baseline="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B900929-35E2-4B6A-A4BF-9E02733E3AB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6B47C34-75D5-42A4-8A99-FADDAF9BBA6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67B0344-E805-4D5F-B3FB-AF95BC74870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577401C0-8DFD-414D-AF9E-CD906141229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849886" y="333375"/>
            <a:ext cx="1006304" cy="448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53607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tr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E396722-86FB-4B61-980E-29BB1A84BF5F}"/>
              </a:ext>
            </a:extLst>
          </p:cNvPr>
          <p:cNvSpPr/>
          <p:nvPr userDrawn="1"/>
        </p:nvSpPr>
        <p:spPr>
          <a:xfrm>
            <a:off x="0" y="-1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D50AE23D-06D1-4F9E-B490-E50D424CE9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892E96-6CF9-4BCC-9A9B-CB94EC6D1A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97B376B-D4F9-4143-A8AE-817EB0EA6B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84A53671-41EC-45C8-A0C1-D1426C22F9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2465D6CB-4864-45A8-BBF3-437CF55EAC16}"/>
              </a:ext>
            </a:extLst>
          </p:cNvPr>
          <p:cNvSpPr/>
          <p:nvPr userDrawn="1"/>
        </p:nvSpPr>
        <p:spPr>
          <a:xfrm>
            <a:off x="334964" y="1301332"/>
            <a:ext cx="7985636" cy="4841479"/>
          </a:xfrm>
          <a:prstGeom prst="roundRect">
            <a:avLst>
              <a:gd name="adj" fmla="val 1167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F8F1858-32FB-4251-8265-5AC98524EA8A}"/>
              </a:ext>
            </a:extLst>
          </p:cNvPr>
          <p:cNvCxnSpPr>
            <a:cxnSpLocks/>
          </p:cNvCxnSpPr>
          <p:nvPr userDrawn="1"/>
        </p:nvCxnSpPr>
        <p:spPr>
          <a:xfrm flipV="1">
            <a:off x="820851" y="1652866"/>
            <a:ext cx="0" cy="4004734"/>
          </a:xfrm>
          <a:prstGeom prst="line">
            <a:avLst/>
          </a:prstGeom>
          <a:ln w="12700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BA70369-660D-4DCA-B0FC-2749C2E58A40}"/>
              </a:ext>
            </a:extLst>
          </p:cNvPr>
          <p:cNvCxnSpPr>
            <a:cxnSpLocks/>
          </p:cNvCxnSpPr>
          <p:nvPr userDrawn="1"/>
        </p:nvCxnSpPr>
        <p:spPr>
          <a:xfrm>
            <a:off x="820851" y="5657600"/>
            <a:ext cx="7161084" cy="0"/>
          </a:xfrm>
          <a:prstGeom prst="line">
            <a:avLst/>
          </a:prstGeom>
          <a:ln w="12700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A04F3D51-FDE7-49C0-9411-1BA8018885F5}"/>
              </a:ext>
            </a:extLst>
          </p:cNvPr>
          <p:cNvSpPr txBox="1"/>
          <p:nvPr userDrawn="1"/>
        </p:nvSpPr>
        <p:spPr>
          <a:xfrm>
            <a:off x="334963" y="898522"/>
            <a:ext cx="763992" cy="338554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algn="l"/>
            <a:r>
              <a:rPr lang="en-AU" sz="1600">
                <a:solidFill>
                  <a:schemeClr val="bg2"/>
                </a:solidFill>
                <a:latin typeface="+mj-lt"/>
              </a:rPr>
              <a:t>Impac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DCAFC7F-47A8-4564-9F50-8B90053438B1}"/>
              </a:ext>
            </a:extLst>
          </p:cNvPr>
          <p:cNvSpPr txBox="1"/>
          <p:nvPr userDrawn="1"/>
        </p:nvSpPr>
        <p:spPr>
          <a:xfrm rot="16200000">
            <a:off x="371856" y="2087718"/>
            <a:ext cx="4988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200" b="1">
                <a:solidFill>
                  <a:schemeClr val="tx2"/>
                </a:solidFill>
              </a:rPr>
              <a:t>high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E5C50DC-C632-47B2-ADFB-BBCD52D2C82D}"/>
              </a:ext>
            </a:extLst>
          </p:cNvPr>
          <p:cNvSpPr txBox="1"/>
          <p:nvPr userDrawn="1"/>
        </p:nvSpPr>
        <p:spPr>
          <a:xfrm rot="16200000">
            <a:off x="395902" y="4817077"/>
            <a:ext cx="45076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200" b="1">
                <a:solidFill>
                  <a:schemeClr val="tx2"/>
                </a:solidFill>
              </a:rPr>
              <a:t>low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62AB432-5B81-4183-BD69-521F287E2369}"/>
              </a:ext>
            </a:extLst>
          </p:cNvPr>
          <p:cNvSpPr txBox="1"/>
          <p:nvPr userDrawn="1"/>
        </p:nvSpPr>
        <p:spPr>
          <a:xfrm>
            <a:off x="1469070" y="5721149"/>
            <a:ext cx="80983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AU" sz="1200" b="1">
                <a:solidFill>
                  <a:schemeClr val="tx2"/>
                </a:solidFill>
              </a:rPr>
              <a:t>Complex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527307B-0156-429B-9C00-0C8B21BD14C9}"/>
              </a:ext>
            </a:extLst>
          </p:cNvPr>
          <p:cNvSpPr txBox="1"/>
          <p:nvPr userDrawn="1"/>
        </p:nvSpPr>
        <p:spPr>
          <a:xfrm>
            <a:off x="6744728" y="5721149"/>
            <a:ext cx="51328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AU" sz="1200" b="1">
                <a:solidFill>
                  <a:schemeClr val="tx2"/>
                </a:solidFill>
              </a:rPr>
              <a:t>Easy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FC98F08-3647-430E-A964-E9B3F1B05B54}"/>
              </a:ext>
            </a:extLst>
          </p:cNvPr>
          <p:cNvSpPr txBox="1"/>
          <p:nvPr userDrawn="1"/>
        </p:nvSpPr>
        <p:spPr>
          <a:xfrm>
            <a:off x="8502936" y="5596891"/>
            <a:ext cx="1858411" cy="584775"/>
          </a:xfrm>
          <a:prstGeom prst="rect">
            <a:avLst/>
          </a:prstGeom>
          <a:noFill/>
        </p:spPr>
        <p:txBody>
          <a:bodyPr wrap="square" lIns="0" rtlCol="0" anchor="b" anchorCtr="0">
            <a:spAutoFit/>
          </a:bodyPr>
          <a:lstStyle/>
          <a:p>
            <a:pPr algn="l"/>
            <a:r>
              <a:rPr lang="en-AU" sz="1600">
                <a:solidFill>
                  <a:schemeClr val="bg2"/>
                </a:solidFill>
                <a:latin typeface="+mj-lt"/>
              </a:rPr>
              <a:t>Ease of implementation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FBDFBCA9-FD99-491F-89DF-4AC97AE3E116}"/>
              </a:ext>
            </a:extLst>
          </p:cNvPr>
          <p:cNvSpPr/>
          <p:nvPr userDrawn="1"/>
        </p:nvSpPr>
        <p:spPr>
          <a:xfrm>
            <a:off x="1042214" y="1675334"/>
            <a:ext cx="2231805" cy="1188000"/>
          </a:xfrm>
          <a:prstGeom prst="roundRect">
            <a:avLst>
              <a:gd name="adj" fmla="val 7472"/>
            </a:avLst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DEE76B15-E051-4997-AF08-C4F466FA8F6E}"/>
              </a:ext>
            </a:extLst>
          </p:cNvPr>
          <p:cNvSpPr/>
          <p:nvPr userDrawn="1"/>
        </p:nvSpPr>
        <p:spPr>
          <a:xfrm>
            <a:off x="3385008" y="1675334"/>
            <a:ext cx="2231805" cy="1188000"/>
          </a:xfrm>
          <a:prstGeom prst="roundRect">
            <a:avLst>
              <a:gd name="adj" fmla="val 8834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40FE7694-E738-4019-AF0B-7727B8794381}"/>
              </a:ext>
            </a:extLst>
          </p:cNvPr>
          <p:cNvSpPr/>
          <p:nvPr userDrawn="1"/>
        </p:nvSpPr>
        <p:spPr>
          <a:xfrm>
            <a:off x="5727802" y="1675333"/>
            <a:ext cx="2231805" cy="1188000"/>
          </a:xfrm>
          <a:prstGeom prst="roundRect">
            <a:avLst>
              <a:gd name="adj" fmla="val 8834"/>
            </a:avLst>
          </a:prstGeom>
          <a:solidFill>
            <a:schemeClr val="accent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EFA22970-8A68-49F2-AB88-2AEA221CE2BC}"/>
              </a:ext>
            </a:extLst>
          </p:cNvPr>
          <p:cNvSpPr/>
          <p:nvPr userDrawn="1"/>
        </p:nvSpPr>
        <p:spPr>
          <a:xfrm>
            <a:off x="1042214" y="2971443"/>
            <a:ext cx="2231805" cy="1188000"/>
          </a:xfrm>
          <a:prstGeom prst="roundRect">
            <a:avLst>
              <a:gd name="adj" fmla="val 7472"/>
            </a:avLst>
          </a:prstGeom>
          <a:solidFill>
            <a:schemeClr val="accent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C2521848-B421-4131-8617-FCCCBC93E050}"/>
              </a:ext>
            </a:extLst>
          </p:cNvPr>
          <p:cNvSpPr/>
          <p:nvPr userDrawn="1"/>
        </p:nvSpPr>
        <p:spPr>
          <a:xfrm>
            <a:off x="3385008" y="2971443"/>
            <a:ext cx="2231805" cy="1188000"/>
          </a:xfrm>
          <a:prstGeom prst="roundRect">
            <a:avLst>
              <a:gd name="adj" fmla="val 8834"/>
            </a:avLst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74EF66E-1001-471F-A4F5-1A75062904FE}"/>
              </a:ext>
            </a:extLst>
          </p:cNvPr>
          <p:cNvSpPr/>
          <p:nvPr userDrawn="1"/>
        </p:nvSpPr>
        <p:spPr>
          <a:xfrm>
            <a:off x="5727802" y="2971443"/>
            <a:ext cx="2231805" cy="1188000"/>
          </a:xfrm>
          <a:prstGeom prst="roundRect">
            <a:avLst>
              <a:gd name="adj" fmla="val 8834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594F7034-6A44-489D-8799-48EDD5EB2966}"/>
              </a:ext>
            </a:extLst>
          </p:cNvPr>
          <p:cNvSpPr/>
          <p:nvPr userDrawn="1"/>
        </p:nvSpPr>
        <p:spPr>
          <a:xfrm>
            <a:off x="1042214" y="4267552"/>
            <a:ext cx="2231805" cy="1188000"/>
          </a:xfrm>
          <a:prstGeom prst="roundRect">
            <a:avLst>
              <a:gd name="adj" fmla="val 7472"/>
            </a:avLst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CFC9D5C0-E6E3-4A0F-A579-D371C54429F9}"/>
              </a:ext>
            </a:extLst>
          </p:cNvPr>
          <p:cNvSpPr/>
          <p:nvPr userDrawn="1"/>
        </p:nvSpPr>
        <p:spPr>
          <a:xfrm>
            <a:off x="3385008" y="4267552"/>
            <a:ext cx="2231805" cy="1188000"/>
          </a:xfrm>
          <a:prstGeom prst="roundRect">
            <a:avLst>
              <a:gd name="adj" fmla="val 8834"/>
            </a:avLst>
          </a:prstGeom>
          <a:solidFill>
            <a:schemeClr val="accent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38327192-4EDE-4ECF-9B7F-79369E6FDF5A}"/>
              </a:ext>
            </a:extLst>
          </p:cNvPr>
          <p:cNvSpPr/>
          <p:nvPr userDrawn="1"/>
        </p:nvSpPr>
        <p:spPr>
          <a:xfrm>
            <a:off x="5727802" y="4267551"/>
            <a:ext cx="2231805" cy="1188000"/>
          </a:xfrm>
          <a:prstGeom prst="roundRect">
            <a:avLst>
              <a:gd name="adj" fmla="val 8834"/>
            </a:avLst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3FC76B0-FFF7-4829-BB16-AA0D48C7783F}"/>
              </a:ext>
            </a:extLst>
          </p:cNvPr>
          <p:cNvSpPr txBox="1"/>
          <p:nvPr userDrawn="1"/>
        </p:nvSpPr>
        <p:spPr>
          <a:xfrm rot="16200000">
            <a:off x="395902" y="3402433"/>
            <a:ext cx="45076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200" b="1">
                <a:solidFill>
                  <a:schemeClr val="tx2"/>
                </a:solidFill>
              </a:rPr>
              <a:t>low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F655A99-08E9-4F6D-A018-45609A43346B}"/>
              </a:ext>
            </a:extLst>
          </p:cNvPr>
          <p:cNvSpPr txBox="1"/>
          <p:nvPr userDrawn="1"/>
        </p:nvSpPr>
        <p:spPr>
          <a:xfrm>
            <a:off x="3978565" y="5721149"/>
            <a:ext cx="7633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AU" sz="1200" b="1">
                <a:solidFill>
                  <a:schemeClr val="tx2"/>
                </a:solidFill>
              </a:rPr>
              <a:t>Medium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38DEC77-BDB8-41D1-91E8-818100725A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899525" y="1317778"/>
            <a:ext cx="2957513" cy="388075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  <a:lvl6pPr>
              <a:defRPr>
                <a:solidFill>
                  <a:schemeClr val="bg2"/>
                </a:solidFill>
              </a:defRPr>
            </a:lvl6pPr>
            <a:lvl7pPr>
              <a:defRPr>
                <a:solidFill>
                  <a:schemeClr val="bg2"/>
                </a:solidFill>
              </a:defRPr>
            </a:lvl7pPr>
            <a:lvl8pPr>
              <a:defRPr>
                <a:solidFill>
                  <a:schemeClr val="bg2"/>
                </a:solidFill>
              </a:defRPr>
            </a:lvl8pPr>
            <a:lvl9pPr>
              <a:defRPr>
                <a:solidFill>
                  <a:schemeClr val="bg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5C1DC378-1F26-4641-9662-33E3EE8521A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849886" y="333375"/>
            <a:ext cx="1006304" cy="448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855050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7F07ECCF-5EE7-4BA4-BD7C-50DF82C3F5BF}"/>
              </a:ext>
            </a:extLst>
          </p:cNvPr>
          <p:cNvSpPr/>
          <p:nvPr userDrawn="1"/>
        </p:nvSpPr>
        <p:spPr>
          <a:xfrm>
            <a:off x="0" y="0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F1044E10-4BD7-47DE-8A5A-57C9557A0B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42214" y="2106271"/>
            <a:ext cx="4507572" cy="2281251"/>
          </a:xfrm>
        </p:spPr>
        <p:txBody>
          <a:bodyPr/>
          <a:lstStyle>
            <a:lvl1pPr>
              <a:defRPr sz="2800" cap="none" baseline="0">
                <a:solidFill>
                  <a:schemeClr val="accent1"/>
                </a:solidFill>
                <a:latin typeface="+mj-lt"/>
              </a:defRPr>
            </a:lvl1pPr>
            <a:lvl2pPr algn="l">
              <a:spcBef>
                <a:spcPts val="600"/>
              </a:spcBef>
              <a:defRPr sz="1600" b="0" cap="none" baseline="0">
                <a:solidFill>
                  <a:schemeClr val="accent1"/>
                </a:solidFill>
              </a:defRPr>
            </a:lvl2pPr>
            <a:lvl3pPr algn="l">
              <a:defRPr sz="1600" cap="none">
                <a:solidFill>
                  <a:schemeClr val="accent1"/>
                </a:solidFill>
              </a:defRPr>
            </a:lvl3pPr>
            <a:lvl4pPr algn="l">
              <a:defRPr sz="1600" cap="none">
                <a:solidFill>
                  <a:schemeClr val="accent1"/>
                </a:solidFill>
              </a:defRPr>
            </a:lvl4pPr>
            <a:lvl5pPr algn="l">
              <a:defRPr sz="1600" cap="none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CCFA2A9-BC18-4CF8-AD38-42B263119472}"/>
              </a:ext>
            </a:extLst>
          </p:cNvPr>
          <p:cNvSpPr txBox="1"/>
          <p:nvPr userDrawn="1"/>
        </p:nvSpPr>
        <p:spPr>
          <a:xfrm>
            <a:off x="1878852" y="782157"/>
            <a:ext cx="914033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2000">
                <a:solidFill>
                  <a:schemeClr val="accent1"/>
                </a:solidFill>
                <a:latin typeface="+mj-lt"/>
              </a:rPr>
              <a:t>“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9C98CC0-E077-4ADE-8BC2-9559518E22D8}"/>
              </a:ext>
            </a:extLst>
          </p:cNvPr>
          <p:cNvSpPr txBox="1"/>
          <p:nvPr userDrawn="1"/>
        </p:nvSpPr>
        <p:spPr>
          <a:xfrm>
            <a:off x="8577415" y="3692995"/>
            <a:ext cx="1643399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2000">
                <a:solidFill>
                  <a:schemeClr val="tx2"/>
                </a:solidFill>
                <a:latin typeface="+mj-lt"/>
              </a:rPr>
              <a:t>“</a:t>
            </a:r>
            <a:r>
              <a:rPr lang="en-AU" sz="12000">
                <a:solidFill>
                  <a:schemeClr val="accent1"/>
                </a:solidFill>
                <a:latin typeface="+mj-lt"/>
              </a:rPr>
              <a:t>”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25A78CB-C25F-477B-ACB8-7A8C3B33F7D7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0DC4922-3AFC-43D6-9996-17D5CAC06E9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54801EF-D4C3-4D21-A7DC-76D432B0F00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1D97197-E691-46BF-8B8E-EB258D24F5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849886" y="333375"/>
            <a:ext cx="1006304" cy="448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231630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10794666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5EE857-4C7E-47C5-A433-5F303A10690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963" y="1413375"/>
            <a:ext cx="10794665" cy="72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3" name="Table Placeholder 12">
            <a:extLst>
              <a:ext uri="{FF2B5EF4-FFF2-40B4-BE49-F238E27FC236}">
                <a16:creationId xmlns:a16="http://schemas.microsoft.com/office/drawing/2014/main" id="{12720170-841B-4714-B671-AE40B2FE0283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334963" y="2243443"/>
            <a:ext cx="10794665" cy="36000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table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4E7EDCB-670C-46CB-A20E-159535CC5C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D18779D-2EB2-4254-A93E-7459659F2BB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8B347AD-5E50-42AC-AFB4-7F625291AB6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30056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10801351" cy="108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5EE857-4C7E-47C5-A433-5F303A10690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964" y="1413375"/>
            <a:ext cx="10801350" cy="72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D1ECE4F1-33EB-4137-BED8-59885BB39C47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334963" y="2243442"/>
            <a:ext cx="10801350" cy="3599999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778F5DE-1344-42BD-82D0-6611DD7B1FC6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D0D518F-1062-474E-BA48-10EA56B2C55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/>
              <a:t>Insert &gt;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32C63567-251B-4660-ADF6-37AB6DCF01D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003516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D583ABC-22A1-400D-B5EB-018BF7A1B892}"/>
              </a:ext>
            </a:extLst>
          </p:cNvPr>
          <p:cNvSpPr/>
          <p:nvPr userDrawn="1"/>
        </p:nvSpPr>
        <p:spPr>
          <a:xfrm>
            <a:off x="0" y="0"/>
            <a:ext cx="12192000" cy="687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333375"/>
            <a:ext cx="10794666" cy="10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5EE857-4C7E-47C5-A433-5F303A10690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4963" y="1413375"/>
            <a:ext cx="10794665" cy="72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3" name="Table Placeholder 12">
            <a:extLst>
              <a:ext uri="{FF2B5EF4-FFF2-40B4-BE49-F238E27FC236}">
                <a16:creationId xmlns:a16="http://schemas.microsoft.com/office/drawing/2014/main" id="{12720170-841B-4714-B671-AE40B2FE0283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334963" y="2243443"/>
            <a:ext cx="10794665" cy="3600000"/>
          </a:xfrm>
        </p:spPr>
        <p:txBody>
          <a:bodyPr anchor="ctr" anchorCtr="0"/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4E7EDCB-670C-46CB-A20E-159535CC5C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D18779D-2EB2-4254-A93E-7459659F2BB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8B347AD-5E50-42AC-AFB4-7F625291AB6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405A9204-2440-41D2-ACE8-C0954FBCEA1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849886" y="333375"/>
            <a:ext cx="1006304" cy="448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38313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image" Target="../media/image3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45.xml"/><Relationship Id="rId18" Type="http://schemas.openxmlformats.org/officeDocument/2006/relationships/slideLayout" Target="../slideLayouts/slideLayout350.xml"/><Relationship Id="rId26" Type="http://schemas.openxmlformats.org/officeDocument/2006/relationships/slideLayout" Target="../slideLayouts/slideLayout358.xml"/><Relationship Id="rId39" Type="http://schemas.openxmlformats.org/officeDocument/2006/relationships/image" Target="../media/image3.svg"/><Relationship Id="rId21" Type="http://schemas.openxmlformats.org/officeDocument/2006/relationships/slideLayout" Target="../slideLayouts/slideLayout353.xml"/><Relationship Id="rId34" Type="http://schemas.openxmlformats.org/officeDocument/2006/relationships/theme" Target="../theme/theme10.xml"/><Relationship Id="rId7" Type="http://schemas.openxmlformats.org/officeDocument/2006/relationships/slideLayout" Target="../slideLayouts/slideLayout339.xml"/><Relationship Id="rId12" Type="http://schemas.openxmlformats.org/officeDocument/2006/relationships/slideLayout" Target="../slideLayouts/slideLayout344.xml"/><Relationship Id="rId17" Type="http://schemas.openxmlformats.org/officeDocument/2006/relationships/slideLayout" Target="../slideLayouts/slideLayout349.xml"/><Relationship Id="rId25" Type="http://schemas.openxmlformats.org/officeDocument/2006/relationships/slideLayout" Target="../slideLayouts/slideLayout357.xml"/><Relationship Id="rId33" Type="http://schemas.openxmlformats.org/officeDocument/2006/relationships/slideLayout" Target="../slideLayouts/slideLayout365.x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334.xml"/><Relationship Id="rId16" Type="http://schemas.openxmlformats.org/officeDocument/2006/relationships/slideLayout" Target="../slideLayouts/slideLayout348.xml"/><Relationship Id="rId20" Type="http://schemas.openxmlformats.org/officeDocument/2006/relationships/slideLayout" Target="../slideLayouts/slideLayout352.xml"/><Relationship Id="rId29" Type="http://schemas.openxmlformats.org/officeDocument/2006/relationships/slideLayout" Target="../slideLayouts/slideLayout361.xml"/><Relationship Id="rId1" Type="http://schemas.openxmlformats.org/officeDocument/2006/relationships/slideLayout" Target="../slideLayouts/slideLayout333.xml"/><Relationship Id="rId6" Type="http://schemas.openxmlformats.org/officeDocument/2006/relationships/slideLayout" Target="../slideLayouts/slideLayout338.xml"/><Relationship Id="rId11" Type="http://schemas.openxmlformats.org/officeDocument/2006/relationships/slideLayout" Target="../slideLayouts/slideLayout343.xml"/><Relationship Id="rId24" Type="http://schemas.openxmlformats.org/officeDocument/2006/relationships/slideLayout" Target="../slideLayouts/slideLayout356.xml"/><Relationship Id="rId32" Type="http://schemas.openxmlformats.org/officeDocument/2006/relationships/slideLayout" Target="../slideLayouts/slideLayout364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337.xml"/><Relationship Id="rId15" Type="http://schemas.openxmlformats.org/officeDocument/2006/relationships/slideLayout" Target="../slideLayouts/slideLayout347.xml"/><Relationship Id="rId23" Type="http://schemas.openxmlformats.org/officeDocument/2006/relationships/slideLayout" Target="../slideLayouts/slideLayout355.xml"/><Relationship Id="rId28" Type="http://schemas.openxmlformats.org/officeDocument/2006/relationships/slideLayout" Target="../slideLayouts/slideLayout360.xml"/><Relationship Id="rId36" Type="http://schemas.openxmlformats.org/officeDocument/2006/relationships/oleObject" Target="../embeddings/oleObject9.bin"/><Relationship Id="rId10" Type="http://schemas.openxmlformats.org/officeDocument/2006/relationships/slideLayout" Target="../slideLayouts/slideLayout342.xml"/><Relationship Id="rId19" Type="http://schemas.openxmlformats.org/officeDocument/2006/relationships/slideLayout" Target="../slideLayouts/slideLayout351.xml"/><Relationship Id="rId31" Type="http://schemas.openxmlformats.org/officeDocument/2006/relationships/slideLayout" Target="../slideLayouts/slideLayout363.xml"/><Relationship Id="rId4" Type="http://schemas.openxmlformats.org/officeDocument/2006/relationships/slideLayout" Target="../slideLayouts/slideLayout336.xml"/><Relationship Id="rId9" Type="http://schemas.openxmlformats.org/officeDocument/2006/relationships/slideLayout" Target="../slideLayouts/slideLayout341.xml"/><Relationship Id="rId14" Type="http://schemas.openxmlformats.org/officeDocument/2006/relationships/slideLayout" Target="../slideLayouts/slideLayout346.xml"/><Relationship Id="rId22" Type="http://schemas.openxmlformats.org/officeDocument/2006/relationships/slideLayout" Target="../slideLayouts/slideLayout354.xml"/><Relationship Id="rId27" Type="http://schemas.openxmlformats.org/officeDocument/2006/relationships/slideLayout" Target="../slideLayouts/slideLayout359.xml"/><Relationship Id="rId30" Type="http://schemas.openxmlformats.org/officeDocument/2006/relationships/slideLayout" Target="../slideLayouts/slideLayout362.xml"/><Relationship Id="rId35" Type="http://schemas.openxmlformats.org/officeDocument/2006/relationships/tags" Target="../tags/tag10.xml"/><Relationship Id="rId8" Type="http://schemas.openxmlformats.org/officeDocument/2006/relationships/slideLayout" Target="../slideLayouts/slideLayout340.xml"/><Relationship Id="rId3" Type="http://schemas.openxmlformats.org/officeDocument/2006/relationships/slideLayout" Target="../slideLayouts/slideLayout335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26" Type="http://schemas.openxmlformats.org/officeDocument/2006/relationships/slideLayout" Target="../slideLayouts/slideLayout74.xml"/><Relationship Id="rId3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69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slideLayout" Target="../slideLayouts/slideLayout73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slideLayout" Target="../slideLayouts/slideLayout68.xml"/><Relationship Id="rId29" Type="http://schemas.openxmlformats.org/officeDocument/2006/relationships/slideLayout" Target="../slideLayouts/slideLayout77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slideLayout" Target="../slideLayouts/slideLayout72.xml"/><Relationship Id="rId32" Type="http://schemas.openxmlformats.org/officeDocument/2006/relationships/oleObject" Target="../embeddings/oleObject2.bin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slideLayout" Target="../slideLayouts/slideLayout71.xml"/><Relationship Id="rId28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31" Type="http://schemas.openxmlformats.org/officeDocument/2006/relationships/tags" Target="../tags/tag3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Relationship Id="rId27" Type="http://schemas.openxmlformats.org/officeDocument/2006/relationships/slideLayout" Target="../slideLayouts/slideLayout75.xml"/><Relationship Id="rId30" Type="http://schemas.openxmlformats.org/officeDocument/2006/relationships/theme" Target="../theme/theme2.xml"/><Relationship Id="rId35" Type="http://schemas.openxmlformats.org/officeDocument/2006/relationships/image" Target="../media/image3.svg"/><Relationship Id="rId8" Type="http://schemas.openxmlformats.org/officeDocument/2006/relationships/slideLayout" Target="../slideLayouts/slideLayout56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0.xml"/><Relationship Id="rId18" Type="http://schemas.openxmlformats.org/officeDocument/2006/relationships/slideLayout" Target="../slideLayouts/slideLayout95.xml"/><Relationship Id="rId26" Type="http://schemas.openxmlformats.org/officeDocument/2006/relationships/slideLayout" Target="../slideLayouts/slideLayout103.xml"/><Relationship Id="rId39" Type="http://schemas.openxmlformats.org/officeDocument/2006/relationships/slideLayout" Target="../slideLayouts/slideLayout116.xml"/><Relationship Id="rId21" Type="http://schemas.openxmlformats.org/officeDocument/2006/relationships/slideLayout" Target="../slideLayouts/slideLayout98.xml"/><Relationship Id="rId34" Type="http://schemas.openxmlformats.org/officeDocument/2006/relationships/slideLayout" Target="../slideLayouts/slideLayout111.xml"/><Relationship Id="rId42" Type="http://schemas.openxmlformats.org/officeDocument/2006/relationships/slideLayout" Target="../slideLayouts/slideLayout119.xml"/><Relationship Id="rId47" Type="http://schemas.openxmlformats.org/officeDocument/2006/relationships/slideLayout" Target="../slideLayouts/slideLayout124.xml"/><Relationship Id="rId50" Type="http://schemas.openxmlformats.org/officeDocument/2006/relationships/tags" Target="../tags/tag4.xml"/><Relationship Id="rId7" Type="http://schemas.openxmlformats.org/officeDocument/2006/relationships/slideLayout" Target="../slideLayouts/slideLayout84.xml"/><Relationship Id="rId2" Type="http://schemas.openxmlformats.org/officeDocument/2006/relationships/slideLayout" Target="../slideLayouts/slideLayout79.xml"/><Relationship Id="rId16" Type="http://schemas.openxmlformats.org/officeDocument/2006/relationships/slideLayout" Target="../slideLayouts/slideLayout93.xml"/><Relationship Id="rId29" Type="http://schemas.openxmlformats.org/officeDocument/2006/relationships/slideLayout" Target="../slideLayouts/slideLayout106.xml"/><Relationship Id="rId11" Type="http://schemas.openxmlformats.org/officeDocument/2006/relationships/slideLayout" Target="../slideLayouts/slideLayout88.xml"/><Relationship Id="rId24" Type="http://schemas.openxmlformats.org/officeDocument/2006/relationships/slideLayout" Target="../slideLayouts/slideLayout101.xml"/><Relationship Id="rId32" Type="http://schemas.openxmlformats.org/officeDocument/2006/relationships/slideLayout" Target="../slideLayouts/slideLayout109.xml"/><Relationship Id="rId37" Type="http://schemas.openxmlformats.org/officeDocument/2006/relationships/slideLayout" Target="../slideLayouts/slideLayout114.xml"/><Relationship Id="rId40" Type="http://schemas.openxmlformats.org/officeDocument/2006/relationships/slideLayout" Target="../slideLayouts/slideLayout117.xml"/><Relationship Id="rId45" Type="http://schemas.openxmlformats.org/officeDocument/2006/relationships/slideLayout" Target="../slideLayouts/slideLayout122.xml"/><Relationship Id="rId53" Type="http://schemas.openxmlformats.org/officeDocument/2006/relationships/image" Target="../media/image2.png"/><Relationship Id="rId5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87.xml"/><Relationship Id="rId19" Type="http://schemas.openxmlformats.org/officeDocument/2006/relationships/slideLayout" Target="../slideLayouts/slideLayout96.xml"/><Relationship Id="rId31" Type="http://schemas.openxmlformats.org/officeDocument/2006/relationships/slideLayout" Target="../slideLayouts/slideLayout108.xml"/><Relationship Id="rId44" Type="http://schemas.openxmlformats.org/officeDocument/2006/relationships/slideLayout" Target="../slideLayouts/slideLayout121.xml"/><Relationship Id="rId52" Type="http://schemas.openxmlformats.org/officeDocument/2006/relationships/image" Target="../media/image1.emf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slideLayout" Target="../slideLayouts/slideLayout91.xml"/><Relationship Id="rId22" Type="http://schemas.openxmlformats.org/officeDocument/2006/relationships/slideLayout" Target="../slideLayouts/slideLayout99.xml"/><Relationship Id="rId27" Type="http://schemas.openxmlformats.org/officeDocument/2006/relationships/slideLayout" Target="../slideLayouts/slideLayout104.xml"/><Relationship Id="rId30" Type="http://schemas.openxmlformats.org/officeDocument/2006/relationships/slideLayout" Target="../slideLayouts/slideLayout107.xml"/><Relationship Id="rId35" Type="http://schemas.openxmlformats.org/officeDocument/2006/relationships/slideLayout" Target="../slideLayouts/slideLayout112.xml"/><Relationship Id="rId43" Type="http://schemas.openxmlformats.org/officeDocument/2006/relationships/slideLayout" Target="../slideLayouts/slideLayout120.xml"/><Relationship Id="rId48" Type="http://schemas.openxmlformats.org/officeDocument/2006/relationships/slideLayout" Target="../slideLayouts/slideLayout125.xml"/><Relationship Id="rId8" Type="http://schemas.openxmlformats.org/officeDocument/2006/relationships/slideLayout" Target="../slideLayouts/slideLayout85.xml"/><Relationship Id="rId51" Type="http://schemas.openxmlformats.org/officeDocument/2006/relationships/oleObject" Target="../embeddings/oleObject3.bin"/><Relationship Id="rId3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9.xml"/><Relationship Id="rId17" Type="http://schemas.openxmlformats.org/officeDocument/2006/relationships/slideLayout" Target="../slideLayouts/slideLayout94.xml"/><Relationship Id="rId25" Type="http://schemas.openxmlformats.org/officeDocument/2006/relationships/slideLayout" Target="../slideLayouts/slideLayout102.xml"/><Relationship Id="rId33" Type="http://schemas.openxmlformats.org/officeDocument/2006/relationships/slideLayout" Target="../slideLayouts/slideLayout110.xml"/><Relationship Id="rId38" Type="http://schemas.openxmlformats.org/officeDocument/2006/relationships/slideLayout" Target="../slideLayouts/slideLayout115.xml"/><Relationship Id="rId46" Type="http://schemas.openxmlformats.org/officeDocument/2006/relationships/slideLayout" Target="../slideLayouts/slideLayout123.xml"/><Relationship Id="rId20" Type="http://schemas.openxmlformats.org/officeDocument/2006/relationships/slideLayout" Target="../slideLayouts/slideLayout97.xml"/><Relationship Id="rId41" Type="http://schemas.openxmlformats.org/officeDocument/2006/relationships/slideLayout" Target="../slideLayouts/slideLayout118.xml"/><Relationship Id="rId54" Type="http://schemas.openxmlformats.org/officeDocument/2006/relationships/image" Target="../media/image3.svg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5" Type="http://schemas.openxmlformats.org/officeDocument/2006/relationships/slideLayout" Target="../slideLayouts/slideLayout92.xml"/><Relationship Id="rId23" Type="http://schemas.openxmlformats.org/officeDocument/2006/relationships/slideLayout" Target="../slideLayouts/slideLayout100.xml"/><Relationship Id="rId28" Type="http://schemas.openxmlformats.org/officeDocument/2006/relationships/slideLayout" Target="../slideLayouts/slideLayout105.xml"/><Relationship Id="rId36" Type="http://schemas.openxmlformats.org/officeDocument/2006/relationships/slideLayout" Target="../slideLayouts/slideLayout113.xml"/><Relationship Id="rId4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8.xml"/><Relationship Id="rId18" Type="http://schemas.openxmlformats.org/officeDocument/2006/relationships/slideLayout" Target="../slideLayouts/slideLayout143.xml"/><Relationship Id="rId26" Type="http://schemas.openxmlformats.org/officeDocument/2006/relationships/slideLayout" Target="../slideLayouts/slideLayout151.xml"/><Relationship Id="rId39" Type="http://schemas.openxmlformats.org/officeDocument/2006/relationships/image" Target="../media/image3.svg"/><Relationship Id="rId21" Type="http://schemas.openxmlformats.org/officeDocument/2006/relationships/slideLayout" Target="../slideLayouts/slideLayout146.xml"/><Relationship Id="rId34" Type="http://schemas.openxmlformats.org/officeDocument/2006/relationships/theme" Target="../theme/theme4.xml"/><Relationship Id="rId7" Type="http://schemas.openxmlformats.org/officeDocument/2006/relationships/slideLayout" Target="../slideLayouts/slideLayout132.xml"/><Relationship Id="rId12" Type="http://schemas.openxmlformats.org/officeDocument/2006/relationships/slideLayout" Target="../slideLayouts/slideLayout137.xml"/><Relationship Id="rId17" Type="http://schemas.openxmlformats.org/officeDocument/2006/relationships/slideLayout" Target="../slideLayouts/slideLayout142.xml"/><Relationship Id="rId25" Type="http://schemas.openxmlformats.org/officeDocument/2006/relationships/slideLayout" Target="../slideLayouts/slideLayout150.xml"/><Relationship Id="rId33" Type="http://schemas.openxmlformats.org/officeDocument/2006/relationships/slideLayout" Target="../slideLayouts/slideLayout158.x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127.xml"/><Relationship Id="rId16" Type="http://schemas.openxmlformats.org/officeDocument/2006/relationships/slideLayout" Target="../slideLayouts/slideLayout141.xml"/><Relationship Id="rId20" Type="http://schemas.openxmlformats.org/officeDocument/2006/relationships/slideLayout" Target="../slideLayouts/slideLayout145.xml"/><Relationship Id="rId29" Type="http://schemas.openxmlformats.org/officeDocument/2006/relationships/slideLayout" Target="../slideLayouts/slideLayout154.xml"/><Relationship Id="rId1" Type="http://schemas.openxmlformats.org/officeDocument/2006/relationships/slideLayout" Target="../slideLayouts/slideLayout126.xml"/><Relationship Id="rId6" Type="http://schemas.openxmlformats.org/officeDocument/2006/relationships/slideLayout" Target="../slideLayouts/slideLayout131.xml"/><Relationship Id="rId11" Type="http://schemas.openxmlformats.org/officeDocument/2006/relationships/slideLayout" Target="../slideLayouts/slideLayout136.xml"/><Relationship Id="rId24" Type="http://schemas.openxmlformats.org/officeDocument/2006/relationships/slideLayout" Target="../slideLayouts/slideLayout149.xml"/><Relationship Id="rId32" Type="http://schemas.openxmlformats.org/officeDocument/2006/relationships/slideLayout" Target="../slideLayouts/slideLayout157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130.xml"/><Relationship Id="rId15" Type="http://schemas.openxmlformats.org/officeDocument/2006/relationships/slideLayout" Target="../slideLayouts/slideLayout140.xml"/><Relationship Id="rId23" Type="http://schemas.openxmlformats.org/officeDocument/2006/relationships/slideLayout" Target="../slideLayouts/slideLayout148.xml"/><Relationship Id="rId28" Type="http://schemas.openxmlformats.org/officeDocument/2006/relationships/slideLayout" Target="../slideLayouts/slideLayout153.xml"/><Relationship Id="rId36" Type="http://schemas.openxmlformats.org/officeDocument/2006/relationships/oleObject" Target="../embeddings/oleObject4.bin"/><Relationship Id="rId10" Type="http://schemas.openxmlformats.org/officeDocument/2006/relationships/slideLayout" Target="../slideLayouts/slideLayout135.xml"/><Relationship Id="rId19" Type="http://schemas.openxmlformats.org/officeDocument/2006/relationships/slideLayout" Target="../slideLayouts/slideLayout144.xml"/><Relationship Id="rId31" Type="http://schemas.openxmlformats.org/officeDocument/2006/relationships/slideLayout" Target="../slideLayouts/slideLayout156.xml"/><Relationship Id="rId4" Type="http://schemas.openxmlformats.org/officeDocument/2006/relationships/slideLayout" Target="../slideLayouts/slideLayout129.xml"/><Relationship Id="rId9" Type="http://schemas.openxmlformats.org/officeDocument/2006/relationships/slideLayout" Target="../slideLayouts/slideLayout134.xml"/><Relationship Id="rId14" Type="http://schemas.openxmlformats.org/officeDocument/2006/relationships/slideLayout" Target="../slideLayouts/slideLayout139.xml"/><Relationship Id="rId22" Type="http://schemas.openxmlformats.org/officeDocument/2006/relationships/slideLayout" Target="../slideLayouts/slideLayout147.xml"/><Relationship Id="rId27" Type="http://schemas.openxmlformats.org/officeDocument/2006/relationships/slideLayout" Target="../slideLayouts/slideLayout152.xml"/><Relationship Id="rId30" Type="http://schemas.openxmlformats.org/officeDocument/2006/relationships/slideLayout" Target="../slideLayouts/slideLayout155.xml"/><Relationship Id="rId35" Type="http://schemas.openxmlformats.org/officeDocument/2006/relationships/tags" Target="../tags/tag5.xml"/><Relationship Id="rId8" Type="http://schemas.openxmlformats.org/officeDocument/2006/relationships/slideLayout" Target="../slideLayouts/slideLayout133.xml"/><Relationship Id="rId3" Type="http://schemas.openxmlformats.org/officeDocument/2006/relationships/slideLayout" Target="../slideLayouts/slideLayout128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71.xml"/><Relationship Id="rId18" Type="http://schemas.openxmlformats.org/officeDocument/2006/relationships/slideLayout" Target="../slideLayouts/slideLayout176.xml"/><Relationship Id="rId26" Type="http://schemas.openxmlformats.org/officeDocument/2006/relationships/slideLayout" Target="../slideLayouts/slideLayout184.xml"/><Relationship Id="rId21" Type="http://schemas.openxmlformats.org/officeDocument/2006/relationships/slideLayout" Target="../slideLayouts/slideLayout179.xml"/><Relationship Id="rId34" Type="http://schemas.openxmlformats.org/officeDocument/2006/relationships/oleObject" Target="../embeddings/oleObject5.bin"/><Relationship Id="rId7" Type="http://schemas.openxmlformats.org/officeDocument/2006/relationships/slideLayout" Target="../slideLayouts/slideLayout165.xml"/><Relationship Id="rId12" Type="http://schemas.openxmlformats.org/officeDocument/2006/relationships/slideLayout" Target="../slideLayouts/slideLayout170.xml"/><Relationship Id="rId17" Type="http://schemas.openxmlformats.org/officeDocument/2006/relationships/slideLayout" Target="../slideLayouts/slideLayout175.xml"/><Relationship Id="rId25" Type="http://schemas.openxmlformats.org/officeDocument/2006/relationships/slideLayout" Target="../slideLayouts/slideLayout183.xml"/><Relationship Id="rId33" Type="http://schemas.openxmlformats.org/officeDocument/2006/relationships/tags" Target="../tags/tag6.xml"/><Relationship Id="rId2" Type="http://schemas.openxmlformats.org/officeDocument/2006/relationships/slideLayout" Target="../slideLayouts/slideLayout160.xml"/><Relationship Id="rId16" Type="http://schemas.openxmlformats.org/officeDocument/2006/relationships/slideLayout" Target="../slideLayouts/slideLayout174.xml"/><Relationship Id="rId20" Type="http://schemas.openxmlformats.org/officeDocument/2006/relationships/slideLayout" Target="../slideLayouts/slideLayout178.xml"/><Relationship Id="rId29" Type="http://schemas.openxmlformats.org/officeDocument/2006/relationships/slideLayout" Target="../slideLayouts/slideLayout187.xml"/><Relationship Id="rId1" Type="http://schemas.openxmlformats.org/officeDocument/2006/relationships/slideLayout" Target="../slideLayouts/slideLayout159.xml"/><Relationship Id="rId6" Type="http://schemas.openxmlformats.org/officeDocument/2006/relationships/slideLayout" Target="../slideLayouts/slideLayout164.xml"/><Relationship Id="rId11" Type="http://schemas.openxmlformats.org/officeDocument/2006/relationships/slideLayout" Target="../slideLayouts/slideLayout169.xml"/><Relationship Id="rId24" Type="http://schemas.openxmlformats.org/officeDocument/2006/relationships/slideLayout" Target="../slideLayouts/slideLayout182.xml"/><Relationship Id="rId32" Type="http://schemas.openxmlformats.org/officeDocument/2006/relationships/theme" Target="../theme/theme5.xml"/><Relationship Id="rId37" Type="http://schemas.openxmlformats.org/officeDocument/2006/relationships/image" Target="../media/image3.svg"/><Relationship Id="rId5" Type="http://schemas.openxmlformats.org/officeDocument/2006/relationships/slideLayout" Target="../slideLayouts/slideLayout163.xml"/><Relationship Id="rId15" Type="http://schemas.openxmlformats.org/officeDocument/2006/relationships/slideLayout" Target="../slideLayouts/slideLayout173.xml"/><Relationship Id="rId23" Type="http://schemas.openxmlformats.org/officeDocument/2006/relationships/slideLayout" Target="../slideLayouts/slideLayout181.xml"/><Relationship Id="rId28" Type="http://schemas.openxmlformats.org/officeDocument/2006/relationships/slideLayout" Target="../slideLayouts/slideLayout186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168.xml"/><Relationship Id="rId19" Type="http://schemas.openxmlformats.org/officeDocument/2006/relationships/slideLayout" Target="../slideLayouts/slideLayout177.xml"/><Relationship Id="rId31" Type="http://schemas.openxmlformats.org/officeDocument/2006/relationships/slideLayout" Target="../slideLayouts/slideLayout189.xml"/><Relationship Id="rId4" Type="http://schemas.openxmlformats.org/officeDocument/2006/relationships/slideLayout" Target="../slideLayouts/slideLayout162.xml"/><Relationship Id="rId9" Type="http://schemas.openxmlformats.org/officeDocument/2006/relationships/slideLayout" Target="../slideLayouts/slideLayout167.xml"/><Relationship Id="rId14" Type="http://schemas.openxmlformats.org/officeDocument/2006/relationships/slideLayout" Target="../slideLayouts/slideLayout172.xml"/><Relationship Id="rId22" Type="http://schemas.openxmlformats.org/officeDocument/2006/relationships/slideLayout" Target="../slideLayouts/slideLayout180.xml"/><Relationship Id="rId27" Type="http://schemas.openxmlformats.org/officeDocument/2006/relationships/slideLayout" Target="../slideLayouts/slideLayout185.xml"/><Relationship Id="rId30" Type="http://schemas.openxmlformats.org/officeDocument/2006/relationships/slideLayout" Target="../slideLayouts/slideLayout188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166.xml"/><Relationship Id="rId3" Type="http://schemas.openxmlformats.org/officeDocument/2006/relationships/slideLayout" Target="../slideLayouts/slideLayout161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02.xml"/><Relationship Id="rId18" Type="http://schemas.openxmlformats.org/officeDocument/2006/relationships/slideLayout" Target="../slideLayouts/slideLayout207.xml"/><Relationship Id="rId26" Type="http://schemas.openxmlformats.org/officeDocument/2006/relationships/slideLayout" Target="../slideLayouts/slideLayout215.xml"/><Relationship Id="rId21" Type="http://schemas.openxmlformats.org/officeDocument/2006/relationships/slideLayout" Target="../slideLayouts/slideLayout210.xml"/><Relationship Id="rId34" Type="http://schemas.openxmlformats.org/officeDocument/2006/relationships/oleObject" Target="../embeddings/oleObject6.bin"/><Relationship Id="rId7" Type="http://schemas.openxmlformats.org/officeDocument/2006/relationships/slideLayout" Target="../slideLayouts/slideLayout196.xml"/><Relationship Id="rId12" Type="http://schemas.openxmlformats.org/officeDocument/2006/relationships/slideLayout" Target="../slideLayouts/slideLayout201.xml"/><Relationship Id="rId17" Type="http://schemas.openxmlformats.org/officeDocument/2006/relationships/slideLayout" Target="../slideLayouts/slideLayout206.xml"/><Relationship Id="rId25" Type="http://schemas.openxmlformats.org/officeDocument/2006/relationships/slideLayout" Target="../slideLayouts/slideLayout214.xml"/><Relationship Id="rId33" Type="http://schemas.openxmlformats.org/officeDocument/2006/relationships/tags" Target="../tags/tag7.xml"/><Relationship Id="rId2" Type="http://schemas.openxmlformats.org/officeDocument/2006/relationships/slideLayout" Target="../slideLayouts/slideLayout191.xml"/><Relationship Id="rId16" Type="http://schemas.openxmlformats.org/officeDocument/2006/relationships/slideLayout" Target="../slideLayouts/slideLayout205.xml"/><Relationship Id="rId20" Type="http://schemas.openxmlformats.org/officeDocument/2006/relationships/slideLayout" Target="../slideLayouts/slideLayout209.xml"/><Relationship Id="rId29" Type="http://schemas.openxmlformats.org/officeDocument/2006/relationships/slideLayout" Target="../slideLayouts/slideLayout218.xml"/><Relationship Id="rId1" Type="http://schemas.openxmlformats.org/officeDocument/2006/relationships/slideLayout" Target="../slideLayouts/slideLayout190.xml"/><Relationship Id="rId6" Type="http://schemas.openxmlformats.org/officeDocument/2006/relationships/slideLayout" Target="../slideLayouts/slideLayout195.xml"/><Relationship Id="rId11" Type="http://schemas.openxmlformats.org/officeDocument/2006/relationships/slideLayout" Target="../slideLayouts/slideLayout200.xml"/><Relationship Id="rId24" Type="http://schemas.openxmlformats.org/officeDocument/2006/relationships/slideLayout" Target="../slideLayouts/slideLayout213.xml"/><Relationship Id="rId32" Type="http://schemas.openxmlformats.org/officeDocument/2006/relationships/theme" Target="../theme/theme6.xml"/><Relationship Id="rId37" Type="http://schemas.openxmlformats.org/officeDocument/2006/relationships/image" Target="../media/image3.svg"/><Relationship Id="rId5" Type="http://schemas.openxmlformats.org/officeDocument/2006/relationships/slideLayout" Target="../slideLayouts/slideLayout194.xml"/><Relationship Id="rId15" Type="http://schemas.openxmlformats.org/officeDocument/2006/relationships/slideLayout" Target="../slideLayouts/slideLayout204.xml"/><Relationship Id="rId23" Type="http://schemas.openxmlformats.org/officeDocument/2006/relationships/slideLayout" Target="../slideLayouts/slideLayout212.xml"/><Relationship Id="rId28" Type="http://schemas.openxmlformats.org/officeDocument/2006/relationships/slideLayout" Target="../slideLayouts/slideLayout217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199.xml"/><Relationship Id="rId19" Type="http://schemas.openxmlformats.org/officeDocument/2006/relationships/slideLayout" Target="../slideLayouts/slideLayout208.xml"/><Relationship Id="rId31" Type="http://schemas.openxmlformats.org/officeDocument/2006/relationships/slideLayout" Target="../slideLayouts/slideLayout220.xml"/><Relationship Id="rId4" Type="http://schemas.openxmlformats.org/officeDocument/2006/relationships/slideLayout" Target="../slideLayouts/slideLayout193.xml"/><Relationship Id="rId9" Type="http://schemas.openxmlformats.org/officeDocument/2006/relationships/slideLayout" Target="../slideLayouts/slideLayout198.xml"/><Relationship Id="rId14" Type="http://schemas.openxmlformats.org/officeDocument/2006/relationships/slideLayout" Target="../slideLayouts/slideLayout203.xml"/><Relationship Id="rId22" Type="http://schemas.openxmlformats.org/officeDocument/2006/relationships/slideLayout" Target="../slideLayouts/slideLayout211.xml"/><Relationship Id="rId27" Type="http://schemas.openxmlformats.org/officeDocument/2006/relationships/slideLayout" Target="../slideLayouts/slideLayout216.xml"/><Relationship Id="rId30" Type="http://schemas.openxmlformats.org/officeDocument/2006/relationships/slideLayout" Target="../slideLayouts/slideLayout219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197.xml"/><Relationship Id="rId3" Type="http://schemas.openxmlformats.org/officeDocument/2006/relationships/slideLayout" Target="../slideLayouts/slideLayout192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33.xml"/><Relationship Id="rId18" Type="http://schemas.openxmlformats.org/officeDocument/2006/relationships/slideLayout" Target="../slideLayouts/slideLayout238.xml"/><Relationship Id="rId26" Type="http://schemas.openxmlformats.org/officeDocument/2006/relationships/slideLayout" Target="../slideLayouts/slideLayout246.xml"/><Relationship Id="rId39" Type="http://schemas.openxmlformats.org/officeDocument/2006/relationships/image" Target="../media/image3.svg"/><Relationship Id="rId21" Type="http://schemas.openxmlformats.org/officeDocument/2006/relationships/slideLayout" Target="../slideLayouts/slideLayout241.xml"/><Relationship Id="rId34" Type="http://schemas.openxmlformats.org/officeDocument/2006/relationships/theme" Target="../theme/theme7.xml"/><Relationship Id="rId7" Type="http://schemas.openxmlformats.org/officeDocument/2006/relationships/slideLayout" Target="../slideLayouts/slideLayout227.xml"/><Relationship Id="rId12" Type="http://schemas.openxmlformats.org/officeDocument/2006/relationships/slideLayout" Target="../slideLayouts/slideLayout232.xml"/><Relationship Id="rId17" Type="http://schemas.openxmlformats.org/officeDocument/2006/relationships/slideLayout" Target="../slideLayouts/slideLayout237.xml"/><Relationship Id="rId25" Type="http://schemas.openxmlformats.org/officeDocument/2006/relationships/slideLayout" Target="../slideLayouts/slideLayout245.xml"/><Relationship Id="rId33" Type="http://schemas.openxmlformats.org/officeDocument/2006/relationships/slideLayout" Target="../slideLayouts/slideLayout253.x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222.xml"/><Relationship Id="rId16" Type="http://schemas.openxmlformats.org/officeDocument/2006/relationships/slideLayout" Target="../slideLayouts/slideLayout236.xml"/><Relationship Id="rId20" Type="http://schemas.openxmlformats.org/officeDocument/2006/relationships/slideLayout" Target="../slideLayouts/slideLayout240.xml"/><Relationship Id="rId29" Type="http://schemas.openxmlformats.org/officeDocument/2006/relationships/slideLayout" Target="../slideLayouts/slideLayout249.xml"/><Relationship Id="rId1" Type="http://schemas.openxmlformats.org/officeDocument/2006/relationships/slideLayout" Target="../slideLayouts/slideLayout221.xml"/><Relationship Id="rId6" Type="http://schemas.openxmlformats.org/officeDocument/2006/relationships/slideLayout" Target="../slideLayouts/slideLayout226.xml"/><Relationship Id="rId11" Type="http://schemas.openxmlformats.org/officeDocument/2006/relationships/slideLayout" Target="../slideLayouts/slideLayout231.xml"/><Relationship Id="rId24" Type="http://schemas.openxmlformats.org/officeDocument/2006/relationships/slideLayout" Target="../slideLayouts/slideLayout244.xml"/><Relationship Id="rId32" Type="http://schemas.openxmlformats.org/officeDocument/2006/relationships/slideLayout" Target="../slideLayouts/slideLayout25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225.xml"/><Relationship Id="rId15" Type="http://schemas.openxmlformats.org/officeDocument/2006/relationships/slideLayout" Target="../slideLayouts/slideLayout235.xml"/><Relationship Id="rId23" Type="http://schemas.openxmlformats.org/officeDocument/2006/relationships/slideLayout" Target="../slideLayouts/slideLayout243.xml"/><Relationship Id="rId28" Type="http://schemas.openxmlformats.org/officeDocument/2006/relationships/slideLayout" Target="../slideLayouts/slideLayout248.xml"/><Relationship Id="rId36" Type="http://schemas.openxmlformats.org/officeDocument/2006/relationships/oleObject" Target="../embeddings/oleObject7.bin"/><Relationship Id="rId10" Type="http://schemas.openxmlformats.org/officeDocument/2006/relationships/slideLayout" Target="../slideLayouts/slideLayout230.xml"/><Relationship Id="rId19" Type="http://schemas.openxmlformats.org/officeDocument/2006/relationships/slideLayout" Target="../slideLayouts/slideLayout239.xml"/><Relationship Id="rId31" Type="http://schemas.openxmlformats.org/officeDocument/2006/relationships/slideLayout" Target="../slideLayouts/slideLayout251.xml"/><Relationship Id="rId4" Type="http://schemas.openxmlformats.org/officeDocument/2006/relationships/slideLayout" Target="../slideLayouts/slideLayout224.xml"/><Relationship Id="rId9" Type="http://schemas.openxmlformats.org/officeDocument/2006/relationships/slideLayout" Target="../slideLayouts/slideLayout229.xml"/><Relationship Id="rId14" Type="http://schemas.openxmlformats.org/officeDocument/2006/relationships/slideLayout" Target="../slideLayouts/slideLayout234.xml"/><Relationship Id="rId22" Type="http://schemas.openxmlformats.org/officeDocument/2006/relationships/slideLayout" Target="../slideLayouts/slideLayout242.xml"/><Relationship Id="rId27" Type="http://schemas.openxmlformats.org/officeDocument/2006/relationships/slideLayout" Target="../slideLayouts/slideLayout247.xml"/><Relationship Id="rId30" Type="http://schemas.openxmlformats.org/officeDocument/2006/relationships/slideLayout" Target="../slideLayouts/slideLayout250.xml"/><Relationship Id="rId35" Type="http://schemas.openxmlformats.org/officeDocument/2006/relationships/tags" Target="../tags/tag8.xml"/><Relationship Id="rId8" Type="http://schemas.openxmlformats.org/officeDocument/2006/relationships/slideLayout" Target="../slideLayouts/slideLayout228.xml"/><Relationship Id="rId3" Type="http://schemas.openxmlformats.org/officeDocument/2006/relationships/slideLayout" Target="../slideLayouts/slideLayout223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66.xml"/><Relationship Id="rId18" Type="http://schemas.openxmlformats.org/officeDocument/2006/relationships/slideLayout" Target="../slideLayouts/slideLayout271.xml"/><Relationship Id="rId26" Type="http://schemas.openxmlformats.org/officeDocument/2006/relationships/slideLayout" Target="../slideLayouts/slideLayout279.xml"/><Relationship Id="rId39" Type="http://schemas.openxmlformats.org/officeDocument/2006/relationships/slideLayout" Target="../slideLayouts/slideLayout292.xml"/><Relationship Id="rId21" Type="http://schemas.openxmlformats.org/officeDocument/2006/relationships/slideLayout" Target="../slideLayouts/slideLayout274.xml"/><Relationship Id="rId34" Type="http://schemas.openxmlformats.org/officeDocument/2006/relationships/slideLayout" Target="../slideLayouts/slideLayout287.xml"/><Relationship Id="rId42" Type="http://schemas.openxmlformats.org/officeDocument/2006/relationships/slideLayout" Target="../slideLayouts/slideLayout295.xml"/><Relationship Id="rId47" Type="http://schemas.openxmlformats.org/officeDocument/2006/relationships/slideLayout" Target="../slideLayouts/slideLayout300.xml"/><Relationship Id="rId50" Type="http://schemas.openxmlformats.org/officeDocument/2006/relationships/tags" Target="../tags/tag9.xml"/><Relationship Id="rId7" Type="http://schemas.openxmlformats.org/officeDocument/2006/relationships/slideLayout" Target="../slideLayouts/slideLayout260.xml"/><Relationship Id="rId2" Type="http://schemas.openxmlformats.org/officeDocument/2006/relationships/slideLayout" Target="../slideLayouts/slideLayout255.xml"/><Relationship Id="rId16" Type="http://schemas.openxmlformats.org/officeDocument/2006/relationships/slideLayout" Target="../slideLayouts/slideLayout269.xml"/><Relationship Id="rId29" Type="http://schemas.openxmlformats.org/officeDocument/2006/relationships/slideLayout" Target="../slideLayouts/slideLayout282.xml"/><Relationship Id="rId11" Type="http://schemas.openxmlformats.org/officeDocument/2006/relationships/slideLayout" Target="../slideLayouts/slideLayout264.xml"/><Relationship Id="rId24" Type="http://schemas.openxmlformats.org/officeDocument/2006/relationships/slideLayout" Target="../slideLayouts/slideLayout277.xml"/><Relationship Id="rId32" Type="http://schemas.openxmlformats.org/officeDocument/2006/relationships/slideLayout" Target="../slideLayouts/slideLayout285.xml"/><Relationship Id="rId37" Type="http://schemas.openxmlformats.org/officeDocument/2006/relationships/slideLayout" Target="../slideLayouts/slideLayout290.xml"/><Relationship Id="rId40" Type="http://schemas.openxmlformats.org/officeDocument/2006/relationships/slideLayout" Target="../slideLayouts/slideLayout293.xml"/><Relationship Id="rId45" Type="http://schemas.openxmlformats.org/officeDocument/2006/relationships/slideLayout" Target="../slideLayouts/slideLayout298.xml"/><Relationship Id="rId53" Type="http://schemas.openxmlformats.org/officeDocument/2006/relationships/image" Target="../media/image2.png"/><Relationship Id="rId5" Type="http://schemas.openxmlformats.org/officeDocument/2006/relationships/slideLayout" Target="../slideLayouts/slideLayout258.xml"/><Relationship Id="rId10" Type="http://schemas.openxmlformats.org/officeDocument/2006/relationships/slideLayout" Target="../slideLayouts/slideLayout263.xml"/><Relationship Id="rId19" Type="http://schemas.openxmlformats.org/officeDocument/2006/relationships/slideLayout" Target="../slideLayouts/slideLayout272.xml"/><Relationship Id="rId31" Type="http://schemas.openxmlformats.org/officeDocument/2006/relationships/slideLayout" Target="../slideLayouts/slideLayout284.xml"/><Relationship Id="rId44" Type="http://schemas.openxmlformats.org/officeDocument/2006/relationships/slideLayout" Target="../slideLayouts/slideLayout297.xml"/><Relationship Id="rId52" Type="http://schemas.openxmlformats.org/officeDocument/2006/relationships/image" Target="../media/image1.emf"/><Relationship Id="rId4" Type="http://schemas.openxmlformats.org/officeDocument/2006/relationships/slideLayout" Target="../slideLayouts/slideLayout257.xml"/><Relationship Id="rId9" Type="http://schemas.openxmlformats.org/officeDocument/2006/relationships/slideLayout" Target="../slideLayouts/slideLayout262.xml"/><Relationship Id="rId14" Type="http://schemas.openxmlformats.org/officeDocument/2006/relationships/slideLayout" Target="../slideLayouts/slideLayout267.xml"/><Relationship Id="rId22" Type="http://schemas.openxmlformats.org/officeDocument/2006/relationships/slideLayout" Target="../slideLayouts/slideLayout275.xml"/><Relationship Id="rId27" Type="http://schemas.openxmlformats.org/officeDocument/2006/relationships/slideLayout" Target="../slideLayouts/slideLayout280.xml"/><Relationship Id="rId30" Type="http://schemas.openxmlformats.org/officeDocument/2006/relationships/slideLayout" Target="../slideLayouts/slideLayout283.xml"/><Relationship Id="rId35" Type="http://schemas.openxmlformats.org/officeDocument/2006/relationships/slideLayout" Target="../slideLayouts/slideLayout288.xml"/><Relationship Id="rId43" Type="http://schemas.openxmlformats.org/officeDocument/2006/relationships/slideLayout" Target="../slideLayouts/slideLayout296.xml"/><Relationship Id="rId48" Type="http://schemas.openxmlformats.org/officeDocument/2006/relationships/slideLayout" Target="../slideLayouts/slideLayout301.xml"/><Relationship Id="rId8" Type="http://schemas.openxmlformats.org/officeDocument/2006/relationships/slideLayout" Target="../slideLayouts/slideLayout261.xml"/><Relationship Id="rId51" Type="http://schemas.openxmlformats.org/officeDocument/2006/relationships/oleObject" Target="../embeddings/oleObject8.bin"/><Relationship Id="rId3" Type="http://schemas.openxmlformats.org/officeDocument/2006/relationships/slideLayout" Target="../slideLayouts/slideLayout256.xml"/><Relationship Id="rId12" Type="http://schemas.openxmlformats.org/officeDocument/2006/relationships/slideLayout" Target="../slideLayouts/slideLayout265.xml"/><Relationship Id="rId17" Type="http://schemas.openxmlformats.org/officeDocument/2006/relationships/slideLayout" Target="../slideLayouts/slideLayout270.xml"/><Relationship Id="rId25" Type="http://schemas.openxmlformats.org/officeDocument/2006/relationships/slideLayout" Target="../slideLayouts/slideLayout278.xml"/><Relationship Id="rId33" Type="http://schemas.openxmlformats.org/officeDocument/2006/relationships/slideLayout" Target="../slideLayouts/slideLayout286.xml"/><Relationship Id="rId38" Type="http://schemas.openxmlformats.org/officeDocument/2006/relationships/slideLayout" Target="../slideLayouts/slideLayout291.xml"/><Relationship Id="rId46" Type="http://schemas.openxmlformats.org/officeDocument/2006/relationships/slideLayout" Target="../slideLayouts/slideLayout299.xml"/><Relationship Id="rId20" Type="http://schemas.openxmlformats.org/officeDocument/2006/relationships/slideLayout" Target="../slideLayouts/slideLayout273.xml"/><Relationship Id="rId41" Type="http://schemas.openxmlformats.org/officeDocument/2006/relationships/slideLayout" Target="../slideLayouts/slideLayout294.xml"/><Relationship Id="rId54" Type="http://schemas.openxmlformats.org/officeDocument/2006/relationships/image" Target="../media/image3.svg"/><Relationship Id="rId1" Type="http://schemas.openxmlformats.org/officeDocument/2006/relationships/slideLayout" Target="../slideLayouts/slideLayout254.xml"/><Relationship Id="rId6" Type="http://schemas.openxmlformats.org/officeDocument/2006/relationships/slideLayout" Target="../slideLayouts/slideLayout259.xml"/><Relationship Id="rId15" Type="http://schemas.openxmlformats.org/officeDocument/2006/relationships/slideLayout" Target="../slideLayouts/slideLayout268.xml"/><Relationship Id="rId23" Type="http://schemas.openxmlformats.org/officeDocument/2006/relationships/slideLayout" Target="../slideLayouts/slideLayout276.xml"/><Relationship Id="rId28" Type="http://schemas.openxmlformats.org/officeDocument/2006/relationships/slideLayout" Target="../slideLayouts/slideLayout281.xml"/><Relationship Id="rId36" Type="http://schemas.openxmlformats.org/officeDocument/2006/relationships/slideLayout" Target="../slideLayouts/slideLayout289.xml"/><Relationship Id="rId49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14.xml"/><Relationship Id="rId18" Type="http://schemas.openxmlformats.org/officeDocument/2006/relationships/slideLayout" Target="../slideLayouts/slideLayout319.xml"/><Relationship Id="rId26" Type="http://schemas.openxmlformats.org/officeDocument/2006/relationships/slideLayout" Target="../slideLayouts/slideLayout327.xml"/><Relationship Id="rId3" Type="http://schemas.openxmlformats.org/officeDocument/2006/relationships/slideLayout" Target="../slideLayouts/slideLayout304.xml"/><Relationship Id="rId21" Type="http://schemas.openxmlformats.org/officeDocument/2006/relationships/slideLayout" Target="../slideLayouts/slideLayout322.xml"/><Relationship Id="rId34" Type="http://schemas.openxmlformats.org/officeDocument/2006/relationships/image" Target="../media/image3.svg"/><Relationship Id="rId7" Type="http://schemas.openxmlformats.org/officeDocument/2006/relationships/slideLayout" Target="../slideLayouts/slideLayout308.xml"/><Relationship Id="rId12" Type="http://schemas.openxmlformats.org/officeDocument/2006/relationships/slideLayout" Target="../slideLayouts/slideLayout313.xml"/><Relationship Id="rId17" Type="http://schemas.openxmlformats.org/officeDocument/2006/relationships/slideLayout" Target="../slideLayouts/slideLayout318.xml"/><Relationship Id="rId25" Type="http://schemas.openxmlformats.org/officeDocument/2006/relationships/slideLayout" Target="../slideLayouts/slideLayout326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303.xml"/><Relationship Id="rId16" Type="http://schemas.openxmlformats.org/officeDocument/2006/relationships/slideLayout" Target="../slideLayouts/slideLayout317.xml"/><Relationship Id="rId20" Type="http://schemas.openxmlformats.org/officeDocument/2006/relationships/slideLayout" Target="../slideLayouts/slideLayout321.xml"/><Relationship Id="rId29" Type="http://schemas.openxmlformats.org/officeDocument/2006/relationships/slideLayout" Target="../slideLayouts/slideLayout330.xml"/><Relationship Id="rId1" Type="http://schemas.openxmlformats.org/officeDocument/2006/relationships/slideLayout" Target="../slideLayouts/slideLayout302.xml"/><Relationship Id="rId6" Type="http://schemas.openxmlformats.org/officeDocument/2006/relationships/slideLayout" Target="../slideLayouts/slideLayout307.xml"/><Relationship Id="rId11" Type="http://schemas.openxmlformats.org/officeDocument/2006/relationships/slideLayout" Target="../slideLayouts/slideLayout312.xml"/><Relationship Id="rId24" Type="http://schemas.openxmlformats.org/officeDocument/2006/relationships/slideLayout" Target="../slideLayouts/slideLayout325.xml"/><Relationship Id="rId32" Type="http://schemas.openxmlformats.org/officeDocument/2006/relationships/theme" Target="../theme/theme9.xml"/><Relationship Id="rId5" Type="http://schemas.openxmlformats.org/officeDocument/2006/relationships/slideLayout" Target="../slideLayouts/slideLayout306.xml"/><Relationship Id="rId15" Type="http://schemas.openxmlformats.org/officeDocument/2006/relationships/slideLayout" Target="../slideLayouts/slideLayout316.xml"/><Relationship Id="rId23" Type="http://schemas.openxmlformats.org/officeDocument/2006/relationships/slideLayout" Target="../slideLayouts/slideLayout324.xml"/><Relationship Id="rId28" Type="http://schemas.openxmlformats.org/officeDocument/2006/relationships/slideLayout" Target="../slideLayouts/slideLayout329.xml"/><Relationship Id="rId10" Type="http://schemas.openxmlformats.org/officeDocument/2006/relationships/slideLayout" Target="../slideLayouts/slideLayout311.xml"/><Relationship Id="rId19" Type="http://schemas.openxmlformats.org/officeDocument/2006/relationships/slideLayout" Target="../slideLayouts/slideLayout320.xml"/><Relationship Id="rId31" Type="http://schemas.openxmlformats.org/officeDocument/2006/relationships/slideLayout" Target="../slideLayouts/slideLayout332.xml"/><Relationship Id="rId4" Type="http://schemas.openxmlformats.org/officeDocument/2006/relationships/slideLayout" Target="../slideLayouts/slideLayout305.xml"/><Relationship Id="rId9" Type="http://schemas.openxmlformats.org/officeDocument/2006/relationships/slideLayout" Target="../slideLayouts/slideLayout310.xml"/><Relationship Id="rId14" Type="http://schemas.openxmlformats.org/officeDocument/2006/relationships/slideLayout" Target="../slideLayouts/slideLayout315.xml"/><Relationship Id="rId22" Type="http://schemas.openxmlformats.org/officeDocument/2006/relationships/slideLayout" Target="../slideLayouts/slideLayout323.xml"/><Relationship Id="rId27" Type="http://schemas.openxmlformats.org/officeDocument/2006/relationships/slideLayout" Target="../slideLayouts/slideLayout328.xml"/><Relationship Id="rId30" Type="http://schemas.openxmlformats.org/officeDocument/2006/relationships/slideLayout" Target="../slideLayouts/slideLayout331.xml"/><Relationship Id="rId8" Type="http://schemas.openxmlformats.org/officeDocument/2006/relationships/slideLayout" Target="../slideLayouts/slideLayout30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F72217B-2E00-D395-F3AF-90659BD98C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3993053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1" imgW="344" imgH="344" progId="TCLayout.ActiveDocument.1">
                  <p:embed/>
                </p:oleObj>
              </mc:Choice>
              <mc:Fallback>
                <p:oleObj name="think-cell Slide" r:id="rId51" imgW="344" imgH="34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F72217B-2E00-D395-F3AF-90659BD98C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1392E174-19C6-4D75-B1D5-4E68168B649B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DA36E3D-B4FD-4A23-9D91-DF456ABA0785}"/>
              </a:ext>
            </a:extLst>
          </p:cNvPr>
          <p:cNvPicPr>
            <a:picLocks noChangeAspect="1"/>
          </p:cNvPicPr>
          <p:nvPr userDrawn="1"/>
        </p:nvPicPr>
        <p:blipFill>
          <a:blip r:embed="rId5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4"/>
              </a:ext>
            </a:extLst>
          </a:blip>
          <a:srcRect/>
          <a:stretch/>
        </p:blipFill>
        <p:spPr>
          <a:xfrm>
            <a:off x="10849038" y="333375"/>
            <a:ext cx="1008000" cy="448797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9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4962" y="1880315"/>
            <a:ext cx="10092745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3F0BE54F-04D4-4BBA-94B9-7398D026F34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969628" y="6288257"/>
            <a:ext cx="118355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D8C51A3-9A0B-48C0-A49D-C0744C219B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5688" y="6288257"/>
            <a:ext cx="791394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7437506A-1CC1-45F8-95E7-BC28DD723E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4962" y="6288257"/>
            <a:ext cx="72741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89408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2" r:id="rId30"/>
    <p:sldLayoutId id="2147483693" r:id="rId31"/>
    <p:sldLayoutId id="2147483694" r:id="rId32"/>
    <p:sldLayoutId id="2147483696" r:id="rId33"/>
    <p:sldLayoutId id="2147483697" r:id="rId34"/>
    <p:sldLayoutId id="2147483698" r:id="rId35"/>
    <p:sldLayoutId id="2147483699" r:id="rId36"/>
    <p:sldLayoutId id="2147483700" r:id="rId37"/>
    <p:sldLayoutId id="2147483701" r:id="rId38"/>
    <p:sldLayoutId id="2147483702" r:id="rId39"/>
    <p:sldLayoutId id="2147483703" r:id="rId40"/>
    <p:sldLayoutId id="2147483704" r:id="rId41"/>
    <p:sldLayoutId id="2147483705" r:id="rId42"/>
    <p:sldLayoutId id="2147483706" r:id="rId43"/>
    <p:sldLayoutId id="2147483707" r:id="rId44"/>
    <p:sldLayoutId id="2147483708" r:id="rId45"/>
    <p:sldLayoutId id="2147483957" r:id="rId46"/>
    <p:sldLayoutId id="2147484079" r:id="rId47"/>
    <p:sldLayoutId id="2147484084" r:id="rId48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100" b="1" kern="1200" cap="none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1800" b="0" kern="1200" cap="none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None/>
        <a:defRPr sz="1800" b="1" kern="1200" cap="all" baseline="0">
          <a:solidFill>
            <a:schemeClr val="accent1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800" b="0" kern="1200">
          <a:solidFill>
            <a:schemeClr val="tx2"/>
          </a:solidFill>
          <a:latin typeface="+mn-lt"/>
          <a:ea typeface="+mn-ea"/>
          <a:cs typeface="+mn-cs"/>
        </a:defRPr>
      </a:lvl4pPr>
      <a:lvl5pPr marL="342900" indent="-342900" algn="l" defTabSz="914400" rtl="0" eaLnBrk="1" latinLnBrk="0" hangingPunct="1">
        <a:lnSpc>
          <a:spcPct val="100000"/>
        </a:lnSpc>
        <a:spcBef>
          <a:spcPts val="600"/>
        </a:spcBef>
        <a:buFont typeface="+mj-lt"/>
        <a:buAutoNum type="arabicPeriod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210">
          <p15:clr>
            <a:srgbClr val="F26B43"/>
          </p15:clr>
        </p15:guide>
        <p15:guide id="4" orient="horz" pos="4110">
          <p15:clr>
            <a:srgbClr val="F26B43"/>
          </p15:clr>
        </p15:guide>
        <p15:guide id="5" pos="665">
          <p15:clr>
            <a:srgbClr val="F26B43"/>
          </p15:clr>
        </p15:guide>
        <p15:guide id="6" pos="7015">
          <p15:clr>
            <a:srgbClr val="F26B43"/>
          </p15:clr>
        </p15:guide>
        <p15:guide id="7" pos="211">
          <p15:clr>
            <a:srgbClr val="F26B43"/>
          </p15:clr>
        </p15:guide>
        <p15:guide id="8" pos="7469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42AAAB2-536B-8F76-B15D-9EEE40C5A0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29591288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4" imgH="344" progId="TCLayout.ActiveDocument.1">
                  <p:embed/>
                </p:oleObj>
              </mc:Choice>
              <mc:Fallback>
                <p:oleObj name="think-cell Slide" r:id="rId36" imgW="344" imgH="34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42AAAB2-536B-8F76-B15D-9EEE40C5A0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1392E174-19C6-4D75-B1D5-4E68168B649B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DA36E3D-B4FD-4A23-9D91-DF456ABA0785}"/>
              </a:ext>
            </a:extLst>
          </p:cNvPr>
          <p:cNvPicPr>
            <a:picLocks noChangeAspect="1"/>
          </p:cNvPicPr>
          <p:nvPr userDrawn="1"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rcRect/>
          <a:stretch/>
        </p:blipFill>
        <p:spPr>
          <a:xfrm>
            <a:off x="10849038" y="333375"/>
            <a:ext cx="1008000" cy="448797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9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4962" y="1880315"/>
            <a:ext cx="10092745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3F0BE54F-04D4-4BBA-94B9-7398D026F34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969628" y="6288257"/>
            <a:ext cx="118355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D8C51A3-9A0B-48C0-A49D-C0744C219B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5688" y="6288257"/>
            <a:ext cx="791394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7437506A-1CC1-45F8-95E7-BC28DD723E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4962" y="6288257"/>
            <a:ext cx="72741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99287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5" r:id="rId1"/>
    <p:sldLayoutId id="2147484046" r:id="rId2"/>
    <p:sldLayoutId id="2147484047" r:id="rId3"/>
    <p:sldLayoutId id="2147484048" r:id="rId4"/>
    <p:sldLayoutId id="2147484049" r:id="rId5"/>
    <p:sldLayoutId id="2147484050" r:id="rId6"/>
    <p:sldLayoutId id="2147484051" r:id="rId7"/>
    <p:sldLayoutId id="2147484053" r:id="rId8"/>
    <p:sldLayoutId id="2147484054" r:id="rId9"/>
    <p:sldLayoutId id="2147484055" r:id="rId10"/>
    <p:sldLayoutId id="2147484056" r:id="rId11"/>
    <p:sldLayoutId id="2147484057" r:id="rId12"/>
    <p:sldLayoutId id="2147484058" r:id="rId13"/>
    <p:sldLayoutId id="2147484059" r:id="rId14"/>
    <p:sldLayoutId id="2147484060" r:id="rId15"/>
    <p:sldLayoutId id="2147484061" r:id="rId16"/>
    <p:sldLayoutId id="2147484062" r:id="rId17"/>
    <p:sldLayoutId id="2147484063" r:id="rId18"/>
    <p:sldLayoutId id="2147484064" r:id="rId19"/>
    <p:sldLayoutId id="2147484065" r:id="rId20"/>
    <p:sldLayoutId id="2147484066" r:id="rId21"/>
    <p:sldLayoutId id="2147484067" r:id="rId22"/>
    <p:sldLayoutId id="2147484068" r:id="rId23"/>
    <p:sldLayoutId id="2147484069" r:id="rId24"/>
    <p:sldLayoutId id="2147484070" r:id="rId25"/>
    <p:sldLayoutId id="2147484071" r:id="rId26"/>
    <p:sldLayoutId id="2147484072" r:id="rId27"/>
    <p:sldLayoutId id="2147484073" r:id="rId28"/>
    <p:sldLayoutId id="2147484074" r:id="rId29"/>
    <p:sldLayoutId id="2147484075" r:id="rId30"/>
    <p:sldLayoutId id="2147484076" r:id="rId31"/>
    <p:sldLayoutId id="2147484077" r:id="rId32"/>
    <p:sldLayoutId id="2147484078" r:id="rId33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100" b="1" kern="1200" cap="none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1800" b="0" kern="1200" cap="none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None/>
        <a:defRPr sz="1800" b="1" kern="1200" cap="all" baseline="0">
          <a:solidFill>
            <a:schemeClr val="accent1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800" b="0" kern="1200">
          <a:solidFill>
            <a:schemeClr val="tx2"/>
          </a:solidFill>
          <a:latin typeface="+mn-lt"/>
          <a:ea typeface="+mn-ea"/>
          <a:cs typeface="+mn-cs"/>
        </a:defRPr>
      </a:lvl4pPr>
      <a:lvl5pPr marL="342900" indent="-342900" algn="l" defTabSz="914400" rtl="0" eaLnBrk="1" latinLnBrk="0" hangingPunct="1">
        <a:lnSpc>
          <a:spcPct val="100000"/>
        </a:lnSpc>
        <a:spcBef>
          <a:spcPts val="600"/>
        </a:spcBef>
        <a:buFont typeface="+mj-lt"/>
        <a:buAutoNum type="arabicPeriod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210">
          <p15:clr>
            <a:srgbClr val="F26B43"/>
          </p15:clr>
        </p15:guide>
        <p15:guide id="4" orient="horz" pos="4110">
          <p15:clr>
            <a:srgbClr val="F26B43"/>
          </p15:clr>
        </p15:guide>
        <p15:guide id="5" pos="665">
          <p15:clr>
            <a:srgbClr val="F26B43"/>
          </p15:clr>
        </p15:guide>
        <p15:guide id="6" pos="7015">
          <p15:clr>
            <a:srgbClr val="F26B43"/>
          </p15:clr>
        </p15:guide>
        <p15:guide id="7" pos="211">
          <p15:clr>
            <a:srgbClr val="F26B43"/>
          </p15:clr>
        </p15:guide>
        <p15:guide id="8" pos="746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2E91B0A-6C83-CC16-0440-4AEDD184B9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680040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344" imgH="344" progId="TCLayout.ActiveDocument.1">
                  <p:embed/>
                </p:oleObj>
              </mc:Choice>
              <mc:Fallback>
                <p:oleObj name="think-cell Slide" r:id="rId32" imgW="344" imgH="34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2E91B0A-6C83-CC16-0440-4AEDD184B9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1392E174-19C6-4D75-B1D5-4E68168B649B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DA36E3D-B4FD-4A23-9D91-DF456ABA0785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rcRect/>
          <a:stretch/>
        </p:blipFill>
        <p:spPr>
          <a:xfrm>
            <a:off x="10849038" y="6082856"/>
            <a:ext cx="1008000" cy="448797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9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4962" y="1880315"/>
            <a:ext cx="10092745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3F0BE54F-04D4-4BBA-94B9-7398D026F34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969628" y="6288257"/>
            <a:ext cx="118355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D8C51A3-9A0B-48C0-A49D-C0744C219B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5688" y="6288257"/>
            <a:ext cx="791394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7437506A-1CC1-45F8-95E7-BC28DD723E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4962" y="6288257"/>
            <a:ext cx="72741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6905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  <p:sldLayoutId id="2147483721" r:id="rId12"/>
    <p:sldLayoutId id="2147483722" r:id="rId13"/>
    <p:sldLayoutId id="2147483723" r:id="rId14"/>
    <p:sldLayoutId id="2147483724" r:id="rId15"/>
    <p:sldLayoutId id="2147483725" r:id="rId16"/>
    <p:sldLayoutId id="2147483726" r:id="rId17"/>
    <p:sldLayoutId id="2147483727" r:id="rId18"/>
    <p:sldLayoutId id="2147483728" r:id="rId19"/>
    <p:sldLayoutId id="2147483729" r:id="rId20"/>
    <p:sldLayoutId id="2147483730" r:id="rId21"/>
    <p:sldLayoutId id="2147483731" r:id="rId22"/>
    <p:sldLayoutId id="2147483732" r:id="rId23"/>
    <p:sldLayoutId id="2147483733" r:id="rId24"/>
    <p:sldLayoutId id="2147483734" r:id="rId25"/>
    <p:sldLayoutId id="2147483735" r:id="rId26"/>
    <p:sldLayoutId id="2147483736" r:id="rId27"/>
    <p:sldLayoutId id="2147483737" r:id="rId28"/>
    <p:sldLayoutId id="2147483738" r:id="rId29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100" b="1" kern="1200" cap="none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1800" b="0" kern="1200" cap="none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None/>
        <a:defRPr sz="1800" b="1" kern="1200" cap="all" baseline="0">
          <a:solidFill>
            <a:schemeClr val="accent1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800" b="0" kern="1200">
          <a:solidFill>
            <a:schemeClr val="tx2"/>
          </a:solidFill>
          <a:latin typeface="+mn-lt"/>
          <a:ea typeface="+mn-ea"/>
          <a:cs typeface="+mn-cs"/>
        </a:defRPr>
      </a:lvl4pPr>
      <a:lvl5pPr marL="342900" indent="-342900" algn="l" defTabSz="914400" rtl="0" eaLnBrk="1" latinLnBrk="0" hangingPunct="1">
        <a:lnSpc>
          <a:spcPct val="100000"/>
        </a:lnSpc>
        <a:spcBef>
          <a:spcPts val="600"/>
        </a:spcBef>
        <a:buFont typeface="+mj-lt"/>
        <a:buAutoNum type="arabicPeriod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210">
          <p15:clr>
            <a:srgbClr val="F26B43"/>
          </p15:clr>
        </p15:guide>
        <p15:guide id="4" orient="horz" pos="4110">
          <p15:clr>
            <a:srgbClr val="F26B43"/>
          </p15:clr>
        </p15:guide>
        <p15:guide id="5" pos="665">
          <p15:clr>
            <a:srgbClr val="F26B43"/>
          </p15:clr>
        </p15:guide>
        <p15:guide id="6" pos="7015">
          <p15:clr>
            <a:srgbClr val="F26B43"/>
          </p15:clr>
        </p15:guide>
        <p15:guide id="7" pos="211">
          <p15:clr>
            <a:srgbClr val="F26B43"/>
          </p15:clr>
        </p15:guide>
        <p15:guide id="8" pos="746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013B0FE-CF40-32BB-B683-DEFD665228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28402400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1" imgW="344" imgH="344" progId="TCLayout.ActiveDocument.1">
                  <p:embed/>
                </p:oleObj>
              </mc:Choice>
              <mc:Fallback>
                <p:oleObj name="think-cell Slide" r:id="rId51" imgW="344" imgH="34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13B0FE-CF40-32BB-B683-DEFD665228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1392E174-19C6-4D75-B1D5-4E68168B649B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DA36E3D-B4FD-4A23-9D91-DF456ABA0785}"/>
              </a:ext>
            </a:extLst>
          </p:cNvPr>
          <p:cNvPicPr>
            <a:picLocks noChangeAspect="1"/>
          </p:cNvPicPr>
          <p:nvPr userDrawn="1"/>
        </p:nvPicPr>
        <p:blipFill>
          <a:blip r:embed="rId5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4"/>
              </a:ext>
            </a:extLst>
          </a:blip>
          <a:srcRect/>
          <a:stretch/>
        </p:blipFill>
        <p:spPr>
          <a:xfrm>
            <a:off x="10849038" y="333375"/>
            <a:ext cx="1008000" cy="448797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9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4962" y="1880315"/>
            <a:ext cx="10092745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3F0BE54F-04D4-4BBA-94B9-7398D026F34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969628" y="6288257"/>
            <a:ext cx="118355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D8C51A3-9A0B-48C0-A49D-C0744C219B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5688" y="6288257"/>
            <a:ext cx="791394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7437506A-1CC1-45F8-95E7-BC28DD723E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4962" y="6288257"/>
            <a:ext cx="72741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89408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956" r:id="rId7"/>
    <p:sldLayoutId id="2147483836" r:id="rId8"/>
    <p:sldLayoutId id="2147483750" r:id="rId9"/>
    <p:sldLayoutId id="2147483839" r:id="rId10"/>
    <p:sldLayoutId id="2147483752" r:id="rId11"/>
    <p:sldLayoutId id="2147483841" r:id="rId12"/>
    <p:sldLayoutId id="2147483754" r:id="rId13"/>
    <p:sldLayoutId id="2147483755" r:id="rId14"/>
    <p:sldLayoutId id="2147483756" r:id="rId15"/>
    <p:sldLayoutId id="2147483844" r:id="rId16"/>
    <p:sldLayoutId id="2147483845" r:id="rId17"/>
    <p:sldLayoutId id="2147483759" r:id="rId18"/>
    <p:sldLayoutId id="2147483846" r:id="rId19"/>
    <p:sldLayoutId id="2147483847" r:id="rId20"/>
    <p:sldLayoutId id="2147483855" r:id="rId21"/>
    <p:sldLayoutId id="2147483854" r:id="rId22"/>
    <p:sldLayoutId id="2147483856" r:id="rId23"/>
    <p:sldLayoutId id="2147483765" r:id="rId24"/>
    <p:sldLayoutId id="2147483834" r:id="rId25"/>
    <p:sldLayoutId id="2147483767" r:id="rId26"/>
    <p:sldLayoutId id="2147483768" r:id="rId27"/>
    <p:sldLayoutId id="2147483769" r:id="rId28"/>
    <p:sldLayoutId id="2147483770" r:id="rId29"/>
    <p:sldLayoutId id="2147483830" r:id="rId30"/>
    <p:sldLayoutId id="2147483773" r:id="rId31"/>
    <p:sldLayoutId id="2147483831" r:id="rId32"/>
    <p:sldLayoutId id="2147483832" r:id="rId33"/>
    <p:sldLayoutId id="2147483776" r:id="rId34"/>
    <p:sldLayoutId id="2147483777" r:id="rId35"/>
    <p:sldLayoutId id="2147483851" r:id="rId36"/>
    <p:sldLayoutId id="2147483850" r:id="rId37"/>
    <p:sldLayoutId id="2147483833" r:id="rId38"/>
    <p:sldLayoutId id="2147483835" r:id="rId39"/>
    <p:sldLayoutId id="2147483840" r:id="rId40"/>
    <p:sldLayoutId id="2147483842" r:id="rId41"/>
    <p:sldLayoutId id="2147483857" r:id="rId42"/>
    <p:sldLayoutId id="2147483785" r:id="rId43"/>
    <p:sldLayoutId id="2147483848" r:id="rId44"/>
    <p:sldLayoutId id="2147483849" r:id="rId45"/>
    <p:sldLayoutId id="2147483837" r:id="rId46"/>
    <p:sldLayoutId id="2147483853" r:id="rId47"/>
    <p:sldLayoutId id="2147483838" r:id="rId48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100" b="1" kern="1200" cap="none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1800" b="0" kern="1200" cap="none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None/>
        <a:defRPr sz="1800" b="1" kern="1200" cap="all" baseline="0">
          <a:solidFill>
            <a:schemeClr val="accent1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800" b="0" kern="1200">
          <a:solidFill>
            <a:schemeClr val="tx2"/>
          </a:solidFill>
          <a:latin typeface="+mn-lt"/>
          <a:ea typeface="+mn-ea"/>
          <a:cs typeface="+mn-cs"/>
        </a:defRPr>
      </a:lvl4pPr>
      <a:lvl5pPr marL="342900" indent="-342900" algn="l" defTabSz="914400" rtl="0" eaLnBrk="1" latinLnBrk="0" hangingPunct="1">
        <a:lnSpc>
          <a:spcPct val="100000"/>
        </a:lnSpc>
        <a:spcBef>
          <a:spcPts val="600"/>
        </a:spcBef>
        <a:buFont typeface="+mj-lt"/>
        <a:buAutoNum type="arabicPeriod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210">
          <p15:clr>
            <a:srgbClr val="F26B43"/>
          </p15:clr>
        </p15:guide>
        <p15:guide id="4" orient="horz" pos="4110">
          <p15:clr>
            <a:srgbClr val="F26B43"/>
          </p15:clr>
        </p15:guide>
        <p15:guide id="5" pos="665">
          <p15:clr>
            <a:srgbClr val="F26B43"/>
          </p15:clr>
        </p15:guide>
        <p15:guide id="6" pos="7015">
          <p15:clr>
            <a:srgbClr val="F26B43"/>
          </p15:clr>
        </p15:guide>
        <p15:guide id="7" pos="211">
          <p15:clr>
            <a:srgbClr val="F26B43"/>
          </p15:clr>
        </p15:guide>
        <p15:guide id="8" pos="7469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C51AE1D-8F2F-B421-18B3-246420180B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1507180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4" imgH="344" progId="TCLayout.ActiveDocument.1">
                  <p:embed/>
                </p:oleObj>
              </mc:Choice>
              <mc:Fallback>
                <p:oleObj name="think-cell Slide" r:id="rId36" imgW="344" imgH="34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51AE1D-8F2F-B421-18B3-246420180B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1392E174-19C6-4D75-B1D5-4E68168B649B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DA36E3D-B4FD-4A23-9D91-DF456ABA0785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rcRect/>
          <a:stretch/>
        </p:blipFill>
        <p:spPr>
          <a:xfrm>
            <a:off x="10849038" y="333375"/>
            <a:ext cx="1008000" cy="448797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9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4962" y="1880315"/>
            <a:ext cx="10092745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3F0BE54F-04D4-4BBA-94B9-7398D026F34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969628" y="6288257"/>
            <a:ext cx="118355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D8C51A3-9A0B-48C0-A49D-C0744C219B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5688" y="6288257"/>
            <a:ext cx="791394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7437506A-1CC1-45F8-95E7-BC28DD723E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4962" y="6288257"/>
            <a:ext cx="72741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99287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4" r:id="rId2"/>
    <p:sldLayoutId id="2147483775" r:id="rId3"/>
    <p:sldLayoutId id="2147483780" r:id="rId4"/>
    <p:sldLayoutId id="2147483778" r:id="rId5"/>
    <p:sldLayoutId id="2147483790" r:id="rId6"/>
    <p:sldLayoutId id="2147483766" r:id="rId7"/>
    <p:sldLayoutId id="2147483781" r:id="rId8"/>
    <p:sldLayoutId id="2147483749" r:id="rId9"/>
    <p:sldLayoutId id="2147483788" r:id="rId10"/>
    <p:sldLayoutId id="2147483789" r:id="rId11"/>
    <p:sldLayoutId id="2147483751" r:id="rId12"/>
    <p:sldLayoutId id="2147483782" r:id="rId13"/>
    <p:sldLayoutId id="2147483753" r:id="rId14"/>
    <p:sldLayoutId id="2147483783" r:id="rId15"/>
    <p:sldLayoutId id="2147483771" r:id="rId16"/>
    <p:sldLayoutId id="2147483757" r:id="rId17"/>
    <p:sldLayoutId id="2147483758" r:id="rId18"/>
    <p:sldLayoutId id="2147483760" r:id="rId19"/>
    <p:sldLayoutId id="2147483761" r:id="rId20"/>
    <p:sldLayoutId id="2147483786" r:id="rId21"/>
    <p:sldLayoutId id="2147483787" r:id="rId22"/>
    <p:sldLayoutId id="2147483779" r:id="rId23"/>
    <p:sldLayoutId id="2147483823" r:id="rId24"/>
    <p:sldLayoutId id="2147483824" r:id="rId25"/>
    <p:sldLayoutId id="2147483825" r:id="rId26"/>
    <p:sldLayoutId id="2147483791" r:id="rId27"/>
    <p:sldLayoutId id="2147483763" r:id="rId28"/>
    <p:sldLayoutId id="2147483762" r:id="rId29"/>
    <p:sldLayoutId id="2147483764" r:id="rId30"/>
    <p:sldLayoutId id="2147483784" r:id="rId31"/>
    <p:sldLayoutId id="2147483826" r:id="rId32"/>
    <p:sldLayoutId id="2147483827" r:id="rId33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100" b="1" kern="1200" cap="none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1800" b="0" kern="1200" cap="none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None/>
        <a:defRPr sz="1800" b="1" kern="1200" cap="all" baseline="0">
          <a:solidFill>
            <a:schemeClr val="accent1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800" b="0" kern="1200">
          <a:solidFill>
            <a:schemeClr val="tx2"/>
          </a:solidFill>
          <a:latin typeface="+mn-lt"/>
          <a:ea typeface="+mn-ea"/>
          <a:cs typeface="+mn-cs"/>
        </a:defRPr>
      </a:lvl4pPr>
      <a:lvl5pPr marL="342900" indent="-342900" algn="l" defTabSz="914400" rtl="0" eaLnBrk="1" latinLnBrk="0" hangingPunct="1">
        <a:lnSpc>
          <a:spcPct val="100000"/>
        </a:lnSpc>
        <a:spcBef>
          <a:spcPts val="600"/>
        </a:spcBef>
        <a:buFont typeface="+mj-lt"/>
        <a:buAutoNum type="arabicPeriod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210">
          <p15:clr>
            <a:srgbClr val="F26B43"/>
          </p15:clr>
        </p15:guide>
        <p15:guide id="4" orient="horz" pos="4110">
          <p15:clr>
            <a:srgbClr val="F26B43"/>
          </p15:clr>
        </p15:guide>
        <p15:guide id="5" pos="665">
          <p15:clr>
            <a:srgbClr val="F26B43"/>
          </p15:clr>
        </p15:guide>
        <p15:guide id="6" pos="7015">
          <p15:clr>
            <a:srgbClr val="F26B43"/>
          </p15:clr>
        </p15:guide>
        <p15:guide id="7" pos="211">
          <p15:clr>
            <a:srgbClr val="F26B43"/>
          </p15:clr>
        </p15:guide>
        <p15:guide id="8" pos="7469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95884EB-B5E1-07CF-0F4C-BF79E9C82A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565786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344" imgH="344" progId="TCLayout.ActiveDocument.1">
                  <p:embed/>
                </p:oleObj>
              </mc:Choice>
              <mc:Fallback>
                <p:oleObj name="think-cell Slide" r:id="rId34" imgW="344" imgH="34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5884EB-B5E1-07CF-0F4C-BF79E9C82A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1392E174-19C6-4D75-B1D5-4E68168B649B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DA36E3D-B4FD-4A23-9D91-DF456ABA0785}"/>
              </a:ext>
            </a:extLst>
          </p:cNvPr>
          <p:cNvPicPr>
            <a:picLocks noChangeAspect="1"/>
          </p:cNvPicPr>
          <p:nvPr userDrawn="1"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rcRect/>
          <a:stretch/>
        </p:blipFill>
        <p:spPr>
          <a:xfrm>
            <a:off x="10849038" y="333375"/>
            <a:ext cx="1008000" cy="448797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9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4962" y="1880315"/>
            <a:ext cx="10092745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3F0BE54F-04D4-4BBA-94B9-7398D026F34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969628" y="6288257"/>
            <a:ext cx="118355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D8C51A3-9A0B-48C0-A49D-C0744C219B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5688" y="6288257"/>
            <a:ext cx="791394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fr-FR"/>
              <a:t>FSC-IKEA Blockchain+EUDR Information Requirements 17-08-23</a:t>
            </a:r>
            <a:endParaRPr lang="en-GB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7437506A-1CC1-45F8-95E7-BC28DD723E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4962" y="6288257"/>
            <a:ext cx="72741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99287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9" r:id="rId1"/>
    <p:sldLayoutId id="2147483860" r:id="rId2"/>
    <p:sldLayoutId id="2147483861" r:id="rId3"/>
    <p:sldLayoutId id="2147483862" r:id="rId4"/>
    <p:sldLayoutId id="2147483863" r:id="rId5"/>
    <p:sldLayoutId id="2147483864" r:id="rId6"/>
    <p:sldLayoutId id="2147483865" r:id="rId7"/>
    <p:sldLayoutId id="2147483866" r:id="rId8"/>
    <p:sldLayoutId id="2147483867" r:id="rId9"/>
    <p:sldLayoutId id="2147483868" r:id="rId10"/>
    <p:sldLayoutId id="2147483869" r:id="rId11"/>
    <p:sldLayoutId id="2147483870" r:id="rId12"/>
    <p:sldLayoutId id="2147483871" r:id="rId13"/>
    <p:sldLayoutId id="2147483872" r:id="rId14"/>
    <p:sldLayoutId id="2147483873" r:id="rId15"/>
    <p:sldLayoutId id="2147483874" r:id="rId16"/>
    <p:sldLayoutId id="2147483875" r:id="rId17"/>
    <p:sldLayoutId id="2147483876" r:id="rId18"/>
    <p:sldLayoutId id="2147483877" r:id="rId19"/>
    <p:sldLayoutId id="2147483878" r:id="rId20"/>
    <p:sldLayoutId id="2147483879" r:id="rId21"/>
    <p:sldLayoutId id="2147483880" r:id="rId22"/>
    <p:sldLayoutId id="2147483881" r:id="rId23"/>
    <p:sldLayoutId id="2147483882" r:id="rId24"/>
    <p:sldLayoutId id="2147483883" r:id="rId25"/>
    <p:sldLayoutId id="2147483884" r:id="rId26"/>
    <p:sldLayoutId id="2147483885" r:id="rId27"/>
    <p:sldLayoutId id="2147483886" r:id="rId28"/>
    <p:sldLayoutId id="2147483887" r:id="rId29"/>
    <p:sldLayoutId id="2147483888" r:id="rId30"/>
    <p:sldLayoutId id="2147483889" r:id="rId31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100" b="1" kern="1200" cap="none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1800" b="0" kern="1200" cap="none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None/>
        <a:defRPr sz="1800" b="1" kern="1200" cap="all" baseline="0">
          <a:solidFill>
            <a:schemeClr val="accent1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800" b="0" kern="1200">
          <a:solidFill>
            <a:schemeClr val="tx2"/>
          </a:solidFill>
          <a:latin typeface="+mn-lt"/>
          <a:ea typeface="+mn-ea"/>
          <a:cs typeface="+mn-cs"/>
        </a:defRPr>
      </a:lvl4pPr>
      <a:lvl5pPr marL="342900" indent="-342900" algn="l" defTabSz="914400" rtl="0" eaLnBrk="1" latinLnBrk="0" hangingPunct="1">
        <a:lnSpc>
          <a:spcPct val="100000"/>
        </a:lnSpc>
        <a:spcBef>
          <a:spcPts val="600"/>
        </a:spcBef>
        <a:buFont typeface="+mj-lt"/>
        <a:buAutoNum type="arabicPeriod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210">
          <p15:clr>
            <a:srgbClr val="F26B43"/>
          </p15:clr>
        </p15:guide>
        <p15:guide id="4" orient="horz" pos="4110">
          <p15:clr>
            <a:srgbClr val="F26B43"/>
          </p15:clr>
        </p15:guide>
        <p15:guide id="5" pos="665">
          <p15:clr>
            <a:srgbClr val="F26B43"/>
          </p15:clr>
        </p15:guide>
        <p15:guide id="6" pos="7015">
          <p15:clr>
            <a:srgbClr val="F26B43"/>
          </p15:clr>
        </p15:guide>
        <p15:guide id="7" pos="211">
          <p15:clr>
            <a:srgbClr val="F26B43"/>
          </p15:clr>
        </p15:guide>
        <p15:guide id="8" pos="7469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56AFC3C-E94B-66D8-007F-D9244C1C29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321755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344" imgH="344" progId="TCLayout.ActiveDocument.1">
                  <p:embed/>
                </p:oleObj>
              </mc:Choice>
              <mc:Fallback>
                <p:oleObj name="think-cell Slide" r:id="rId34" imgW="344" imgH="34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6AFC3C-E94B-66D8-007F-D9244C1C29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1392E174-19C6-4D75-B1D5-4E68168B649B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DA36E3D-B4FD-4A23-9D91-DF456ABA0785}"/>
              </a:ext>
            </a:extLst>
          </p:cNvPr>
          <p:cNvPicPr>
            <a:picLocks noChangeAspect="1"/>
          </p:cNvPicPr>
          <p:nvPr userDrawn="1"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rcRect/>
          <a:stretch/>
        </p:blipFill>
        <p:spPr>
          <a:xfrm>
            <a:off x="10849038" y="333375"/>
            <a:ext cx="1008000" cy="448797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9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4962" y="1880315"/>
            <a:ext cx="10092745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3F0BE54F-04D4-4BBA-94B9-7398D026F34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969628" y="6288257"/>
            <a:ext cx="118355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D8C51A3-9A0B-48C0-A49D-C0744C219B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5688" y="6288257"/>
            <a:ext cx="791394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7437506A-1CC1-45F8-95E7-BC28DD723E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4962" y="6288257"/>
            <a:ext cx="72741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99287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1" r:id="rId1"/>
    <p:sldLayoutId id="2147483892" r:id="rId2"/>
    <p:sldLayoutId id="2147483893" r:id="rId3"/>
    <p:sldLayoutId id="2147483894" r:id="rId4"/>
    <p:sldLayoutId id="2147483895" r:id="rId5"/>
    <p:sldLayoutId id="2147483896" r:id="rId6"/>
    <p:sldLayoutId id="2147483897" r:id="rId7"/>
    <p:sldLayoutId id="2147483898" r:id="rId8"/>
    <p:sldLayoutId id="2147483899" r:id="rId9"/>
    <p:sldLayoutId id="2147483900" r:id="rId10"/>
    <p:sldLayoutId id="2147483901" r:id="rId11"/>
    <p:sldLayoutId id="2147483902" r:id="rId12"/>
    <p:sldLayoutId id="2147483903" r:id="rId13"/>
    <p:sldLayoutId id="2147483904" r:id="rId14"/>
    <p:sldLayoutId id="2147483905" r:id="rId15"/>
    <p:sldLayoutId id="2147483906" r:id="rId16"/>
    <p:sldLayoutId id="2147483907" r:id="rId17"/>
    <p:sldLayoutId id="2147483908" r:id="rId18"/>
    <p:sldLayoutId id="2147483909" r:id="rId19"/>
    <p:sldLayoutId id="2147483910" r:id="rId20"/>
    <p:sldLayoutId id="2147483911" r:id="rId21"/>
    <p:sldLayoutId id="2147483912" r:id="rId22"/>
    <p:sldLayoutId id="2147483913" r:id="rId23"/>
    <p:sldLayoutId id="2147483914" r:id="rId24"/>
    <p:sldLayoutId id="2147483915" r:id="rId25"/>
    <p:sldLayoutId id="2147483916" r:id="rId26"/>
    <p:sldLayoutId id="2147483917" r:id="rId27"/>
    <p:sldLayoutId id="2147483918" r:id="rId28"/>
    <p:sldLayoutId id="2147483919" r:id="rId29"/>
    <p:sldLayoutId id="2147483920" r:id="rId30"/>
    <p:sldLayoutId id="2147483921" r:id="rId31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100" b="1" kern="1200" cap="none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1800" b="0" kern="1200" cap="none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None/>
        <a:defRPr sz="1800" b="1" kern="1200" cap="all" baseline="0">
          <a:solidFill>
            <a:schemeClr val="accent1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800" b="0" kern="1200">
          <a:solidFill>
            <a:schemeClr val="tx2"/>
          </a:solidFill>
          <a:latin typeface="+mn-lt"/>
          <a:ea typeface="+mn-ea"/>
          <a:cs typeface="+mn-cs"/>
        </a:defRPr>
      </a:lvl4pPr>
      <a:lvl5pPr marL="342900" indent="-342900" algn="l" defTabSz="914400" rtl="0" eaLnBrk="1" latinLnBrk="0" hangingPunct="1">
        <a:lnSpc>
          <a:spcPct val="100000"/>
        </a:lnSpc>
        <a:spcBef>
          <a:spcPts val="600"/>
        </a:spcBef>
        <a:buFont typeface="+mj-lt"/>
        <a:buAutoNum type="arabicPeriod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210">
          <p15:clr>
            <a:srgbClr val="F26B43"/>
          </p15:clr>
        </p15:guide>
        <p15:guide id="4" orient="horz" pos="4110">
          <p15:clr>
            <a:srgbClr val="F26B43"/>
          </p15:clr>
        </p15:guide>
        <p15:guide id="5" pos="665">
          <p15:clr>
            <a:srgbClr val="F26B43"/>
          </p15:clr>
        </p15:guide>
        <p15:guide id="6" pos="7015">
          <p15:clr>
            <a:srgbClr val="F26B43"/>
          </p15:clr>
        </p15:guide>
        <p15:guide id="7" pos="211">
          <p15:clr>
            <a:srgbClr val="F26B43"/>
          </p15:clr>
        </p15:guide>
        <p15:guide id="8" pos="7469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42AAAB2-536B-8F76-B15D-9EEE40C5A0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29591288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4" imgH="344" progId="TCLayout.ActiveDocument.1">
                  <p:embed/>
                </p:oleObj>
              </mc:Choice>
              <mc:Fallback>
                <p:oleObj name="think-cell Slide" r:id="rId36" imgW="344" imgH="34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42AAAB2-536B-8F76-B15D-9EEE40C5A0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1392E174-19C6-4D75-B1D5-4E68168B649B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DA36E3D-B4FD-4A23-9D91-DF456ABA0785}"/>
              </a:ext>
            </a:extLst>
          </p:cNvPr>
          <p:cNvPicPr>
            <a:picLocks noChangeAspect="1"/>
          </p:cNvPicPr>
          <p:nvPr userDrawn="1"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rcRect/>
          <a:stretch/>
        </p:blipFill>
        <p:spPr>
          <a:xfrm>
            <a:off x="10849038" y="333375"/>
            <a:ext cx="1008000" cy="448797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9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4962" y="1880315"/>
            <a:ext cx="10092745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3F0BE54F-04D4-4BBA-94B9-7398D026F34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969628" y="6288257"/>
            <a:ext cx="118355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D8C51A3-9A0B-48C0-A49D-C0744C219B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5688" y="6288257"/>
            <a:ext cx="791394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7437506A-1CC1-45F8-95E7-BC28DD723E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4962" y="6288257"/>
            <a:ext cx="72741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99287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3" r:id="rId1"/>
    <p:sldLayoutId id="2147483924" r:id="rId2"/>
    <p:sldLayoutId id="2147483925" r:id="rId3"/>
    <p:sldLayoutId id="2147483926" r:id="rId4"/>
    <p:sldLayoutId id="2147483927" r:id="rId5"/>
    <p:sldLayoutId id="2147483928" r:id="rId6"/>
    <p:sldLayoutId id="2147483828" r:id="rId7"/>
    <p:sldLayoutId id="2147483931" r:id="rId8"/>
    <p:sldLayoutId id="2147483932" r:id="rId9"/>
    <p:sldLayoutId id="2147483933" r:id="rId10"/>
    <p:sldLayoutId id="2147483934" r:id="rId11"/>
    <p:sldLayoutId id="2147483935" r:id="rId12"/>
    <p:sldLayoutId id="2147483936" r:id="rId13"/>
    <p:sldLayoutId id="2147483937" r:id="rId14"/>
    <p:sldLayoutId id="2147483938" r:id="rId15"/>
    <p:sldLayoutId id="2147483939" r:id="rId16"/>
    <p:sldLayoutId id="2147483940" r:id="rId17"/>
    <p:sldLayoutId id="2147483941" r:id="rId18"/>
    <p:sldLayoutId id="2147483942" r:id="rId19"/>
    <p:sldLayoutId id="2147483943" r:id="rId20"/>
    <p:sldLayoutId id="2147483944" r:id="rId21"/>
    <p:sldLayoutId id="2147483945" r:id="rId22"/>
    <p:sldLayoutId id="2147483946" r:id="rId23"/>
    <p:sldLayoutId id="2147483947" r:id="rId24"/>
    <p:sldLayoutId id="2147483948" r:id="rId25"/>
    <p:sldLayoutId id="2147483949" r:id="rId26"/>
    <p:sldLayoutId id="2147483950" r:id="rId27"/>
    <p:sldLayoutId id="2147483951" r:id="rId28"/>
    <p:sldLayoutId id="2147483952" r:id="rId29"/>
    <p:sldLayoutId id="2147483953" r:id="rId30"/>
    <p:sldLayoutId id="2147483954" r:id="rId31"/>
    <p:sldLayoutId id="2147483955" r:id="rId32"/>
    <p:sldLayoutId id="2147483829" r:id="rId33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100" b="1" kern="1200" cap="none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1800" b="0" kern="1200" cap="none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None/>
        <a:defRPr sz="1800" b="1" kern="1200" cap="all" baseline="0">
          <a:solidFill>
            <a:schemeClr val="accent1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800" b="0" kern="1200">
          <a:solidFill>
            <a:schemeClr val="tx2"/>
          </a:solidFill>
          <a:latin typeface="+mn-lt"/>
          <a:ea typeface="+mn-ea"/>
          <a:cs typeface="+mn-cs"/>
        </a:defRPr>
      </a:lvl4pPr>
      <a:lvl5pPr marL="342900" indent="-342900" algn="l" defTabSz="914400" rtl="0" eaLnBrk="1" latinLnBrk="0" hangingPunct="1">
        <a:lnSpc>
          <a:spcPct val="100000"/>
        </a:lnSpc>
        <a:spcBef>
          <a:spcPts val="600"/>
        </a:spcBef>
        <a:buFont typeface="+mj-lt"/>
        <a:buAutoNum type="arabicPeriod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210">
          <p15:clr>
            <a:srgbClr val="F26B43"/>
          </p15:clr>
        </p15:guide>
        <p15:guide id="4" orient="horz" pos="4110">
          <p15:clr>
            <a:srgbClr val="F26B43"/>
          </p15:clr>
        </p15:guide>
        <p15:guide id="5" pos="665">
          <p15:clr>
            <a:srgbClr val="F26B43"/>
          </p15:clr>
        </p15:guide>
        <p15:guide id="6" pos="7015">
          <p15:clr>
            <a:srgbClr val="F26B43"/>
          </p15:clr>
        </p15:guide>
        <p15:guide id="7" pos="211">
          <p15:clr>
            <a:srgbClr val="F26B43"/>
          </p15:clr>
        </p15:guide>
        <p15:guide id="8" pos="7469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F72217B-2E00-D395-F3AF-90659BD98C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3993053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1" imgW="344" imgH="344" progId="TCLayout.ActiveDocument.1">
                  <p:embed/>
                </p:oleObj>
              </mc:Choice>
              <mc:Fallback>
                <p:oleObj name="think-cell Slide" r:id="rId51" imgW="344" imgH="34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F72217B-2E00-D395-F3AF-90659BD98C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1392E174-19C6-4D75-B1D5-4E68168B649B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DA36E3D-B4FD-4A23-9D91-DF456ABA0785}"/>
              </a:ext>
            </a:extLst>
          </p:cNvPr>
          <p:cNvPicPr>
            <a:picLocks noChangeAspect="1"/>
          </p:cNvPicPr>
          <p:nvPr userDrawn="1"/>
        </p:nvPicPr>
        <p:blipFill>
          <a:blip r:embed="rId5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4"/>
              </a:ext>
            </a:extLst>
          </a:blip>
          <a:srcRect/>
          <a:stretch/>
        </p:blipFill>
        <p:spPr>
          <a:xfrm>
            <a:off x="10849038" y="333375"/>
            <a:ext cx="1008000" cy="448797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9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4962" y="1880315"/>
            <a:ext cx="10092745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3F0BE54F-04D4-4BBA-94B9-7398D026F34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969628" y="6288257"/>
            <a:ext cx="118355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D8C51A3-9A0B-48C0-A49D-C0744C219B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5688" y="6288257"/>
            <a:ext cx="791394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7437506A-1CC1-45F8-95E7-BC28DD723E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4962" y="6288257"/>
            <a:ext cx="72741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89408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9" r:id="rId1"/>
    <p:sldLayoutId id="2147483960" r:id="rId2"/>
    <p:sldLayoutId id="2147483961" r:id="rId3"/>
    <p:sldLayoutId id="2147483962" r:id="rId4"/>
    <p:sldLayoutId id="2147483963" r:id="rId5"/>
    <p:sldLayoutId id="2147483964" r:id="rId6"/>
    <p:sldLayoutId id="2147483965" r:id="rId7"/>
    <p:sldLayoutId id="2147483966" r:id="rId8"/>
    <p:sldLayoutId id="2147483967" r:id="rId9"/>
    <p:sldLayoutId id="2147483968" r:id="rId10"/>
    <p:sldLayoutId id="2147483969" r:id="rId11"/>
    <p:sldLayoutId id="2147483970" r:id="rId12"/>
    <p:sldLayoutId id="2147483971" r:id="rId13"/>
    <p:sldLayoutId id="2147483972" r:id="rId14"/>
    <p:sldLayoutId id="2147483973" r:id="rId15"/>
    <p:sldLayoutId id="2147483974" r:id="rId16"/>
    <p:sldLayoutId id="2147483975" r:id="rId17"/>
    <p:sldLayoutId id="2147483976" r:id="rId18"/>
    <p:sldLayoutId id="2147483977" r:id="rId19"/>
    <p:sldLayoutId id="2147483978" r:id="rId20"/>
    <p:sldLayoutId id="2147483979" r:id="rId21"/>
    <p:sldLayoutId id="2147483980" r:id="rId22"/>
    <p:sldLayoutId id="2147483981" r:id="rId23"/>
    <p:sldLayoutId id="2147483982" r:id="rId24"/>
    <p:sldLayoutId id="2147483983" r:id="rId25"/>
    <p:sldLayoutId id="2147483984" r:id="rId26"/>
    <p:sldLayoutId id="2147483985" r:id="rId27"/>
    <p:sldLayoutId id="2147483986" r:id="rId28"/>
    <p:sldLayoutId id="2147483987" r:id="rId29"/>
    <p:sldLayoutId id="2147483988" r:id="rId30"/>
    <p:sldLayoutId id="2147483989" r:id="rId31"/>
    <p:sldLayoutId id="2147483990" r:id="rId32"/>
    <p:sldLayoutId id="2147483991" r:id="rId33"/>
    <p:sldLayoutId id="2147483992" r:id="rId34"/>
    <p:sldLayoutId id="2147483993" r:id="rId35"/>
    <p:sldLayoutId id="2147483994" r:id="rId36"/>
    <p:sldLayoutId id="2147483995" r:id="rId37"/>
    <p:sldLayoutId id="2147483996" r:id="rId38"/>
    <p:sldLayoutId id="2147483997" r:id="rId39"/>
    <p:sldLayoutId id="2147483998" r:id="rId40"/>
    <p:sldLayoutId id="2147483999" r:id="rId41"/>
    <p:sldLayoutId id="2147484000" r:id="rId42"/>
    <p:sldLayoutId id="2147484001" r:id="rId43"/>
    <p:sldLayoutId id="2147484002" r:id="rId44"/>
    <p:sldLayoutId id="2147484003" r:id="rId45"/>
    <p:sldLayoutId id="2147484004" r:id="rId46"/>
    <p:sldLayoutId id="2147484005" r:id="rId47"/>
    <p:sldLayoutId id="2147484042" r:id="rId48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100" b="1" kern="1200" cap="none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1800" b="0" kern="1200" cap="none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None/>
        <a:defRPr sz="1800" b="1" kern="1200" cap="all" baseline="0">
          <a:solidFill>
            <a:schemeClr val="accent1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800" b="0" kern="1200">
          <a:solidFill>
            <a:schemeClr val="tx2"/>
          </a:solidFill>
          <a:latin typeface="+mn-lt"/>
          <a:ea typeface="+mn-ea"/>
          <a:cs typeface="+mn-cs"/>
        </a:defRPr>
      </a:lvl4pPr>
      <a:lvl5pPr marL="342900" indent="-342900" algn="l" defTabSz="914400" rtl="0" eaLnBrk="1" latinLnBrk="0" hangingPunct="1">
        <a:lnSpc>
          <a:spcPct val="100000"/>
        </a:lnSpc>
        <a:spcBef>
          <a:spcPts val="600"/>
        </a:spcBef>
        <a:buFont typeface="+mj-lt"/>
        <a:buAutoNum type="arabicPeriod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210">
          <p15:clr>
            <a:srgbClr val="F26B43"/>
          </p15:clr>
        </p15:guide>
        <p15:guide id="4" orient="horz" pos="4110">
          <p15:clr>
            <a:srgbClr val="F26B43"/>
          </p15:clr>
        </p15:guide>
        <p15:guide id="5" pos="665">
          <p15:clr>
            <a:srgbClr val="F26B43"/>
          </p15:clr>
        </p15:guide>
        <p15:guide id="6" pos="7015">
          <p15:clr>
            <a:srgbClr val="F26B43"/>
          </p15:clr>
        </p15:guide>
        <p15:guide id="7" pos="211">
          <p15:clr>
            <a:srgbClr val="F26B43"/>
          </p15:clr>
        </p15:guide>
        <p15:guide id="8" pos="7469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1392E174-19C6-4D75-B1D5-4E68168B649B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DA36E3D-B4FD-4A23-9D91-DF456ABA0785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4"/>
              </a:ext>
            </a:extLst>
          </a:blip>
          <a:srcRect/>
          <a:stretch/>
        </p:blipFill>
        <p:spPr>
          <a:xfrm>
            <a:off x="10849038" y="333375"/>
            <a:ext cx="1008000" cy="448797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4962" y="333375"/>
            <a:ext cx="10080000" cy="9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4962" y="1880315"/>
            <a:ext cx="10092745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3F0BE54F-04D4-4BBA-94B9-7398D026F34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969628" y="6288257"/>
            <a:ext cx="118355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D8C51A3-9A0B-48C0-A49D-C0744C219B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5688" y="6288257"/>
            <a:ext cx="791394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/>
              <a:t>Insert &gt; Header &amp; Footer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7437506A-1CC1-45F8-95E7-BC28DD723E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4962" y="6288257"/>
            <a:ext cx="72741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F5AEA0E0-5CC6-4BD0-905C-A0021E419432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99287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0" r:id="rId1"/>
    <p:sldLayoutId id="2147484011" r:id="rId2"/>
    <p:sldLayoutId id="2147484012" r:id="rId3"/>
    <p:sldLayoutId id="2147484013" r:id="rId4"/>
    <p:sldLayoutId id="2147484014" r:id="rId5"/>
    <p:sldLayoutId id="2147484015" r:id="rId6"/>
    <p:sldLayoutId id="2147484016" r:id="rId7"/>
    <p:sldLayoutId id="2147484017" r:id="rId8"/>
    <p:sldLayoutId id="2147484018" r:id="rId9"/>
    <p:sldLayoutId id="2147484019" r:id="rId10"/>
    <p:sldLayoutId id="2147484020" r:id="rId11"/>
    <p:sldLayoutId id="2147484021" r:id="rId12"/>
    <p:sldLayoutId id="2147484022" r:id="rId13"/>
    <p:sldLayoutId id="2147484023" r:id="rId14"/>
    <p:sldLayoutId id="2147484024" r:id="rId15"/>
    <p:sldLayoutId id="2147484025" r:id="rId16"/>
    <p:sldLayoutId id="2147484026" r:id="rId17"/>
    <p:sldLayoutId id="2147484027" r:id="rId18"/>
    <p:sldLayoutId id="2147484028" r:id="rId19"/>
    <p:sldLayoutId id="2147484029" r:id="rId20"/>
    <p:sldLayoutId id="2147484030" r:id="rId21"/>
    <p:sldLayoutId id="2147484031" r:id="rId22"/>
    <p:sldLayoutId id="2147484032" r:id="rId23"/>
    <p:sldLayoutId id="2147484033" r:id="rId24"/>
    <p:sldLayoutId id="2147484034" r:id="rId25"/>
    <p:sldLayoutId id="2147484035" r:id="rId26"/>
    <p:sldLayoutId id="2147484036" r:id="rId27"/>
    <p:sldLayoutId id="2147484037" r:id="rId28"/>
    <p:sldLayoutId id="2147484038" r:id="rId29"/>
    <p:sldLayoutId id="2147484039" r:id="rId30"/>
    <p:sldLayoutId id="2147484040" r:id="rId31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100" b="1" kern="1200" cap="none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1800" b="0" kern="1200" cap="none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None/>
        <a:defRPr sz="1800" b="1" kern="1200" cap="all" baseline="0">
          <a:solidFill>
            <a:schemeClr val="accent1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800" b="0" kern="1200">
          <a:solidFill>
            <a:schemeClr val="tx2"/>
          </a:solidFill>
          <a:latin typeface="+mn-lt"/>
          <a:ea typeface="+mn-ea"/>
          <a:cs typeface="+mn-cs"/>
        </a:defRPr>
      </a:lvl4pPr>
      <a:lvl5pPr marL="342900" indent="-342900" algn="l" defTabSz="914400" rtl="0" eaLnBrk="1" latinLnBrk="0" hangingPunct="1">
        <a:lnSpc>
          <a:spcPct val="100000"/>
        </a:lnSpc>
        <a:spcBef>
          <a:spcPts val="600"/>
        </a:spcBef>
        <a:buFont typeface="+mj-lt"/>
        <a:buAutoNum type="arabicPeriod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210">
          <p15:clr>
            <a:srgbClr val="F26B43"/>
          </p15:clr>
        </p15:guide>
        <p15:guide id="4" orient="horz" pos="4110">
          <p15:clr>
            <a:srgbClr val="F26B43"/>
          </p15:clr>
        </p15:guide>
        <p15:guide id="5" pos="665">
          <p15:clr>
            <a:srgbClr val="F26B43"/>
          </p15:clr>
        </p15:guide>
        <p15:guide id="6" pos="7015">
          <p15:clr>
            <a:srgbClr val="F26B43"/>
          </p15:clr>
        </p15:guide>
        <p15:guide id="7" pos="211">
          <p15:clr>
            <a:srgbClr val="F26B43"/>
          </p15:clr>
        </p15:guide>
        <p15:guide id="8" pos="746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5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kedin.com/events/launchevent-fscalignedforeudr7193967598538022912/comments/" TargetMode="External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60.xml"/><Relationship Id="rId5" Type="http://schemas.openxmlformats.org/officeDocument/2006/relationships/hyperlink" Target="https://www.linkedin.com/company/fsc-france-forest-stewardship-council-/?viewAsMember=true" TargetMode="External"/><Relationship Id="rId4" Type="http://schemas.openxmlformats.org/officeDocument/2006/relationships/hyperlink" Target="https://www.linkedin.com/company/fsc-international-bonn/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fsc.org/en/eudr-regulation-on-deforestation-free-products" TargetMode="External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60.xml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E246B7F4-19EE-6CCC-D660-398492DB2993}"/>
              </a:ext>
            </a:extLst>
          </p:cNvPr>
          <p:cNvSpPr/>
          <p:nvPr/>
        </p:nvSpPr>
        <p:spPr>
          <a:xfrm>
            <a:off x="1308267" y="2786475"/>
            <a:ext cx="580918" cy="1005567"/>
          </a:xfrm>
          <a:prstGeom prst="rect">
            <a:avLst/>
          </a:prstGeom>
          <a:solidFill>
            <a:srgbClr val="A1DA8E"/>
          </a:solidFill>
          <a:ln>
            <a:solidFill>
              <a:srgbClr val="A1DA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954A0DD7-6D15-2F78-E762-AE51E6FBA203}"/>
              </a:ext>
            </a:extLst>
          </p:cNvPr>
          <p:cNvSpPr/>
          <p:nvPr/>
        </p:nvSpPr>
        <p:spPr>
          <a:xfrm>
            <a:off x="1418928" y="1750390"/>
            <a:ext cx="6692685" cy="1895061"/>
          </a:xfrm>
          <a:prstGeom prst="roundRect">
            <a:avLst/>
          </a:prstGeom>
          <a:solidFill>
            <a:schemeClr val="accent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489120D8-30DC-CA5D-99C3-6544874789C1}"/>
              </a:ext>
            </a:extLst>
          </p:cNvPr>
          <p:cNvSpPr txBox="1"/>
          <p:nvPr/>
        </p:nvSpPr>
        <p:spPr>
          <a:xfrm>
            <a:off x="2189571" y="1883898"/>
            <a:ext cx="5813887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2400" b="1" dirty="0">
                <a:solidFill>
                  <a:schemeClr val="bg1"/>
                </a:solidFill>
              </a:rPr>
              <a:t>Décision du conseil d'administration de FSC</a:t>
            </a:r>
          </a:p>
          <a:p>
            <a:r>
              <a:rPr lang="fr-FR" sz="2000" b="1" dirty="0">
                <a:solidFill>
                  <a:schemeClr val="bg1"/>
                </a:solidFill>
              </a:rPr>
              <a:t>1er août 2023 </a:t>
            </a:r>
            <a:endParaRPr lang="fr-FR" dirty="0">
              <a:solidFill>
                <a:schemeClr val="bg1"/>
              </a:solidFill>
            </a:endParaRPr>
          </a:p>
        </p:txBody>
      </p:sp>
      <p:sp>
        <p:nvSpPr>
          <p:cNvPr id="6" name="Rectangle : coins arrondis 5">
            <a:extLst>
              <a:ext uri="{FF2B5EF4-FFF2-40B4-BE49-F238E27FC236}">
                <a16:creationId xmlns:a16="http://schemas.microsoft.com/office/drawing/2014/main" id="{CBB47F77-5AB8-1F04-20B4-29C51C229331}"/>
              </a:ext>
            </a:extLst>
          </p:cNvPr>
          <p:cNvSpPr/>
          <p:nvPr/>
        </p:nvSpPr>
        <p:spPr>
          <a:xfrm>
            <a:off x="1308267" y="2798139"/>
            <a:ext cx="9871362" cy="2766918"/>
          </a:xfrm>
          <a:prstGeom prst="roundRect">
            <a:avLst/>
          </a:prstGeom>
          <a:solidFill>
            <a:srgbClr val="A1DA8E"/>
          </a:solidFill>
          <a:ln>
            <a:solidFill>
              <a:srgbClr val="A1DA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7A878A53-E9E5-4FA8-A7A9-DEAC7165E3D4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pPr>
              <a:defRPr/>
            </a:pPr>
            <a:fld id="{86CB4B4D-7CA3-9044-876B-883B54F8677D}" type="slidenum">
              <a:rPr lang="en-DE" smtClean="0">
                <a:solidFill>
                  <a:prstClr val="black">
                    <a:tint val="75000"/>
                  </a:prstClr>
                </a:solidFill>
                <a:latin typeface="Arial" panose="020B0604020202020204"/>
              </a:rPr>
              <a:pPr>
                <a:defRPr/>
              </a:pPr>
              <a:t>1</a:t>
            </a:fld>
            <a:endParaRPr lang="en-DE">
              <a:solidFill>
                <a:prstClr val="black">
                  <a:tint val="75000"/>
                </a:prstClr>
              </a:solidFill>
              <a:latin typeface="Arial" panose="020B0604020202020204"/>
            </a:endParaRP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BC5D631B-0C22-4061-A9A3-203263036581}"/>
              </a:ext>
            </a:extLst>
          </p:cNvPr>
          <p:cNvSpPr txBox="1">
            <a:spLocks/>
          </p:cNvSpPr>
          <p:nvPr/>
        </p:nvSpPr>
        <p:spPr>
          <a:xfrm>
            <a:off x="334963" y="333375"/>
            <a:ext cx="10080000" cy="1080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100" b="1" kern="1200" cap="none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dirty="0"/>
              <a:t>RDUE : priorité n°1 pour FSC</a:t>
            </a:r>
            <a:endParaRPr lang="en-AU" dirty="0"/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993EEEEE-0A97-9325-A667-046B3BF3ACC7}"/>
              </a:ext>
            </a:extLst>
          </p:cNvPr>
          <p:cNvSpPr txBox="1"/>
          <p:nvPr/>
        </p:nvSpPr>
        <p:spPr>
          <a:xfrm>
            <a:off x="1552975" y="3011289"/>
            <a:ext cx="9381945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2000" dirty="0">
                <a:solidFill>
                  <a:schemeClr val="accent2"/>
                </a:solidFill>
              </a:rPr>
              <a:t>Le Conseil s'est vu présenter un certain nombre d'options stratégiques [relatives au règlement européen sur les droits de propriété intellectuelle et à d'autres règlements européens en vigueur] et a suivi la recommandation de l'équipe exécutive de [...] </a:t>
            </a:r>
            <a:r>
              <a:rPr lang="fr-FR" sz="2000" b="1" dirty="0">
                <a:solidFill>
                  <a:schemeClr val="accent2"/>
                </a:solidFill>
              </a:rPr>
              <a:t>réviser le cadre réglementaire </a:t>
            </a:r>
            <a:r>
              <a:rPr lang="fr-FR" sz="2000" dirty="0">
                <a:solidFill>
                  <a:schemeClr val="accent2"/>
                </a:solidFill>
              </a:rPr>
              <a:t>[...]. Le Conseil a également noté le </a:t>
            </a:r>
            <a:r>
              <a:rPr lang="fr-FR" sz="2000" b="1" dirty="0">
                <a:solidFill>
                  <a:schemeClr val="accent2"/>
                </a:solidFill>
              </a:rPr>
              <a:t>rôle clé des solutions  technologiques</a:t>
            </a:r>
            <a:r>
              <a:rPr lang="fr-FR" sz="2000" dirty="0">
                <a:solidFill>
                  <a:schemeClr val="accent2"/>
                </a:solidFill>
              </a:rPr>
              <a:t>, qui sont déjà en cours de développement. Elles fourniront aux entreprises les données détaillées sur la chaîne d'approvisionnement requises par les règlements de l'UE.</a:t>
            </a:r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A9F9261A-C468-6876-0694-33728FCFBC58}"/>
              </a:ext>
            </a:extLst>
          </p:cNvPr>
          <p:cNvSpPr/>
          <p:nvPr/>
        </p:nvSpPr>
        <p:spPr>
          <a:xfrm>
            <a:off x="649340" y="1606157"/>
            <a:ext cx="1405132" cy="1405132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10" name="Image 9" descr="Une image contenant symbole, logo, blanc&#10;&#10;Description générée automatiquement">
            <a:extLst>
              <a:ext uri="{FF2B5EF4-FFF2-40B4-BE49-F238E27FC236}">
                <a16:creationId xmlns:a16="http://schemas.microsoft.com/office/drawing/2014/main" id="{ECFD585E-72BE-1482-B099-B438471D09A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180" y="1973825"/>
            <a:ext cx="755451" cy="755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0253845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EA90738-255C-4D45-B3A4-CEF283D960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333377"/>
            <a:ext cx="11857037" cy="565185"/>
          </a:xfrm>
        </p:spPr>
        <p:txBody>
          <a:bodyPr/>
          <a:lstStyle/>
          <a:p>
            <a:r>
              <a:rPr lang="fr-FR" dirty="0"/>
              <a:t>Vers la mise en œuvre du RDUE dans le système FSC</a:t>
            </a:r>
            <a:endParaRPr lang="en-AU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9DC07DD-D0F4-4DE2-8C46-D8CA870C13E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334963" y="6054204"/>
            <a:ext cx="727411" cy="365125"/>
          </a:xfrm>
        </p:spPr>
        <p:txBody>
          <a:bodyPr/>
          <a:lstStyle/>
          <a:p>
            <a:fld id="{F5AEA0E0-5CC6-4BD0-905C-A0021E419432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9" name="TextBox 5">
            <a:extLst>
              <a:ext uri="{FF2B5EF4-FFF2-40B4-BE49-F238E27FC236}">
                <a16:creationId xmlns:a16="http://schemas.microsoft.com/office/drawing/2014/main" id="{2CC2624A-2AF5-69CC-D6DC-4960DA1CA8FC}"/>
              </a:ext>
            </a:extLst>
          </p:cNvPr>
          <p:cNvSpPr txBox="1"/>
          <p:nvPr/>
        </p:nvSpPr>
        <p:spPr>
          <a:xfrm>
            <a:off x="1671979" y="4947660"/>
            <a:ext cx="817853" cy="3002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351">
                <a:solidFill>
                  <a:schemeClr val="tx2"/>
                </a:solidFill>
                <a:latin typeface="+mj-lt"/>
              </a:rPr>
              <a:t>Februar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F74677F-E555-14B7-4EDF-B92F6146230D}"/>
              </a:ext>
            </a:extLst>
          </p:cNvPr>
          <p:cNvSpPr/>
          <p:nvPr/>
        </p:nvSpPr>
        <p:spPr>
          <a:xfrm>
            <a:off x="0" y="4777837"/>
            <a:ext cx="12192000" cy="72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351"/>
          </a:p>
        </p:txBody>
      </p:sp>
      <p:sp>
        <p:nvSpPr>
          <p:cNvPr id="11" name="Isosceles Triangle 6">
            <a:extLst>
              <a:ext uri="{FF2B5EF4-FFF2-40B4-BE49-F238E27FC236}">
                <a16:creationId xmlns:a16="http://schemas.microsoft.com/office/drawing/2014/main" id="{F9898B76-4E66-9B11-A173-FEE5814F312C}"/>
              </a:ext>
            </a:extLst>
          </p:cNvPr>
          <p:cNvSpPr/>
          <p:nvPr/>
        </p:nvSpPr>
        <p:spPr>
          <a:xfrm rot="5400000">
            <a:off x="11471747" y="5030608"/>
            <a:ext cx="478367" cy="214459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351"/>
          </a:p>
        </p:txBody>
      </p:sp>
      <p:sp>
        <p:nvSpPr>
          <p:cNvPr id="12" name="Oval 7">
            <a:extLst>
              <a:ext uri="{FF2B5EF4-FFF2-40B4-BE49-F238E27FC236}">
                <a16:creationId xmlns:a16="http://schemas.microsoft.com/office/drawing/2014/main" id="{16AA176E-856B-DFDE-088C-889881B97A95}"/>
              </a:ext>
            </a:extLst>
          </p:cNvPr>
          <p:cNvSpPr/>
          <p:nvPr/>
        </p:nvSpPr>
        <p:spPr>
          <a:xfrm>
            <a:off x="334964" y="4939837"/>
            <a:ext cx="396000" cy="396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351"/>
          </a:p>
        </p:txBody>
      </p:sp>
      <p:sp>
        <p:nvSpPr>
          <p:cNvPr id="15" name="TextBox 10">
            <a:extLst>
              <a:ext uri="{FF2B5EF4-FFF2-40B4-BE49-F238E27FC236}">
                <a16:creationId xmlns:a16="http://schemas.microsoft.com/office/drawing/2014/main" id="{E62D05C5-5931-D6BA-2BDA-B320E0844D1A}"/>
              </a:ext>
            </a:extLst>
          </p:cNvPr>
          <p:cNvSpPr txBox="1"/>
          <p:nvPr/>
        </p:nvSpPr>
        <p:spPr>
          <a:xfrm>
            <a:off x="8601555" y="4905119"/>
            <a:ext cx="164500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2400" dirty="0">
                <a:solidFill>
                  <a:schemeClr val="tx2"/>
                </a:solidFill>
                <a:latin typeface="+mj-lt"/>
              </a:rPr>
              <a:t>Début 2025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9815BA3-7B6D-834E-EFA3-25D60F6C5F8D}"/>
              </a:ext>
            </a:extLst>
          </p:cNvPr>
          <p:cNvSpPr txBox="1"/>
          <p:nvPr/>
        </p:nvSpPr>
        <p:spPr>
          <a:xfrm>
            <a:off x="7612759" y="2049282"/>
            <a:ext cx="3709805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accent2"/>
                </a:solidFill>
              </a:rPr>
              <a:t>L'analyse de risque est compatible avec le RDUE pour 20 pays prioritaires.</a:t>
            </a:r>
          </a:p>
          <a:p>
            <a:pPr algn="ctr"/>
            <a:r>
              <a:rPr lang="fr-FR" dirty="0">
                <a:solidFill>
                  <a:schemeClr val="accent2"/>
                </a:solidFill>
              </a:rPr>
              <a:t>L'analyse de risque développée par FSC est déjà en place pour plus de 45 pays. L'objectif est maintenant d'ajouter les exigences du RDUE.</a:t>
            </a:r>
            <a:endParaRPr lang="en-US" dirty="0">
              <a:solidFill>
                <a:schemeClr val="accent2"/>
              </a:solidFill>
            </a:endParaRPr>
          </a:p>
        </p:txBody>
      </p:sp>
      <p:cxnSp>
        <p:nvCxnSpPr>
          <p:cNvPr id="6" name="Straight Connector 28">
            <a:extLst>
              <a:ext uri="{FF2B5EF4-FFF2-40B4-BE49-F238E27FC236}">
                <a16:creationId xmlns:a16="http://schemas.microsoft.com/office/drawing/2014/main" id="{2CF5F026-40B9-66BE-046A-779C2E90E30B}"/>
              </a:ext>
            </a:extLst>
          </p:cNvPr>
          <p:cNvCxnSpPr>
            <a:cxnSpLocks/>
          </p:cNvCxnSpPr>
          <p:nvPr/>
        </p:nvCxnSpPr>
        <p:spPr>
          <a:xfrm>
            <a:off x="9467662" y="4261189"/>
            <a:ext cx="0" cy="657944"/>
          </a:xfrm>
          <a:prstGeom prst="line">
            <a:avLst/>
          </a:prstGeom>
          <a:ln w="7620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28">
            <a:extLst>
              <a:ext uri="{FF2B5EF4-FFF2-40B4-BE49-F238E27FC236}">
                <a16:creationId xmlns:a16="http://schemas.microsoft.com/office/drawing/2014/main" id="{3F7882BA-7A27-8B20-43CB-551770E6C00B}"/>
              </a:ext>
            </a:extLst>
          </p:cNvPr>
          <p:cNvCxnSpPr>
            <a:cxnSpLocks/>
          </p:cNvCxnSpPr>
          <p:nvPr/>
        </p:nvCxnSpPr>
        <p:spPr>
          <a:xfrm>
            <a:off x="1567926" y="4178394"/>
            <a:ext cx="0" cy="657944"/>
          </a:xfrm>
          <a:prstGeom prst="line">
            <a:avLst/>
          </a:prstGeom>
          <a:ln w="7620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28">
            <a:extLst>
              <a:ext uri="{FF2B5EF4-FFF2-40B4-BE49-F238E27FC236}">
                <a16:creationId xmlns:a16="http://schemas.microsoft.com/office/drawing/2014/main" id="{0EF9517C-1C1D-1763-1919-2D9FFBD82562}"/>
              </a:ext>
            </a:extLst>
          </p:cNvPr>
          <p:cNvCxnSpPr>
            <a:cxnSpLocks/>
          </p:cNvCxnSpPr>
          <p:nvPr/>
        </p:nvCxnSpPr>
        <p:spPr>
          <a:xfrm>
            <a:off x="5200211" y="4261189"/>
            <a:ext cx="0" cy="657944"/>
          </a:xfrm>
          <a:prstGeom prst="line">
            <a:avLst/>
          </a:prstGeom>
          <a:ln w="7620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7">
            <a:extLst>
              <a:ext uri="{FF2B5EF4-FFF2-40B4-BE49-F238E27FC236}">
                <a16:creationId xmlns:a16="http://schemas.microsoft.com/office/drawing/2014/main" id="{E9A13F88-0CAA-EEF6-B92B-B6E80ED9705C}"/>
              </a:ext>
            </a:extLst>
          </p:cNvPr>
          <p:cNvSpPr txBox="1"/>
          <p:nvPr/>
        </p:nvSpPr>
        <p:spPr>
          <a:xfrm>
            <a:off x="3595473" y="2049282"/>
            <a:ext cx="3209475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accent2"/>
                </a:solidFill>
              </a:rPr>
              <a:t>Lancement de la blockchain FSC pour toutes les entreprises.</a:t>
            </a:r>
          </a:p>
          <a:p>
            <a:pPr algn="ctr"/>
            <a:r>
              <a:rPr lang="fr-FR" dirty="0">
                <a:solidFill>
                  <a:schemeClr val="accent2"/>
                </a:solidFill>
              </a:rPr>
              <a:t>La blockchain est actuellement testée par plusieurs de nos parties prenantes. Elle sera fourni aux entreprises sur demande.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21" name="TextBox 8">
            <a:extLst>
              <a:ext uri="{FF2B5EF4-FFF2-40B4-BE49-F238E27FC236}">
                <a16:creationId xmlns:a16="http://schemas.microsoft.com/office/drawing/2014/main" id="{F610382F-05BE-021A-FC72-81FFBF9DA532}"/>
              </a:ext>
            </a:extLst>
          </p:cNvPr>
          <p:cNvSpPr txBox="1"/>
          <p:nvPr/>
        </p:nvSpPr>
        <p:spPr>
          <a:xfrm>
            <a:off x="1041639" y="4902735"/>
            <a:ext cx="160165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2400" dirty="0">
                <a:solidFill>
                  <a:schemeClr val="tx2"/>
                </a:solidFill>
                <a:latin typeface="+mj-lt"/>
              </a:rPr>
              <a:t>Juillet 2024</a:t>
            </a:r>
          </a:p>
        </p:txBody>
      </p:sp>
      <p:sp>
        <p:nvSpPr>
          <p:cNvPr id="22" name="TextBox 17">
            <a:extLst>
              <a:ext uri="{FF2B5EF4-FFF2-40B4-BE49-F238E27FC236}">
                <a16:creationId xmlns:a16="http://schemas.microsoft.com/office/drawing/2014/main" id="{C1501EF3-23AC-8921-94DF-8A9556E89F9A}"/>
              </a:ext>
            </a:extLst>
          </p:cNvPr>
          <p:cNvSpPr txBox="1"/>
          <p:nvPr/>
        </p:nvSpPr>
        <p:spPr>
          <a:xfrm>
            <a:off x="334963" y="2603279"/>
            <a:ext cx="320947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accent2"/>
                </a:solidFill>
              </a:rPr>
              <a:t>Adoption et présentation du module réglementaire.</a:t>
            </a:r>
          </a:p>
          <a:p>
            <a:r>
              <a:rPr lang="fr-FR" dirty="0">
                <a:solidFill>
                  <a:schemeClr val="accent2"/>
                </a:solidFill>
              </a:rPr>
              <a:t>Le module réglementaire est un ajout volontaire aux exigences FSC pour s'adapter au RDUE.</a:t>
            </a:r>
          </a:p>
        </p:txBody>
      </p:sp>
      <p:sp>
        <p:nvSpPr>
          <p:cNvPr id="23" name="TextBox 8">
            <a:extLst>
              <a:ext uri="{FF2B5EF4-FFF2-40B4-BE49-F238E27FC236}">
                <a16:creationId xmlns:a16="http://schemas.microsoft.com/office/drawing/2014/main" id="{079A3481-1B18-9219-F942-4A51DA42509C}"/>
              </a:ext>
            </a:extLst>
          </p:cNvPr>
          <p:cNvSpPr txBox="1"/>
          <p:nvPr/>
        </p:nvSpPr>
        <p:spPr>
          <a:xfrm>
            <a:off x="3742445" y="4880900"/>
            <a:ext cx="347749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2400" dirty="0" err="1">
                <a:solidFill>
                  <a:schemeClr val="tx2"/>
                </a:solidFill>
                <a:latin typeface="+mj-lt"/>
              </a:rPr>
              <a:t>Septembre</a:t>
            </a:r>
            <a:r>
              <a:rPr lang="en-AU" sz="2400" dirty="0">
                <a:solidFill>
                  <a:schemeClr val="tx2"/>
                </a:solidFill>
                <a:latin typeface="+mj-lt"/>
              </a:rPr>
              <a:t> / </a:t>
            </a:r>
            <a:r>
              <a:rPr lang="en-AU" sz="2400" dirty="0" err="1">
                <a:solidFill>
                  <a:schemeClr val="tx2"/>
                </a:solidFill>
                <a:latin typeface="+mj-lt"/>
              </a:rPr>
              <a:t>octobre</a:t>
            </a:r>
            <a:r>
              <a:rPr lang="en-AU" sz="2400" dirty="0">
                <a:solidFill>
                  <a:schemeClr val="tx2"/>
                </a:solidFill>
                <a:latin typeface="+mj-lt"/>
              </a:rPr>
              <a:t> 2024</a:t>
            </a:r>
          </a:p>
        </p:txBody>
      </p:sp>
    </p:spTree>
    <p:extLst>
      <p:ext uri="{BB962C8B-B14F-4D97-AF65-F5344CB8AC3E}">
        <p14:creationId xmlns:p14="http://schemas.microsoft.com/office/powerpoint/2010/main" val="13405152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678B3B3-A4CB-4438-BF08-317BBC8F09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err="1"/>
              <a:t>Restez</a:t>
            </a:r>
            <a:r>
              <a:rPr lang="en-AU" dirty="0"/>
              <a:t> </a:t>
            </a:r>
            <a:r>
              <a:rPr lang="en-AU" dirty="0" err="1"/>
              <a:t>connectés</a:t>
            </a:r>
            <a:r>
              <a:rPr lang="en-AU" dirty="0"/>
              <a:t> !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4BD161AB-2BF4-98E1-1FF4-CA20C5BB62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8420" y="1512006"/>
            <a:ext cx="6675440" cy="4342385"/>
          </a:xfrm>
          <a:prstGeom prst="rect">
            <a:avLst/>
          </a:prstGeom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40587CFD-B3FC-6B13-790F-1E33986D769A}"/>
              </a:ext>
            </a:extLst>
          </p:cNvPr>
          <p:cNvSpPr txBox="1"/>
          <p:nvPr/>
        </p:nvSpPr>
        <p:spPr>
          <a:xfrm>
            <a:off x="7119952" y="3763537"/>
            <a:ext cx="4990272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dirty="0">
                <a:solidFill>
                  <a:schemeClr val="accent2"/>
                </a:solidFill>
              </a:rPr>
              <a:t>En savoir plus : </a:t>
            </a:r>
            <a:r>
              <a:rPr lang="en-US" dirty="0">
                <a:hlinkClick r:id="rId3"/>
              </a:rPr>
              <a:t>(1) Launch Event: FSC Aligned for EUDR | LinkedIn</a:t>
            </a:r>
            <a:endParaRPr lang="en-US" dirty="0"/>
          </a:p>
          <a:p>
            <a:endParaRPr lang="en-US" dirty="0"/>
          </a:p>
          <a:p>
            <a:r>
              <a:rPr lang="fr-FR" dirty="0">
                <a:solidFill>
                  <a:schemeClr val="accent2"/>
                </a:solidFill>
              </a:rPr>
              <a:t>Plus d’informations à venir sur le </a:t>
            </a:r>
            <a:r>
              <a:rPr lang="fr-FR" dirty="0">
                <a:solidFill>
                  <a:schemeClr val="accent2"/>
                </a:solidFill>
                <a:hlinkClick r:id="rId4"/>
              </a:rPr>
              <a:t>LinkedIn de FSC International</a:t>
            </a:r>
            <a:r>
              <a:rPr lang="fr-FR" dirty="0">
                <a:solidFill>
                  <a:schemeClr val="accent2"/>
                </a:solidFill>
              </a:rPr>
              <a:t>, le </a:t>
            </a:r>
            <a:r>
              <a:rPr lang="fr-FR" dirty="0">
                <a:solidFill>
                  <a:schemeClr val="accent2"/>
                </a:solidFill>
                <a:hlinkClick r:id="rId5"/>
              </a:rPr>
              <a:t>LinkedIn de FSC France</a:t>
            </a:r>
            <a:r>
              <a:rPr lang="fr-FR" dirty="0">
                <a:solidFill>
                  <a:schemeClr val="accent2"/>
                </a:solidFill>
              </a:rPr>
              <a:t> et sur nos sites internet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8706E91F-C502-FDBC-8990-D47C42884EDC}"/>
              </a:ext>
            </a:extLst>
          </p:cNvPr>
          <p:cNvSpPr txBox="1"/>
          <p:nvPr/>
        </p:nvSpPr>
        <p:spPr>
          <a:xfrm>
            <a:off x="7119952" y="1979939"/>
            <a:ext cx="499027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solidFill>
                  <a:schemeClr val="accent2"/>
                </a:solidFill>
              </a:rPr>
              <a:t>2 webinaires FSC pour présenter notre travail sur le RDUE :</a:t>
            </a:r>
          </a:p>
          <a:p>
            <a:pPr marL="285750" indent="-285750">
              <a:buFontTx/>
              <a:buChar char="-"/>
            </a:pPr>
            <a:r>
              <a:rPr lang="fr-FR" b="1" dirty="0">
                <a:solidFill>
                  <a:schemeClr val="accent2"/>
                </a:solidFill>
              </a:rPr>
              <a:t>Vendredi 3 juillet, 13h00 à 15h00 (heure de Paris)</a:t>
            </a:r>
          </a:p>
          <a:p>
            <a:pPr marL="285750" indent="-285750">
              <a:buFontTx/>
              <a:buChar char="-"/>
            </a:pPr>
            <a:r>
              <a:rPr lang="fr-FR" b="1" dirty="0">
                <a:solidFill>
                  <a:schemeClr val="accent2"/>
                </a:solidFill>
              </a:rPr>
              <a:t>Vendredi 10 juillet</a:t>
            </a:r>
          </a:p>
        </p:txBody>
      </p:sp>
    </p:spTree>
    <p:extLst>
      <p:ext uri="{BB962C8B-B14F-4D97-AF65-F5344CB8AC3E}">
        <p14:creationId xmlns:p14="http://schemas.microsoft.com/office/powerpoint/2010/main" val="2538764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678B3B3-A4CB-4438-BF08-317BBC8F09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Notre page sur le RDUE</a:t>
            </a:r>
          </a:p>
        </p:txBody>
      </p:sp>
      <p:sp>
        <p:nvSpPr>
          <p:cNvPr id="53" name="Slide Number Placeholder 52">
            <a:extLst>
              <a:ext uri="{FF2B5EF4-FFF2-40B4-BE49-F238E27FC236}">
                <a16:creationId xmlns:a16="http://schemas.microsoft.com/office/drawing/2014/main" id="{AD734342-56C0-4A83-B9C9-5AF6F08E8D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2" y="6288257"/>
            <a:ext cx="727410" cy="365125"/>
          </a:xfrm>
        </p:spPr>
        <p:txBody>
          <a:bodyPr/>
          <a:lstStyle/>
          <a:p>
            <a:fld id="{F5AEA0E0-5CC6-4BD0-905C-A0021E419432}" type="slidenum">
              <a:rPr lang="en-GB" smtClean="0"/>
              <a:pPr/>
              <a:t>4</a:t>
            </a:fld>
            <a:endParaRPr lang="en-GB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AC37E87-B0C4-44FE-0F4F-B016B6E89794}"/>
              </a:ext>
            </a:extLst>
          </p:cNvPr>
          <p:cNvGrpSpPr/>
          <p:nvPr/>
        </p:nvGrpSpPr>
        <p:grpSpPr>
          <a:xfrm>
            <a:off x="844069" y="3676023"/>
            <a:ext cx="2903271" cy="2160000"/>
            <a:chOff x="334962" y="1413375"/>
            <a:chExt cx="2903271" cy="2160000"/>
          </a:xfrm>
        </p:grpSpPr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D18554E6-B224-4ECC-A090-05D6CF294839}"/>
                </a:ext>
              </a:extLst>
            </p:cNvPr>
            <p:cNvSpPr/>
            <p:nvPr/>
          </p:nvSpPr>
          <p:spPr>
            <a:xfrm>
              <a:off x="334962" y="1413375"/>
              <a:ext cx="2903271" cy="2160000"/>
            </a:xfrm>
            <a:prstGeom prst="roundRect">
              <a:avLst>
                <a:gd name="adj" fmla="val 3696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endParaRPr lang="en-US" dirty="0">
                <a:solidFill>
                  <a:schemeClr val="accent1"/>
                </a:solidFill>
                <a:latin typeface="+mj-lt"/>
              </a:endParaRPr>
            </a:p>
            <a:p>
              <a:endParaRPr lang="en-US" dirty="0">
                <a:solidFill>
                  <a:schemeClr val="accent1"/>
                </a:solidFill>
                <a:latin typeface="+mj-lt"/>
              </a:endParaRPr>
            </a:p>
            <a:p>
              <a:r>
                <a:rPr lang="en-US" b="1" dirty="0">
                  <a:solidFill>
                    <a:schemeClr val="accent1"/>
                  </a:solidFill>
                  <a:latin typeface="+mj-lt"/>
                </a:rPr>
                <a:t>         </a:t>
              </a:r>
              <a:r>
                <a:rPr lang="en-US" sz="1400" b="1" dirty="0">
                  <a:solidFill>
                    <a:schemeClr val="accent1"/>
                  </a:solidFill>
                  <a:latin typeface="+mj-lt"/>
                </a:rPr>
                <a:t>DES QUESTIONS ?</a:t>
              </a:r>
            </a:p>
            <a:p>
              <a:pPr lvl="1"/>
              <a:r>
                <a:rPr lang="en-GB" sz="1600" dirty="0" err="1"/>
                <a:t>Contactez</a:t>
              </a:r>
              <a:r>
                <a:rPr lang="en-GB" sz="1600" dirty="0"/>
                <a:t>-nous via </a:t>
              </a:r>
              <a:r>
                <a:rPr lang="en-GB" sz="1600" dirty="0" err="1"/>
                <a:t>notre</a:t>
              </a:r>
              <a:r>
                <a:rPr lang="en-GB" sz="1600" dirty="0"/>
                <a:t> mail </a:t>
              </a:r>
              <a:r>
                <a:rPr lang="en-GB" sz="1600" dirty="0" err="1"/>
                <a:t>dédié</a:t>
              </a:r>
              <a:r>
                <a:rPr lang="en-GB" sz="1600" dirty="0"/>
                <a:t> :</a:t>
              </a:r>
            </a:p>
            <a:p>
              <a:pPr lvl="1"/>
              <a:r>
                <a:rPr lang="en-GB" sz="2400" b="1" dirty="0">
                  <a:solidFill>
                    <a:schemeClr val="bg2"/>
                  </a:solidFill>
                </a:rPr>
                <a:t>EUDR@FSC.org</a:t>
              </a:r>
              <a:endParaRPr lang="en-AU" sz="2400" b="1" dirty="0">
                <a:solidFill>
                  <a:schemeClr val="bg2"/>
                </a:solidFill>
              </a:endParaRPr>
            </a:p>
            <a:p>
              <a:pPr algn="ctr"/>
              <a:endParaRPr lang="en-AU" dirty="0"/>
            </a:p>
          </p:txBody>
        </p:sp>
        <p:sp>
          <p:nvSpPr>
            <p:cNvPr id="34" name="Text Placeholder 6">
              <a:extLst>
                <a:ext uri="{FF2B5EF4-FFF2-40B4-BE49-F238E27FC236}">
                  <a16:creationId xmlns:a16="http://schemas.microsoft.com/office/drawing/2014/main" id="{2E7659FA-C652-4F7E-967B-666CA9CE906F}"/>
                </a:ext>
              </a:extLst>
            </p:cNvPr>
            <p:cNvSpPr txBox="1">
              <a:spLocks/>
            </p:cNvSpPr>
            <p:nvPr/>
          </p:nvSpPr>
          <p:spPr>
            <a:xfrm>
              <a:off x="541028" y="2300151"/>
              <a:ext cx="2160000" cy="1080000"/>
            </a:xfrm>
            <a:prstGeom prst="rect">
              <a:avLst/>
            </a:prstGeom>
          </p:spPr>
          <p:txBody>
            <a:bodyPr/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400" b="0" kern="1200" cap="all" baseline="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400" b="0" kern="1200" cap="none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36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–"/>
                <a:defRPr sz="1400" b="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342900" indent="-3429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+mj-lt"/>
                <a:buAutoNum type="arabicPeriod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AU">
                <a:solidFill>
                  <a:schemeClr val="bg2"/>
                </a:solidFill>
              </a:endParaRPr>
            </a:p>
          </p:txBody>
        </p:sp>
        <p:sp>
          <p:nvSpPr>
            <p:cNvPr id="35" name="Text Placeholder 9">
              <a:extLst>
                <a:ext uri="{FF2B5EF4-FFF2-40B4-BE49-F238E27FC236}">
                  <a16:creationId xmlns:a16="http://schemas.microsoft.com/office/drawing/2014/main" id="{85E7EAEB-A302-45EE-8CFC-ACB249F16AAF}"/>
                </a:ext>
              </a:extLst>
            </p:cNvPr>
            <p:cNvSpPr txBox="1">
              <a:spLocks/>
            </p:cNvSpPr>
            <p:nvPr/>
          </p:nvSpPr>
          <p:spPr>
            <a:xfrm>
              <a:off x="541028" y="1612351"/>
              <a:ext cx="504000" cy="504000"/>
            </a:xfrm>
            <a:prstGeom prst="ellipse">
              <a:avLst/>
            </a:prstGeom>
            <a:solidFill>
              <a:schemeClr val="accent1"/>
            </a:solidFill>
          </p:spPr>
          <p:txBody>
            <a:bodyPr anchor="ctr" anchorCtr="0"/>
            <a:lstStyle>
              <a:lvl1pPr marL="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800" b="0" kern="1200" cap="none" baseline="0">
                  <a:solidFill>
                    <a:schemeClr val="bg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3400" b="0" kern="1200" cap="none" baseline="0">
                  <a:solidFill>
                    <a:schemeClr val="accent1"/>
                  </a:solidFill>
                  <a:latin typeface="+mj-lt"/>
                  <a:ea typeface="+mn-ea"/>
                  <a:cs typeface="+mn-cs"/>
                </a:defRPr>
              </a:lvl2pPr>
              <a:lvl3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3400" b="0" kern="1200" cap="none">
                  <a:solidFill>
                    <a:schemeClr val="accent1"/>
                  </a:solidFill>
                  <a:latin typeface="+mj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3400" b="0" kern="1200" cap="none">
                  <a:solidFill>
                    <a:schemeClr val="accent1"/>
                  </a:solidFill>
                  <a:latin typeface="+mj-lt"/>
                  <a:ea typeface="+mn-ea"/>
                  <a:cs typeface="+mn-cs"/>
                </a:defRPr>
              </a:lvl4pPr>
              <a:lvl5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3400" b="0" kern="1200" cap="none">
                  <a:solidFill>
                    <a:schemeClr val="accent1"/>
                  </a:solidFill>
                  <a:latin typeface="+mj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3400" b="0" kern="1200" cap="none">
                  <a:solidFill>
                    <a:schemeClr val="accent1"/>
                  </a:solidFill>
                  <a:latin typeface="+mj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3400" b="0" kern="1200" cap="none">
                  <a:solidFill>
                    <a:schemeClr val="accent1"/>
                  </a:solidFill>
                  <a:latin typeface="+mj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3400" b="0" kern="1200" cap="none">
                  <a:solidFill>
                    <a:schemeClr val="accent1"/>
                  </a:solidFill>
                  <a:latin typeface="+mj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3400" b="0" kern="1200" cap="none">
                  <a:solidFill>
                    <a:schemeClr val="accent1"/>
                  </a:solidFill>
                  <a:latin typeface="+mj-lt"/>
                  <a:ea typeface="+mn-ea"/>
                  <a:cs typeface="+mn-cs"/>
                </a:defRPr>
              </a:lvl9pPr>
            </a:lstStyle>
            <a:p>
              <a:r>
                <a:rPr lang="en-AU"/>
                <a:t>2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82E45050-BC78-BFBD-6C42-4EADCBC34986}"/>
              </a:ext>
            </a:extLst>
          </p:cNvPr>
          <p:cNvGrpSpPr/>
          <p:nvPr/>
        </p:nvGrpSpPr>
        <p:grpSpPr>
          <a:xfrm>
            <a:off x="842681" y="1327726"/>
            <a:ext cx="2903272" cy="2160000"/>
            <a:chOff x="5994639" y="1436026"/>
            <a:chExt cx="2903272" cy="2160000"/>
          </a:xfrm>
        </p:grpSpPr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8267B36D-82C8-4EC7-B8C6-9A7A7FFC2C27}"/>
                </a:ext>
              </a:extLst>
            </p:cNvPr>
            <p:cNvSpPr/>
            <p:nvPr/>
          </p:nvSpPr>
          <p:spPr>
            <a:xfrm>
              <a:off x="5994639" y="1436026"/>
              <a:ext cx="2903272" cy="2160000"/>
            </a:xfrm>
            <a:prstGeom prst="roundRect">
              <a:avLst>
                <a:gd name="adj" fmla="val 3696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r>
                <a:rPr lang="en-US" sz="1400" dirty="0">
                  <a:solidFill>
                    <a:schemeClr val="accent1"/>
                  </a:solidFill>
                </a:rPr>
                <a:t>           </a:t>
              </a:r>
            </a:p>
            <a:p>
              <a:r>
                <a:rPr lang="en-US" sz="1400" dirty="0">
                  <a:solidFill>
                    <a:schemeClr val="accent1"/>
                  </a:solidFill>
                </a:rPr>
                <a:t>          </a:t>
              </a:r>
            </a:p>
            <a:p>
              <a:r>
                <a:rPr lang="en-US" sz="1400" b="1" dirty="0">
                  <a:solidFill>
                    <a:schemeClr val="accent1"/>
                  </a:solidFill>
                </a:rPr>
                <a:t>           TOUT AU MÊME ENDROIT</a:t>
              </a:r>
            </a:p>
            <a:p>
              <a:pPr lvl="1"/>
              <a:r>
                <a:rPr lang="fr-FR" sz="1600" dirty="0">
                  <a:solidFill>
                    <a:schemeClr val="bg2"/>
                  </a:solidFill>
                </a:rPr>
                <a:t>Toutes les ressources et informations sur notre page web</a:t>
              </a:r>
              <a:endParaRPr lang="en-AU" sz="1600" dirty="0">
                <a:solidFill>
                  <a:schemeClr val="bg2"/>
                </a:solidFill>
              </a:endParaRPr>
            </a:p>
          </p:txBody>
        </p:sp>
        <p:sp>
          <p:nvSpPr>
            <p:cNvPr id="39" name="Text Placeholder 9">
              <a:extLst>
                <a:ext uri="{FF2B5EF4-FFF2-40B4-BE49-F238E27FC236}">
                  <a16:creationId xmlns:a16="http://schemas.microsoft.com/office/drawing/2014/main" id="{4693FCC8-EDC8-4EBD-9E1E-722921E27FDF}"/>
                </a:ext>
              </a:extLst>
            </p:cNvPr>
            <p:cNvSpPr txBox="1">
              <a:spLocks/>
            </p:cNvSpPr>
            <p:nvPr/>
          </p:nvSpPr>
          <p:spPr>
            <a:xfrm>
              <a:off x="6269639" y="1612351"/>
              <a:ext cx="504000" cy="504000"/>
            </a:xfrm>
            <a:prstGeom prst="ellipse">
              <a:avLst/>
            </a:prstGeom>
            <a:solidFill>
              <a:schemeClr val="accent1"/>
            </a:solidFill>
          </p:spPr>
          <p:txBody>
            <a:bodyPr anchor="ctr" anchorCtr="0"/>
            <a:lstStyle>
              <a:lvl1pPr marL="0" indent="0" algn="ctr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2800" b="0" kern="1200" cap="none" baseline="0">
                  <a:solidFill>
                    <a:schemeClr val="bg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3400" b="0" kern="1200" cap="none" baseline="0">
                  <a:solidFill>
                    <a:schemeClr val="accent1"/>
                  </a:solidFill>
                  <a:latin typeface="+mj-lt"/>
                  <a:ea typeface="+mn-ea"/>
                  <a:cs typeface="+mn-cs"/>
                </a:defRPr>
              </a:lvl2pPr>
              <a:lvl3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3400" b="0" kern="1200" cap="none">
                  <a:solidFill>
                    <a:schemeClr val="accent1"/>
                  </a:solidFill>
                  <a:latin typeface="+mj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3400" b="0" kern="1200" cap="none">
                  <a:solidFill>
                    <a:schemeClr val="accent1"/>
                  </a:solidFill>
                  <a:latin typeface="+mj-lt"/>
                  <a:ea typeface="+mn-ea"/>
                  <a:cs typeface="+mn-cs"/>
                </a:defRPr>
              </a:lvl4pPr>
              <a:lvl5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3400" b="0" kern="1200" cap="none">
                  <a:solidFill>
                    <a:schemeClr val="accent1"/>
                  </a:solidFill>
                  <a:latin typeface="+mj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3400" b="0" kern="1200" cap="none">
                  <a:solidFill>
                    <a:schemeClr val="accent1"/>
                  </a:solidFill>
                  <a:latin typeface="+mj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3400" b="0" kern="1200" cap="none">
                  <a:solidFill>
                    <a:schemeClr val="accent1"/>
                  </a:solidFill>
                  <a:latin typeface="+mj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3400" b="0" kern="1200" cap="none">
                  <a:solidFill>
                    <a:schemeClr val="accent1"/>
                  </a:solidFill>
                  <a:latin typeface="+mj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3400" b="0" kern="1200" cap="none">
                  <a:solidFill>
                    <a:schemeClr val="accent1"/>
                  </a:solidFill>
                  <a:latin typeface="+mj-lt"/>
                  <a:ea typeface="+mn-ea"/>
                  <a:cs typeface="+mn-cs"/>
                </a:defRPr>
              </a:lvl9pPr>
            </a:lstStyle>
            <a:p>
              <a:r>
                <a:rPr lang="en-AU"/>
                <a:t>1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5EBADE5E-CC60-097A-0D8F-9BDDE7E45230}"/>
              </a:ext>
            </a:extLst>
          </p:cNvPr>
          <p:cNvGrpSpPr/>
          <p:nvPr/>
        </p:nvGrpSpPr>
        <p:grpSpPr>
          <a:xfrm>
            <a:off x="4567494" y="834061"/>
            <a:ext cx="7125954" cy="5305249"/>
            <a:chOff x="2715988" y="3130645"/>
            <a:chExt cx="4745653" cy="3575949"/>
          </a:xfrm>
        </p:grpSpPr>
        <p:pic>
          <p:nvPicPr>
            <p:cNvPr id="8" name="Picture 7" descr="A picture containing text, indoor, screen, screenshot&#10;&#10;Description automatically generated">
              <a:extLst>
                <a:ext uri="{FF2B5EF4-FFF2-40B4-BE49-F238E27FC236}">
                  <a16:creationId xmlns:a16="http://schemas.microsoft.com/office/drawing/2014/main" id="{975E968B-C056-5834-CBCD-3CBF28011A1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15988" y="3130645"/>
              <a:ext cx="4745653" cy="3575949"/>
            </a:xfrm>
            <a:prstGeom prst="rect">
              <a:avLst/>
            </a:prstGeom>
          </p:spPr>
        </p:pic>
        <p:pic>
          <p:nvPicPr>
            <p:cNvPr id="7" name="Image 7">
              <a:hlinkClick r:id="rId3"/>
              <a:extLst>
                <a:ext uri="{FF2B5EF4-FFF2-40B4-BE49-F238E27FC236}">
                  <a16:creationId xmlns:a16="http://schemas.microsoft.com/office/drawing/2014/main" id="{35AF01C3-A71E-17EE-1E10-57AA3F1B839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b="15772"/>
            <a:stretch/>
          </p:blipFill>
          <p:spPr>
            <a:xfrm>
              <a:off x="3399537" y="3977992"/>
              <a:ext cx="3342694" cy="209622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891691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6cd991bf-f022-4378-96e7-2c338aeb3f5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SC">
  <a:themeElements>
    <a:clrScheme name="FSC-SECONDARY TINTS">
      <a:dk1>
        <a:sysClr val="windowText" lastClr="000000"/>
      </a:dk1>
      <a:lt1>
        <a:sysClr val="window" lastClr="FFFFFF"/>
      </a:lt1>
      <a:dk2>
        <a:srgbClr val="285C4D"/>
      </a:dk2>
      <a:lt2>
        <a:srgbClr val="F1F8E8"/>
      </a:lt2>
      <a:accent1>
        <a:srgbClr val="78BE20"/>
      </a:accent1>
      <a:accent2>
        <a:srgbClr val="285C4D"/>
      </a:accent2>
      <a:accent3>
        <a:srgbClr val="EBD99F"/>
      </a:accent3>
      <a:accent4>
        <a:srgbClr val="D4BE97"/>
      </a:accent4>
      <a:accent5>
        <a:srgbClr val="8CBBDD"/>
      </a:accent5>
      <a:accent6>
        <a:srgbClr val="D0D1DB"/>
      </a:accent6>
      <a:hlink>
        <a:srgbClr val="000000"/>
      </a:hlink>
      <a:folHlink>
        <a:srgbClr val="000000"/>
      </a:folHlink>
    </a:clrScheme>
    <a:fontScheme name="FSC">
      <a:majorFont>
        <a:latin typeface="Greycliff CF Extra Bold"/>
        <a:ea typeface=""/>
        <a:cs typeface=""/>
      </a:majorFont>
      <a:minorFont>
        <a:latin typeface="Greycliff CF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Orange">
      <a:srgbClr val="F2A900"/>
    </a:custClr>
    <a:custClr name="Green">
      <a:srgbClr val="A1DA8E"/>
    </a:custClr>
    <a:custClr name="Blue">
      <a:srgbClr val="5BC3F5"/>
    </a:custClr>
    <a:custClr name="Violet">
      <a:srgbClr val="CBA4E7"/>
    </a:custClr>
  </a:custClrLst>
  <a:extLst>
    <a:ext uri="{05A4C25C-085E-4340-85A3-A5531E510DB2}">
      <thm15:themeFamily xmlns:thm15="http://schemas.microsoft.com/office/thememl/2012/main" name="FSC Powerpoint Template" id="{D755D6ED-51D6-4099-B00F-A7416A9BB423}" vid="{5F42B763-B0BE-4B6C-835C-3AA199DCC498}"/>
    </a:ext>
  </a:extLst>
</a:theme>
</file>

<file path=ppt/theme/theme10.xml><?xml version="1.0" encoding="utf-8"?>
<a:theme xmlns:a="http://schemas.openxmlformats.org/drawingml/2006/main" name="FSC">
  <a:themeElements>
    <a:clrScheme name="FSC-SECONDARY TINTS">
      <a:dk1>
        <a:sysClr val="windowText" lastClr="000000"/>
      </a:dk1>
      <a:lt1>
        <a:sysClr val="window" lastClr="FFFFFF"/>
      </a:lt1>
      <a:dk2>
        <a:srgbClr val="285C4D"/>
      </a:dk2>
      <a:lt2>
        <a:srgbClr val="F1F8E8"/>
      </a:lt2>
      <a:accent1>
        <a:srgbClr val="78BE20"/>
      </a:accent1>
      <a:accent2>
        <a:srgbClr val="285C4D"/>
      </a:accent2>
      <a:accent3>
        <a:srgbClr val="EBD99F"/>
      </a:accent3>
      <a:accent4>
        <a:srgbClr val="D4BE97"/>
      </a:accent4>
      <a:accent5>
        <a:srgbClr val="8CBBDD"/>
      </a:accent5>
      <a:accent6>
        <a:srgbClr val="D0D1DB"/>
      </a:accent6>
      <a:hlink>
        <a:srgbClr val="000000"/>
      </a:hlink>
      <a:folHlink>
        <a:srgbClr val="000000"/>
      </a:folHlink>
    </a:clrScheme>
    <a:fontScheme name="FSC">
      <a:majorFont>
        <a:latin typeface="Greycliff CF Extra Bold"/>
        <a:ea typeface=""/>
        <a:cs typeface=""/>
      </a:majorFont>
      <a:minorFont>
        <a:latin typeface="Greycliff CF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Orange">
      <a:srgbClr val="F2A900"/>
    </a:custClr>
    <a:custClr name="Green">
      <a:srgbClr val="A1DA8E"/>
    </a:custClr>
    <a:custClr name="Blue">
      <a:srgbClr val="5BC3F5"/>
    </a:custClr>
    <a:custClr name="Violet">
      <a:srgbClr val="CBA4E7"/>
    </a:custClr>
  </a:custClrLst>
  <a:extLst>
    <a:ext uri="{05A4C25C-085E-4340-85A3-A5531E510DB2}">
      <thm15:themeFamily xmlns:thm15="http://schemas.microsoft.com/office/thememl/2012/main" name="FSC Powerpoint Template" id="{D755D6ED-51D6-4099-B00F-A7416A9BB423}" vid="{5F42B763-B0BE-4B6C-835C-3AA199DCC498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FSC">
  <a:themeElements>
    <a:clrScheme name="FSC-SECONDARY TINTS">
      <a:dk1>
        <a:sysClr val="windowText" lastClr="000000"/>
      </a:dk1>
      <a:lt1>
        <a:sysClr val="window" lastClr="FFFFFF"/>
      </a:lt1>
      <a:dk2>
        <a:srgbClr val="285C4D"/>
      </a:dk2>
      <a:lt2>
        <a:srgbClr val="F1F8E8"/>
      </a:lt2>
      <a:accent1>
        <a:srgbClr val="78BE20"/>
      </a:accent1>
      <a:accent2>
        <a:srgbClr val="285C4D"/>
      </a:accent2>
      <a:accent3>
        <a:srgbClr val="EBD99F"/>
      </a:accent3>
      <a:accent4>
        <a:srgbClr val="D4BE97"/>
      </a:accent4>
      <a:accent5>
        <a:srgbClr val="8CBBDD"/>
      </a:accent5>
      <a:accent6>
        <a:srgbClr val="D0D1DB"/>
      </a:accent6>
      <a:hlink>
        <a:srgbClr val="000000"/>
      </a:hlink>
      <a:folHlink>
        <a:srgbClr val="000000"/>
      </a:folHlink>
    </a:clrScheme>
    <a:fontScheme name="FSC">
      <a:majorFont>
        <a:latin typeface="Greycliff CF Extra Bold"/>
        <a:ea typeface=""/>
        <a:cs typeface=""/>
      </a:majorFont>
      <a:minorFont>
        <a:latin typeface="Greycliff CF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Orange">
      <a:srgbClr val="F2A900"/>
    </a:custClr>
    <a:custClr name="Green">
      <a:srgbClr val="A1DA8E"/>
    </a:custClr>
    <a:custClr name="Blue">
      <a:srgbClr val="5BC3F5"/>
    </a:custClr>
    <a:custClr name="Violet">
      <a:srgbClr val="CBA4E7"/>
    </a:custClr>
  </a:custClrLst>
  <a:extLst>
    <a:ext uri="{05A4C25C-085E-4340-85A3-A5531E510DB2}">
      <thm15:themeFamily xmlns:thm15="http://schemas.microsoft.com/office/thememl/2012/main" name="Presentation5" id="{007B167A-6C7D-2644-8910-481B771C6F1C}" vid="{EA1C1575-ED69-484F-9654-CAA71866C6C8}"/>
    </a:ext>
  </a:extLst>
</a:theme>
</file>

<file path=ppt/theme/theme3.xml><?xml version="1.0" encoding="utf-8"?>
<a:theme xmlns:a="http://schemas.openxmlformats.org/drawingml/2006/main" name="FSC">
  <a:themeElements>
    <a:clrScheme name="FSC-SECONDARY TINTS">
      <a:dk1>
        <a:sysClr val="windowText" lastClr="000000"/>
      </a:dk1>
      <a:lt1>
        <a:sysClr val="window" lastClr="FFFFFF"/>
      </a:lt1>
      <a:dk2>
        <a:srgbClr val="285C4D"/>
      </a:dk2>
      <a:lt2>
        <a:srgbClr val="F1F8E8"/>
      </a:lt2>
      <a:accent1>
        <a:srgbClr val="78BE20"/>
      </a:accent1>
      <a:accent2>
        <a:srgbClr val="285C4D"/>
      </a:accent2>
      <a:accent3>
        <a:srgbClr val="EBD99F"/>
      </a:accent3>
      <a:accent4>
        <a:srgbClr val="D4BE97"/>
      </a:accent4>
      <a:accent5>
        <a:srgbClr val="8CBBDD"/>
      </a:accent5>
      <a:accent6>
        <a:srgbClr val="D0D1DB"/>
      </a:accent6>
      <a:hlink>
        <a:srgbClr val="000000"/>
      </a:hlink>
      <a:folHlink>
        <a:srgbClr val="000000"/>
      </a:folHlink>
    </a:clrScheme>
    <a:fontScheme name="FSC">
      <a:majorFont>
        <a:latin typeface="Greycliff CF Extra Bold"/>
        <a:ea typeface=""/>
        <a:cs typeface=""/>
      </a:majorFont>
      <a:minorFont>
        <a:latin typeface="Greycliff CF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Orange">
      <a:srgbClr val="F2A900"/>
    </a:custClr>
    <a:custClr name="Green">
      <a:srgbClr val="A1DA8E"/>
    </a:custClr>
    <a:custClr name="Blue">
      <a:srgbClr val="5BC3F5"/>
    </a:custClr>
    <a:custClr name="Violet">
      <a:srgbClr val="CBA4E7"/>
    </a:custClr>
  </a:custClrLst>
  <a:extLst>
    <a:ext uri="{05A4C25C-085E-4340-85A3-A5531E510DB2}">
      <thm15:themeFamily xmlns:thm15="http://schemas.microsoft.com/office/thememl/2012/main" name="FSC Powerpoint Template" id="{D755D6ED-51D6-4099-B00F-A7416A9BB423}" vid="{5F42B763-B0BE-4B6C-835C-3AA199DCC498}"/>
    </a:ext>
  </a:extLst>
</a:theme>
</file>

<file path=ppt/theme/theme4.xml><?xml version="1.0" encoding="utf-8"?>
<a:theme xmlns:a="http://schemas.openxmlformats.org/drawingml/2006/main" name="FSC">
  <a:themeElements>
    <a:clrScheme name="FSC-SECONDARY TINTS">
      <a:dk1>
        <a:sysClr val="windowText" lastClr="000000"/>
      </a:dk1>
      <a:lt1>
        <a:sysClr val="window" lastClr="FFFFFF"/>
      </a:lt1>
      <a:dk2>
        <a:srgbClr val="285C4D"/>
      </a:dk2>
      <a:lt2>
        <a:srgbClr val="F1F8E8"/>
      </a:lt2>
      <a:accent1>
        <a:srgbClr val="78BE20"/>
      </a:accent1>
      <a:accent2>
        <a:srgbClr val="285C4D"/>
      </a:accent2>
      <a:accent3>
        <a:srgbClr val="EBD99F"/>
      </a:accent3>
      <a:accent4>
        <a:srgbClr val="D4BE97"/>
      </a:accent4>
      <a:accent5>
        <a:srgbClr val="8CBBDD"/>
      </a:accent5>
      <a:accent6>
        <a:srgbClr val="D0D1DB"/>
      </a:accent6>
      <a:hlink>
        <a:srgbClr val="000000"/>
      </a:hlink>
      <a:folHlink>
        <a:srgbClr val="000000"/>
      </a:folHlink>
    </a:clrScheme>
    <a:fontScheme name="FSC">
      <a:majorFont>
        <a:latin typeface="Greycliff CF Extra Bold"/>
        <a:ea typeface=""/>
        <a:cs typeface=""/>
      </a:majorFont>
      <a:minorFont>
        <a:latin typeface="Greycliff CF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Orange">
      <a:srgbClr val="F2A900"/>
    </a:custClr>
    <a:custClr name="Green">
      <a:srgbClr val="A1DA8E"/>
    </a:custClr>
    <a:custClr name="Blue">
      <a:srgbClr val="5BC3F5"/>
    </a:custClr>
    <a:custClr name="Violet">
      <a:srgbClr val="CBA4E7"/>
    </a:custClr>
  </a:custClrLst>
  <a:extLst>
    <a:ext uri="{05A4C25C-085E-4340-85A3-A5531E510DB2}">
      <thm15:themeFamily xmlns:thm15="http://schemas.microsoft.com/office/thememl/2012/main" name="Blank  -  Read-Only" id="{F1085B12-56FC-4592-8D72-075850EEE069}" vid="{44FD74C9-E9F9-44E7-93F5-5B8B78A80340}"/>
    </a:ext>
  </a:extLst>
</a:theme>
</file>

<file path=ppt/theme/theme5.xml><?xml version="1.0" encoding="utf-8"?>
<a:theme xmlns:a="http://schemas.openxmlformats.org/drawingml/2006/main" name="FSC">
  <a:themeElements>
    <a:clrScheme name="FSC-SECONDARY TINTS">
      <a:dk1>
        <a:sysClr val="windowText" lastClr="000000"/>
      </a:dk1>
      <a:lt1>
        <a:sysClr val="window" lastClr="FFFFFF"/>
      </a:lt1>
      <a:dk2>
        <a:srgbClr val="285C4D"/>
      </a:dk2>
      <a:lt2>
        <a:srgbClr val="F1F8E8"/>
      </a:lt2>
      <a:accent1>
        <a:srgbClr val="78BE20"/>
      </a:accent1>
      <a:accent2>
        <a:srgbClr val="285C4D"/>
      </a:accent2>
      <a:accent3>
        <a:srgbClr val="EBD99F"/>
      </a:accent3>
      <a:accent4>
        <a:srgbClr val="D4BE97"/>
      </a:accent4>
      <a:accent5>
        <a:srgbClr val="8CBBDD"/>
      </a:accent5>
      <a:accent6>
        <a:srgbClr val="D0D1DB"/>
      </a:accent6>
      <a:hlink>
        <a:srgbClr val="000000"/>
      </a:hlink>
      <a:folHlink>
        <a:srgbClr val="000000"/>
      </a:folHlink>
    </a:clrScheme>
    <a:fontScheme name="FSC">
      <a:majorFont>
        <a:latin typeface="Greycliff CF Extra Bold"/>
        <a:ea typeface=""/>
        <a:cs typeface=""/>
      </a:majorFont>
      <a:minorFont>
        <a:latin typeface="Greycliff CF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Orange">
      <a:srgbClr val="F2A900"/>
    </a:custClr>
    <a:custClr name="Green">
      <a:srgbClr val="A1DA8E"/>
    </a:custClr>
    <a:custClr name="Blue">
      <a:srgbClr val="5BC3F5"/>
    </a:custClr>
    <a:custClr name="Violet">
      <a:srgbClr val="CBA4E7"/>
    </a:custClr>
  </a:custClrLst>
  <a:extLst>
    <a:ext uri="{05A4C25C-085E-4340-85A3-A5531E510DB2}">
      <thm15:themeFamily xmlns:thm15="http://schemas.microsoft.com/office/thememl/2012/main" name="FSC - Power Point Template  -  Read-Only" id="{AEE7D1B6-22D3-4A22-8F67-BAEAC28258EF}" vid="{7B365289-4E6D-45CB-AA54-BACEBF4AD307}"/>
    </a:ext>
  </a:extLst>
</a:theme>
</file>

<file path=ppt/theme/theme6.xml><?xml version="1.0" encoding="utf-8"?>
<a:theme xmlns:a="http://schemas.openxmlformats.org/drawingml/2006/main" name="FSC">
  <a:themeElements>
    <a:clrScheme name="FSC-SECONDARY TINTS">
      <a:dk1>
        <a:sysClr val="windowText" lastClr="000000"/>
      </a:dk1>
      <a:lt1>
        <a:sysClr val="window" lastClr="FFFFFF"/>
      </a:lt1>
      <a:dk2>
        <a:srgbClr val="285C4D"/>
      </a:dk2>
      <a:lt2>
        <a:srgbClr val="F1F8E8"/>
      </a:lt2>
      <a:accent1>
        <a:srgbClr val="78BE20"/>
      </a:accent1>
      <a:accent2>
        <a:srgbClr val="285C4D"/>
      </a:accent2>
      <a:accent3>
        <a:srgbClr val="EBD99F"/>
      </a:accent3>
      <a:accent4>
        <a:srgbClr val="D4BE97"/>
      </a:accent4>
      <a:accent5>
        <a:srgbClr val="8CBBDD"/>
      </a:accent5>
      <a:accent6>
        <a:srgbClr val="D0D1DB"/>
      </a:accent6>
      <a:hlink>
        <a:srgbClr val="000000"/>
      </a:hlink>
      <a:folHlink>
        <a:srgbClr val="000000"/>
      </a:folHlink>
    </a:clrScheme>
    <a:fontScheme name="FSC">
      <a:majorFont>
        <a:latin typeface="Greycliff CF Extra Bold"/>
        <a:ea typeface=""/>
        <a:cs typeface=""/>
      </a:majorFont>
      <a:minorFont>
        <a:latin typeface="Greycliff CF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Orange">
      <a:srgbClr val="F2A900"/>
    </a:custClr>
    <a:custClr name="Green">
      <a:srgbClr val="A1DA8E"/>
    </a:custClr>
    <a:custClr name="Blue">
      <a:srgbClr val="5BC3F5"/>
    </a:custClr>
    <a:custClr name="Violet">
      <a:srgbClr val="CBA4E7"/>
    </a:custClr>
  </a:custClrLst>
  <a:extLst>
    <a:ext uri="{05A4C25C-085E-4340-85A3-A5531E510DB2}">
      <thm15:themeFamily xmlns:thm15="http://schemas.microsoft.com/office/thememl/2012/main" name="FSC Powerpoint Template" id="{D755D6ED-51D6-4099-B00F-A7416A9BB423}" vid="{5F42B763-B0BE-4B6C-835C-3AA199DCC498}"/>
    </a:ext>
  </a:extLst>
</a:theme>
</file>

<file path=ppt/theme/theme7.xml><?xml version="1.0" encoding="utf-8"?>
<a:theme xmlns:a="http://schemas.openxmlformats.org/drawingml/2006/main" name="FSC">
  <a:themeElements>
    <a:clrScheme name="FSC-SECONDARY TINTS">
      <a:dk1>
        <a:sysClr val="windowText" lastClr="000000"/>
      </a:dk1>
      <a:lt1>
        <a:sysClr val="window" lastClr="FFFFFF"/>
      </a:lt1>
      <a:dk2>
        <a:srgbClr val="285C4D"/>
      </a:dk2>
      <a:lt2>
        <a:srgbClr val="F1F8E8"/>
      </a:lt2>
      <a:accent1>
        <a:srgbClr val="78BE20"/>
      </a:accent1>
      <a:accent2>
        <a:srgbClr val="285C4D"/>
      </a:accent2>
      <a:accent3>
        <a:srgbClr val="EBD99F"/>
      </a:accent3>
      <a:accent4>
        <a:srgbClr val="D4BE97"/>
      </a:accent4>
      <a:accent5>
        <a:srgbClr val="8CBBDD"/>
      </a:accent5>
      <a:accent6>
        <a:srgbClr val="D0D1DB"/>
      </a:accent6>
      <a:hlink>
        <a:srgbClr val="000000"/>
      </a:hlink>
      <a:folHlink>
        <a:srgbClr val="000000"/>
      </a:folHlink>
    </a:clrScheme>
    <a:fontScheme name="FSC">
      <a:majorFont>
        <a:latin typeface="Greycliff CF Extra Bold"/>
        <a:ea typeface=""/>
        <a:cs typeface=""/>
      </a:majorFont>
      <a:minorFont>
        <a:latin typeface="Greycliff CF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Orange">
      <a:srgbClr val="F2A900"/>
    </a:custClr>
    <a:custClr name="Green">
      <a:srgbClr val="A1DA8E"/>
    </a:custClr>
    <a:custClr name="Blue">
      <a:srgbClr val="5BC3F5"/>
    </a:custClr>
    <a:custClr name="Violet">
      <a:srgbClr val="CBA4E7"/>
    </a:custClr>
  </a:custClrLst>
  <a:extLst>
    <a:ext uri="{05A4C25C-085E-4340-85A3-A5531E510DB2}">
      <thm15:themeFamily xmlns:thm15="http://schemas.microsoft.com/office/thememl/2012/main" name="FSC Powerpoint Template" id="{D755D6ED-51D6-4099-B00F-A7416A9BB423}" vid="{5F42B763-B0BE-4B6C-835C-3AA199DCC498}"/>
    </a:ext>
  </a:extLst>
</a:theme>
</file>

<file path=ppt/theme/theme8.xml><?xml version="1.0" encoding="utf-8"?>
<a:theme xmlns:a="http://schemas.openxmlformats.org/drawingml/2006/main" name="FSC">
  <a:themeElements>
    <a:clrScheme name="FSC-SECONDARY TINTS">
      <a:dk1>
        <a:sysClr val="windowText" lastClr="000000"/>
      </a:dk1>
      <a:lt1>
        <a:sysClr val="window" lastClr="FFFFFF"/>
      </a:lt1>
      <a:dk2>
        <a:srgbClr val="285C4D"/>
      </a:dk2>
      <a:lt2>
        <a:srgbClr val="F1F8E8"/>
      </a:lt2>
      <a:accent1>
        <a:srgbClr val="78BE20"/>
      </a:accent1>
      <a:accent2>
        <a:srgbClr val="285C4D"/>
      </a:accent2>
      <a:accent3>
        <a:srgbClr val="EBD99F"/>
      </a:accent3>
      <a:accent4>
        <a:srgbClr val="D4BE97"/>
      </a:accent4>
      <a:accent5>
        <a:srgbClr val="8CBBDD"/>
      </a:accent5>
      <a:accent6>
        <a:srgbClr val="D0D1DB"/>
      </a:accent6>
      <a:hlink>
        <a:srgbClr val="000000"/>
      </a:hlink>
      <a:folHlink>
        <a:srgbClr val="000000"/>
      </a:folHlink>
    </a:clrScheme>
    <a:fontScheme name="FSC">
      <a:majorFont>
        <a:latin typeface="Greycliff CF Extra Bold"/>
        <a:ea typeface=""/>
        <a:cs typeface=""/>
      </a:majorFont>
      <a:minorFont>
        <a:latin typeface="Greycliff CF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Orange">
      <a:srgbClr val="F2A900"/>
    </a:custClr>
    <a:custClr name="Green">
      <a:srgbClr val="A1DA8E"/>
    </a:custClr>
    <a:custClr name="Blue">
      <a:srgbClr val="5BC3F5"/>
    </a:custClr>
    <a:custClr name="Violet">
      <a:srgbClr val="CBA4E7"/>
    </a:custClr>
  </a:custClrLst>
  <a:extLst>
    <a:ext uri="{05A4C25C-085E-4340-85A3-A5531E510DB2}">
      <thm15:themeFamily xmlns:thm15="http://schemas.microsoft.com/office/thememl/2012/main" name="FSC Powerpoint Template" id="{D755D6ED-51D6-4099-B00F-A7416A9BB423}" vid="{5F42B763-B0BE-4B6C-835C-3AA199DCC498}"/>
    </a:ext>
  </a:extLst>
</a:theme>
</file>

<file path=ppt/theme/theme9.xml><?xml version="1.0" encoding="utf-8"?>
<a:theme xmlns:a="http://schemas.openxmlformats.org/drawingml/2006/main" name="FSC">
  <a:themeElements>
    <a:clrScheme name="FSC-SECONDARY TINTS">
      <a:dk1>
        <a:sysClr val="windowText" lastClr="000000"/>
      </a:dk1>
      <a:lt1>
        <a:sysClr val="window" lastClr="FFFFFF"/>
      </a:lt1>
      <a:dk2>
        <a:srgbClr val="285C4D"/>
      </a:dk2>
      <a:lt2>
        <a:srgbClr val="F1F8E8"/>
      </a:lt2>
      <a:accent1>
        <a:srgbClr val="78BE20"/>
      </a:accent1>
      <a:accent2>
        <a:srgbClr val="285C4D"/>
      </a:accent2>
      <a:accent3>
        <a:srgbClr val="EBD99F"/>
      </a:accent3>
      <a:accent4>
        <a:srgbClr val="D4BE97"/>
      </a:accent4>
      <a:accent5>
        <a:srgbClr val="8CBBDD"/>
      </a:accent5>
      <a:accent6>
        <a:srgbClr val="D0D1DB"/>
      </a:accent6>
      <a:hlink>
        <a:srgbClr val="000000"/>
      </a:hlink>
      <a:folHlink>
        <a:srgbClr val="000000"/>
      </a:folHlink>
    </a:clrScheme>
    <a:fontScheme name="FSC">
      <a:majorFont>
        <a:latin typeface="Greycliff CF Extra Bold"/>
        <a:ea typeface=""/>
        <a:cs typeface=""/>
      </a:majorFont>
      <a:minorFont>
        <a:latin typeface="Greycliff CF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Orange">
      <a:srgbClr val="F2A900"/>
    </a:custClr>
    <a:custClr name="Green">
      <a:srgbClr val="A1DA8E"/>
    </a:custClr>
    <a:custClr name="Blue">
      <a:srgbClr val="5BC3F5"/>
    </a:custClr>
    <a:custClr name="Violet">
      <a:srgbClr val="CBA4E7"/>
    </a:custClr>
  </a:custClrLst>
  <a:extLst>
    <a:ext uri="{05A4C25C-085E-4340-85A3-A5531E510DB2}">
      <thm15:themeFamily xmlns:thm15="http://schemas.microsoft.com/office/thememl/2012/main" name="FSC Powerpoint Template" id="{D755D6ED-51D6-4099-B00F-A7416A9BB423}" vid="{5F42B763-B0BE-4B6C-835C-3AA199DCC498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5429c33a-6e98-469b-aa10-3e383405655c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3F36D3DEEF81E4793D5DF1E0CFB6D41" ma:contentTypeVersion="14" ma:contentTypeDescription="Create a new document." ma:contentTypeScope="" ma:versionID="bfebf4079a25bc99f11d68226791ec4e">
  <xsd:schema xmlns:xsd="http://www.w3.org/2001/XMLSchema" xmlns:xs="http://www.w3.org/2001/XMLSchema" xmlns:p="http://schemas.microsoft.com/office/2006/metadata/properties" xmlns:ns3="5429c33a-6e98-469b-aa10-3e383405655c" xmlns:ns4="3183195b-6e0e-4353-9f40-f6dd4621564d" targetNamespace="http://schemas.microsoft.com/office/2006/metadata/properties" ma:root="true" ma:fieldsID="ef017b23a5a48f660c3bfe1b6385d939" ns3:_="" ns4:_="">
    <xsd:import namespace="5429c33a-6e98-469b-aa10-3e383405655c"/>
    <xsd:import namespace="3183195b-6e0e-4353-9f40-f6dd4621564d"/>
    <xsd:element name="properties">
      <xsd:complexType>
        <xsd:sequence>
          <xsd:element name="documentManagement">
            <xsd:complexType>
              <xsd:all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DateTaken" minOccurs="0"/>
                <xsd:element ref="ns3:MediaServiceObjectDetectorVersions" minOccurs="0"/>
                <xsd:element ref="ns3:MediaServiceSystem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429c33a-6e98-469b-aa10-3e383405655c" elementFormDefault="qualified">
    <xsd:import namespace="http://schemas.microsoft.com/office/2006/documentManagement/types"/>
    <xsd:import namespace="http://schemas.microsoft.com/office/infopath/2007/PartnerControls"/>
    <xsd:element name="_activity" ma:index="8" nillable="true" ma:displayName="_activity" ma:hidden="true" ma:internalName="_activity">
      <xsd:simpleType>
        <xsd:restriction base="dms:Note"/>
      </xsd:simpleType>
    </xsd:element>
    <xsd:element name="MediaServiceMetadata" ma:index="12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17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183195b-6e0e-4353-9f40-f6dd4621564d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1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2317CBD-D468-44CB-8DBD-C1855986ACD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FFB81BD-B91C-4FCA-9642-24CC9BF23B79}">
  <ds:schemaRefs>
    <ds:schemaRef ds:uri="http://purl.org/dc/terms/"/>
    <ds:schemaRef ds:uri="http://purl.org/dc/elements/1.1/"/>
    <ds:schemaRef ds:uri="http://schemas.microsoft.com/office/2006/documentManagement/types"/>
    <ds:schemaRef ds:uri="http://schemas.microsoft.com/office/2006/metadata/properties"/>
    <ds:schemaRef ds:uri="5429c33a-6e98-469b-aa10-3e383405655c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3183195b-6e0e-4353-9f40-f6dd4621564d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F92C9906-1D97-481B-8336-534E1A87AFB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429c33a-6e98-469b-aa10-3e383405655c"/>
    <ds:schemaRef ds:uri="3183195b-6e0e-4353-9f40-f6dd4621564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818</TotalTime>
  <Words>318</Words>
  <Application>Microsoft Office PowerPoint</Application>
  <PresentationFormat>Grand écran</PresentationFormat>
  <Paragraphs>39</Paragraphs>
  <Slides>4</Slides>
  <Notes>2</Notes>
  <HiddenSlides>0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10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4</vt:i4>
      </vt:variant>
    </vt:vector>
  </HeadingPairs>
  <TitlesOfParts>
    <vt:vector size="21" baseType="lpstr">
      <vt:lpstr>Arial</vt:lpstr>
      <vt:lpstr>Calibri</vt:lpstr>
      <vt:lpstr>Exo 2</vt:lpstr>
      <vt:lpstr>Greycliff CF</vt:lpstr>
      <vt:lpstr>Greycliff CF Extra Bold</vt:lpstr>
      <vt:lpstr>Roboto</vt:lpstr>
      <vt:lpstr>FSC</vt:lpstr>
      <vt:lpstr>1_FSC</vt:lpstr>
      <vt:lpstr>FSC</vt:lpstr>
      <vt:lpstr>FSC</vt:lpstr>
      <vt:lpstr>FSC</vt:lpstr>
      <vt:lpstr>FSC</vt:lpstr>
      <vt:lpstr>FSC</vt:lpstr>
      <vt:lpstr>FSC</vt:lpstr>
      <vt:lpstr>FSC</vt:lpstr>
      <vt:lpstr>FSC</vt:lpstr>
      <vt:lpstr>think-cell Slide</vt:lpstr>
      <vt:lpstr>Présentation PowerPoint</vt:lpstr>
      <vt:lpstr>Vers la mise en œuvre du RDUE dans le système FSC</vt:lpstr>
      <vt:lpstr>Restez connectés !</vt:lpstr>
      <vt:lpstr>Notre page sur le RDU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SC® MASTER SLIDE LIBRARY</dc:title>
  <dc:creator>Trevor Armel</dc:creator>
  <cp:lastModifiedBy>Lena Delauney</cp:lastModifiedBy>
  <cp:revision>32</cp:revision>
  <dcterms:created xsi:type="dcterms:W3CDTF">2022-12-14T10:49:32Z</dcterms:created>
  <dcterms:modified xsi:type="dcterms:W3CDTF">2024-05-27T10:53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3F36D3DEEF81E4793D5DF1E0CFB6D41</vt:lpwstr>
  </property>
</Properties>
</file>